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notesSlides/notesSlide16.xml" ContentType="application/vnd.openxmlformats-officedocument.presentationml.notesSlide+xml"/>
  <Override PartName="/ppt/tags/tag29.xml" ContentType="application/vnd.openxmlformats-officedocument.presentationml.tags+xml"/>
  <Override PartName="/ppt/notesSlides/notesSlide17.xml" ContentType="application/vnd.openxmlformats-officedocument.presentationml.notesSlide+xml"/>
  <Override PartName="/ppt/tags/tag30.xml" ContentType="application/vnd.openxmlformats-officedocument.presentationml.tags+xml"/>
  <Override PartName="/ppt/notesSlides/notesSlide1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580" r:id="rId4"/>
  </p:sldMasterIdLst>
  <p:notesMasterIdLst>
    <p:notesMasterId r:id="rId28"/>
  </p:notesMasterIdLst>
  <p:sldIdLst>
    <p:sldId id="626" r:id="rId5"/>
    <p:sldId id="633" r:id="rId6"/>
    <p:sldId id="662" r:id="rId7"/>
    <p:sldId id="669" r:id="rId8"/>
    <p:sldId id="628" r:id="rId9"/>
    <p:sldId id="670" r:id="rId10"/>
    <p:sldId id="661" r:id="rId11"/>
    <p:sldId id="671" r:id="rId12"/>
    <p:sldId id="663" r:id="rId13"/>
    <p:sldId id="673" r:id="rId14"/>
    <p:sldId id="672" r:id="rId15"/>
    <p:sldId id="664" r:id="rId16"/>
    <p:sldId id="674" r:id="rId17"/>
    <p:sldId id="675" r:id="rId18"/>
    <p:sldId id="665" r:id="rId19"/>
    <p:sldId id="423" r:id="rId20"/>
    <p:sldId id="676" r:id="rId21"/>
    <p:sldId id="666" r:id="rId22"/>
    <p:sldId id="677" r:id="rId23"/>
    <p:sldId id="667" r:id="rId24"/>
    <p:sldId id="668" r:id="rId25"/>
    <p:sldId id="556" r:id="rId26"/>
    <p:sldId id="274" r:id="rId27"/>
  </p:sldIdLst>
  <p:sldSz cx="12192000" cy="6858000"/>
  <p:notesSz cx="6858000" cy="9144000"/>
  <p:custDataLst>
    <p:tags r:id="rId29"/>
  </p:custDataLst>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1F61324-C8F0-CD85-434F-108334786810}" name="ARNECKE SIBETH DABELSTEIN" initials="ASD" userId="ARNECKE SIBETH DABELSTEIN"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62557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524"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FFD892-4AF8-4A88-9E46-F918714E02BE}" type="datetimeFigureOut">
              <a:rPr lang="en-US"/>
              <a:t>5/4/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5BDF35-F9FD-431D-BF5E-13FC3A1B5FF5}" type="slidenum">
              <a:rPr lang="en-US"/>
              <a:t>‹Nr.›</a:t>
            </a:fld>
            <a:endParaRPr lang="en-US"/>
          </a:p>
        </p:txBody>
      </p:sp>
    </p:spTree>
    <p:extLst>
      <p:ext uri="{BB962C8B-B14F-4D97-AF65-F5344CB8AC3E}">
        <p14:creationId xmlns:p14="http://schemas.microsoft.com/office/powerpoint/2010/main" val="3098079099"/>
      </p:ext>
    </p:extLst>
  </p:cSld>
  <p:clrMap bg1="lt1" tx1="dk1" bg2="lt2" tx2="dk2" accent1="accent1" accent2="accent2" accent3="accent3" accent4="accent4" accent5="accent5" accent6="accent6" hlink="hlink" folHlink="folHlink"/>
  <p:notesStyle>
    <a:lvl1pPr marL="0" algn="l" defTabSz="457200" rtl="0" eaLnBrk="1" latinLnBrk="0" hangingPunct="1">
      <a:defRPr sz="600" kern="1200">
        <a:solidFill>
          <a:schemeClr val="tx1"/>
        </a:solidFill>
        <a:latin typeface="+mn-lt"/>
        <a:ea typeface="+mn-ea"/>
        <a:cs typeface="+mn-cs"/>
      </a:defRPr>
    </a:lvl1pPr>
    <a:lvl2pPr marL="228600" algn="l" defTabSz="457200" rtl="0" eaLnBrk="1" latinLnBrk="0" hangingPunct="1">
      <a:defRPr sz="600" kern="1200">
        <a:solidFill>
          <a:schemeClr val="tx1"/>
        </a:solidFill>
        <a:latin typeface="+mn-lt"/>
        <a:ea typeface="+mn-ea"/>
        <a:cs typeface="+mn-cs"/>
      </a:defRPr>
    </a:lvl2pPr>
    <a:lvl3pPr marL="457200" algn="l" defTabSz="457200" rtl="0" eaLnBrk="1" latinLnBrk="0" hangingPunct="1">
      <a:defRPr sz="600" kern="1200">
        <a:solidFill>
          <a:schemeClr val="tx1"/>
        </a:solidFill>
        <a:latin typeface="+mn-lt"/>
        <a:ea typeface="+mn-ea"/>
        <a:cs typeface="+mn-cs"/>
      </a:defRPr>
    </a:lvl3pPr>
    <a:lvl4pPr marL="685800" algn="l" defTabSz="457200" rtl="0" eaLnBrk="1" latinLnBrk="0" hangingPunct="1">
      <a:defRPr sz="600" kern="1200">
        <a:solidFill>
          <a:schemeClr val="tx1"/>
        </a:solidFill>
        <a:latin typeface="+mn-lt"/>
        <a:ea typeface="+mn-ea"/>
        <a:cs typeface="+mn-cs"/>
      </a:defRPr>
    </a:lvl4pPr>
    <a:lvl5pPr marL="914400" algn="l" defTabSz="457200" rtl="0" eaLnBrk="1" latinLnBrk="0" hangingPunct="1">
      <a:defRPr sz="600" kern="1200">
        <a:solidFill>
          <a:schemeClr val="tx1"/>
        </a:solidFill>
        <a:latin typeface="+mn-lt"/>
        <a:ea typeface="+mn-ea"/>
        <a:cs typeface="+mn-cs"/>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6A57DE-9407-CBD0-54A7-A69F447B82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F663EF-3171-CFCD-01AE-3F9E08023E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F84ED1-B34F-F833-D348-89E2C6010883}"/>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33D6CF6B-9B7B-8826-491A-AC1C43C4D051}"/>
              </a:ext>
            </a:extLst>
          </p:cNvPr>
          <p:cNvSpPr>
            <a:spLocks noGrp="1"/>
          </p:cNvSpPr>
          <p:nvPr>
            <p:ph type="sldNum" sz="quarter" idx="5"/>
          </p:nvPr>
        </p:nvSpPr>
        <p:spPr/>
        <p:txBody>
          <a:bodyPr/>
          <a:lstStyle/>
          <a:p>
            <a:fld id="{E25BDF35-F9FD-431D-BF5E-13FC3A1B5FF5}" type="slidenum">
              <a:rPr lang="de-DE"/>
              <a:t>2</a:t>
            </a:fld>
            <a:endParaRPr lang="de-DE"/>
          </a:p>
        </p:txBody>
      </p:sp>
    </p:spTree>
    <p:extLst>
      <p:ext uri="{BB962C8B-B14F-4D97-AF65-F5344CB8AC3E}">
        <p14:creationId xmlns:p14="http://schemas.microsoft.com/office/powerpoint/2010/main" val="1843819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5047A0-BF6E-19FA-1AB9-7EEBF09973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5BECED-841E-B0BC-18C2-99162EAB83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5EB158-251E-D1F0-1C99-08540F14F28D}"/>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9A4E7B86-D455-FAFA-87DB-8CAFAC70FF3D}"/>
              </a:ext>
            </a:extLst>
          </p:cNvPr>
          <p:cNvSpPr>
            <a:spLocks noGrp="1"/>
          </p:cNvSpPr>
          <p:nvPr>
            <p:ph type="sldNum" sz="quarter" idx="5"/>
          </p:nvPr>
        </p:nvSpPr>
        <p:spPr/>
        <p:txBody>
          <a:bodyPr/>
          <a:lstStyle/>
          <a:p>
            <a:fld id="{E25BDF35-F9FD-431D-BF5E-13FC3A1B5FF5}" type="slidenum">
              <a:rPr lang="de-DE"/>
              <a:t>12</a:t>
            </a:fld>
            <a:endParaRPr lang="de-DE"/>
          </a:p>
        </p:txBody>
      </p:sp>
    </p:spTree>
    <p:extLst>
      <p:ext uri="{BB962C8B-B14F-4D97-AF65-F5344CB8AC3E}">
        <p14:creationId xmlns:p14="http://schemas.microsoft.com/office/powerpoint/2010/main" val="5769502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32FC45-1AC2-1443-C078-1B0288DF89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7E9727-8AD0-06CA-AB46-5C9C37BB79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A271B1-F6A7-7C7A-5DB0-0D8014B28232}"/>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D2B1B83B-FEC1-1786-DED6-C9243EAA4E39}"/>
              </a:ext>
            </a:extLst>
          </p:cNvPr>
          <p:cNvSpPr>
            <a:spLocks noGrp="1"/>
          </p:cNvSpPr>
          <p:nvPr>
            <p:ph type="sldNum" sz="quarter" idx="5"/>
          </p:nvPr>
        </p:nvSpPr>
        <p:spPr/>
        <p:txBody>
          <a:bodyPr/>
          <a:lstStyle/>
          <a:p>
            <a:fld id="{E25BDF35-F9FD-431D-BF5E-13FC3A1B5FF5}" type="slidenum">
              <a:rPr lang="de-DE"/>
              <a:t>13</a:t>
            </a:fld>
            <a:endParaRPr lang="de-DE"/>
          </a:p>
        </p:txBody>
      </p:sp>
    </p:spTree>
    <p:extLst>
      <p:ext uri="{BB962C8B-B14F-4D97-AF65-F5344CB8AC3E}">
        <p14:creationId xmlns:p14="http://schemas.microsoft.com/office/powerpoint/2010/main" val="13884227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0D364E-25F8-9CC8-3608-53E21D3BEA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349824-6C1D-8332-82BF-CA2264640B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50C7A9-3826-4859-53B4-C2E497DD939E}"/>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CAC789C9-ACB6-5324-41E9-CABA9F73A347}"/>
              </a:ext>
            </a:extLst>
          </p:cNvPr>
          <p:cNvSpPr>
            <a:spLocks noGrp="1"/>
          </p:cNvSpPr>
          <p:nvPr>
            <p:ph type="sldNum" sz="quarter" idx="5"/>
          </p:nvPr>
        </p:nvSpPr>
        <p:spPr/>
        <p:txBody>
          <a:bodyPr/>
          <a:lstStyle/>
          <a:p>
            <a:fld id="{E25BDF35-F9FD-431D-BF5E-13FC3A1B5FF5}" type="slidenum">
              <a:rPr lang="de-DE"/>
              <a:t>14</a:t>
            </a:fld>
            <a:endParaRPr lang="de-DE"/>
          </a:p>
        </p:txBody>
      </p:sp>
    </p:spTree>
    <p:extLst>
      <p:ext uri="{BB962C8B-B14F-4D97-AF65-F5344CB8AC3E}">
        <p14:creationId xmlns:p14="http://schemas.microsoft.com/office/powerpoint/2010/main" val="20020366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CEC595-2AF7-B0AC-E666-97547B03C0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5304DE-FD84-C46E-4C42-11637B4374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828F14-E559-85DC-8B88-FF458DB8177B}"/>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B4586916-536A-D4A3-5B30-1FBA9721149A}"/>
              </a:ext>
            </a:extLst>
          </p:cNvPr>
          <p:cNvSpPr>
            <a:spLocks noGrp="1"/>
          </p:cNvSpPr>
          <p:nvPr>
            <p:ph type="sldNum" sz="quarter" idx="5"/>
          </p:nvPr>
        </p:nvSpPr>
        <p:spPr/>
        <p:txBody>
          <a:bodyPr/>
          <a:lstStyle/>
          <a:p>
            <a:fld id="{E25BDF35-F9FD-431D-BF5E-13FC3A1B5FF5}" type="slidenum">
              <a:rPr lang="de-DE"/>
              <a:t>15</a:t>
            </a:fld>
            <a:endParaRPr lang="de-DE"/>
          </a:p>
        </p:txBody>
      </p:sp>
    </p:spTree>
    <p:extLst>
      <p:ext uri="{BB962C8B-B14F-4D97-AF65-F5344CB8AC3E}">
        <p14:creationId xmlns:p14="http://schemas.microsoft.com/office/powerpoint/2010/main" val="31205139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0FFAC4-8020-1992-05C9-083B5B4C75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CA5ADF-191E-7F29-5D90-DCAE150665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F78D4A-5FEE-C1B9-C059-B421DE89318F}"/>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C4931BE6-9D2E-05DE-4A71-0E7ED2EC7BDF}"/>
              </a:ext>
            </a:extLst>
          </p:cNvPr>
          <p:cNvSpPr>
            <a:spLocks noGrp="1"/>
          </p:cNvSpPr>
          <p:nvPr>
            <p:ph type="sldNum" sz="quarter" idx="5"/>
          </p:nvPr>
        </p:nvSpPr>
        <p:spPr/>
        <p:txBody>
          <a:bodyPr/>
          <a:lstStyle/>
          <a:p>
            <a:fld id="{E25BDF35-F9FD-431D-BF5E-13FC3A1B5FF5}" type="slidenum">
              <a:rPr lang="de-DE"/>
              <a:t>17</a:t>
            </a:fld>
            <a:endParaRPr lang="de-DE"/>
          </a:p>
        </p:txBody>
      </p:sp>
    </p:spTree>
    <p:extLst>
      <p:ext uri="{BB962C8B-B14F-4D97-AF65-F5344CB8AC3E}">
        <p14:creationId xmlns:p14="http://schemas.microsoft.com/office/powerpoint/2010/main" val="29417441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A889B1-E756-FAE3-914B-D1283781E3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4A82C6-8A87-31FE-0E71-8904835C00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7DE3B9-B659-1DDC-B454-4C20D8065D2F}"/>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C77C3B2A-2EE8-5CDD-7B3E-040A25A142D6}"/>
              </a:ext>
            </a:extLst>
          </p:cNvPr>
          <p:cNvSpPr>
            <a:spLocks noGrp="1"/>
          </p:cNvSpPr>
          <p:nvPr>
            <p:ph type="sldNum" sz="quarter" idx="5"/>
          </p:nvPr>
        </p:nvSpPr>
        <p:spPr/>
        <p:txBody>
          <a:bodyPr/>
          <a:lstStyle/>
          <a:p>
            <a:fld id="{E25BDF35-F9FD-431D-BF5E-13FC3A1B5FF5}" type="slidenum">
              <a:rPr lang="de-DE"/>
              <a:t>18</a:t>
            </a:fld>
            <a:endParaRPr lang="de-DE"/>
          </a:p>
        </p:txBody>
      </p:sp>
    </p:spTree>
    <p:extLst>
      <p:ext uri="{BB962C8B-B14F-4D97-AF65-F5344CB8AC3E}">
        <p14:creationId xmlns:p14="http://schemas.microsoft.com/office/powerpoint/2010/main" val="16092629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AA41EC-B103-17F8-0AFE-D8318B2C5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4DB04F-20C4-1861-E12B-1C10F633BC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434278-E1C9-7531-9E89-BC3E2E4A43F6}"/>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428B91C6-C0FA-0993-77EE-E71C650CCE69}"/>
              </a:ext>
            </a:extLst>
          </p:cNvPr>
          <p:cNvSpPr>
            <a:spLocks noGrp="1"/>
          </p:cNvSpPr>
          <p:nvPr>
            <p:ph type="sldNum" sz="quarter" idx="5"/>
          </p:nvPr>
        </p:nvSpPr>
        <p:spPr/>
        <p:txBody>
          <a:bodyPr/>
          <a:lstStyle/>
          <a:p>
            <a:fld id="{E25BDF35-F9FD-431D-BF5E-13FC3A1B5FF5}" type="slidenum">
              <a:rPr lang="de-DE"/>
              <a:t>19</a:t>
            </a:fld>
            <a:endParaRPr lang="de-DE"/>
          </a:p>
        </p:txBody>
      </p:sp>
    </p:spTree>
    <p:extLst>
      <p:ext uri="{BB962C8B-B14F-4D97-AF65-F5344CB8AC3E}">
        <p14:creationId xmlns:p14="http://schemas.microsoft.com/office/powerpoint/2010/main" val="25101654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6F09C3-13AE-82EC-417D-FAF84291B9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00BC93-295D-7A7B-E9F5-74ABA296AF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75DDDF-E912-2D33-7E79-892EFCBD4C02}"/>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0424FC2-B66E-CE1D-DEB7-BC21D26C95FD}"/>
              </a:ext>
            </a:extLst>
          </p:cNvPr>
          <p:cNvSpPr>
            <a:spLocks noGrp="1"/>
          </p:cNvSpPr>
          <p:nvPr>
            <p:ph type="sldNum" sz="quarter" idx="5"/>
          </p:nvPr>
        </p:nvSpPr>
        <p:spPr/>
        <p:txBody>
          <a:bodyPr/>
          <a:lstStyle/>
          <a:p>
            <a:fld id="{E25BDF35-F9FD-431D-BF5E-13FC3A1B5FF5}" type="slidenum">
              <a:rPr lang="de-DE"/>
              <a:t>20</a:t>
            </a:fld>
            <a:endParaRPr lang="de-DE"/>
          </a:p>
        </p:txBody>
      </p:sp>
    </p:spTree>
    <p:extLst>
      <p:ext uri="{BB962C8B-B14F-4D97-AF65-F5344CB8AC3E}">
        <p14:creationId xmlns:p14="http://schemas.microsoft.com/office/powerpoint/2010/main" val="633332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4DFDF3-D8ED-741A-0C17-295644FD1C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2C4404-12D9-0828-ADF6-DAC15AB5C7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2F36E3-FFAC-55A7-0EA6-836AAC75B995}"/>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E73D58D7-C2D0-1F01-53F7-5601AAF9AE1B}"/>
              </a:ext>
            </a:extLst>
          </p:cNvPr>
          <p:cNvSpPr>
            <a:spLocks noGrp="1"/>
          </p:cNvSpPr>
          <p:nvPr>
            <p:ph type="sldNum" sz="quarter" idx="5"/>
          </p:nvPr>
        </p:nvSpPr>
        <p:spPr/>
        <p:txBody>
          <a:bodyPr/>
          <a:lstStyle/>
          <a:p>
            <a:fld id="{E25BDF35-F9FD-431D-BF5E-13FC3A1B5FF5}" type="slidenum">
              <a:rPr lang="de-DE"/>
              <a:t>21</a:t>
            </a:fld>
            <a:endParaRPr lang="de-DE"/>
          </a:p>
        </p:txBody>
      </p:sp>
    </p:spTree>
    <p:extLst>
      <p:ext uri="{BB962C8B-B14F-4D97-AF65-F5344CB8AC3E}">
        <p14:creationId xmlns:p14="http://schemas.microsoft.com/office/powerpoint/2010/main" val="23129864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569D1-6ED7-5668-9E39-30E0162D533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8CE8A40-9DE5-B38B-D6B3-01DB0FC0A07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59AA2A6-3B8F-B937-3A13-B27E78E6A144}"/>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D23418B6-35FC-8110-EA2F-2F1A92D62A44}"/>
              </a:ext>
            </a:extLst>
          </p:cNvPr>
          <p:cNvSpPr>
            <a:spLocks noGrp="1"/>
          </p:cNvSpPr>
          <p:nvPr>
            <p:ph type="sldNum" sz="quarter" idx="10"/>
          </p:nvPr>
        </p:nvSpPr>
        <p:spPr/>
        <p:txBody>
          <a:bodyPr/>
          <a:lstStyle/>
          <a:p>
            <a:fld id="{070B3475-1590-461E-8BDD-623DF1182B63}" type="slidenum">
              <a:rPr lang="de-DE"/>
              <a:t>23</a:t>
            </a:fld>
            <a:endParaRPr lang="de-DE"/>
          </a:p>
        </p:txBody>
      </p:sp>
    </p:spTree>
    <p:extLst>
      <p:ext uri="{BB962C8B-B14F-4D97-AF65-F5344CB8AC3E}">
        <p14:creationId xmlns:p14="http://schemas.microsoft.com/office/powerpoint/2010/main" val="1691891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8BBC7C-E43A-3B1E-CA46-A099C7D9F9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49CDA5-6CC7-57BC-74A5-CEA6D2682C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EE1737-DC50-E72B-A43F-A24151222525}"/>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2DA01F27-9E0C-1FFB-D76A-1CCD0B750201}"/>
              </a:ext>
            </a:extLst>
          </p:cNvPr>
          <p:cNvSpPr>
            <a:spLocks noGrp="1"/>
          </p:cNvSpPr>
          <p:nvPr>
            <p:ph type="sldNum" sz="quarter" idx="5"/>
          </p:nvPr>
        </p:nvSpPr>
        <p:spPr/>
        <p:txBody>
          <a:bodyPr/>
          <a:lstStyle/>
          <a:p>
            <a:fld id="{E25BDF35-F9FD-431D-BF5E-13FC3A1B5FF5}" type="slidenum">
              <a:rPr lang="de-DE"/>
              <a:t>3</a:t>
            </a:fld>
            <a:endParaRPr lang="de-DE"/>
          </a:p>
        </p:txBody>
      </p:sp>
    </p:spTree>
    <p:extLst>
      <p:ext uri="{BB962C8B-B14F-4D97-AF65-F5344CB8AC3E}">
        <p14:creationId xmlns:p14="http://schemas.microsoft.com/office/powerpoint/2010/main" val="9954412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4B1885-CFF5-227E-D671-995AC10FE3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F2C186-AADC-D155-1CAA-540F10F0CD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84C19B-B617-39B6-1E7A-B85DB5CDA270}"/>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A9744631-713E-7373-6AB5-0E4328D7F6B8}"/>
              </a:ext>
            </a:extLst>
          </p:cNvPr>
          <p:cNvSpPr>
            <a:spLocks noGrp="1"/>
          </p:cNvSpPr>
          <p:nvPr>
            <p:ph type="sldNum" sz="quarter" idx="5"/>
          </p:nvPr>
        </p:nvSpPr>
        <p:spPr/>
        <p:txBody>
          <a:bodyPr/>
          <a:lstStyle/>
          <a:p>
            <a:fld id="{E25BDF35-F9FD-431D-BF5E-13FC3A1B5FF5}" type="slidenum">
              <a:rPr lang="de-DE"/>
              <a:t>4</a:t>
            </a:fld>
            <a:endParaRPr lang="de-DE"/>
          </a:p>
        </p:txBody>
      </p:sp>
    </p:spTree>
    <p:extLst>
      <p:ext uri="{BB962C8B-B14F-4D97-AF65-F5344CB8AC3E}">
        <p14:creationId xmlns:p14="http://schemas.microsoft.com/office/powerpoint/2010/main" val="42630412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365464-30E8-758B-BE42-22475A18B4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C001B9-A608-4C08-3217-7D815D69BB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4CB710-3B87-EEB8-C9F8-8EDD1097B7BA}"/>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614FCDF-E61D-B142-7D5D-4AE827C679C1}"/>
              </a:ext>
            </a:extLst>
          </p:cNvPr>
          <p:cNvSpPr>
            <a:spLocks noGrp="1"/>
          </p:cNvSpPr>
          <p:nvPr>
            <p:ph type="sldNum" sz="quarter" idx="5"/>
          </p:nvPr>
        </p:nvSpPr>
        <p:spPr/>
        <p:txBody>
          <a:bodyPr/>
          <a:lstStyle/>
          <a:p>
            <a:fld id="{E25BDF35-F9FD-431D-BF5E-13FC3A1B5FF5}" type="slidenum">
              <a:rPr lang="de-DE"/>
              <a:t>6</a:t>
            </a:fld>
            <a:endParaRPr lang="de-DE"/>
          </a:p>
        </p:txBody>
      </p:sp>
    </p:spTree>
    <p:extLst>
      <p:ext uri="{BB962C8B-B14F-4D97-AF65-F5344CB8AC3E}">
        <p14:creationId xmlns:p14="http://schemas.microsoft.com/office/powerpoint/2010/main" val="17801479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F57C75-0C99-D4E9-9CA1-70704FB124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82955D-E297-8DA1-31E4-C2B2F503D7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560BBF-1CFD-0787-C2D3-CB922449D509}"/>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02642781-EE5C-ED34-07B7-CBFD824453C3}"/>
              </a:ext>
            </a:extLst>
          </p:cNvPr>
          <p:cNvSpPr>
            <a:spLocks noGrp="1"/>
          </p:cNvSpPr>
          <p:nvPr>
            <p:ph type="sldNum" sz="quarter" idx="5"/>
          </p:nvPr>
        </p:nvSpPr>
        <p:spPr/>
        <p:txBody>
          <a:bodyPr/>
          <a:lstStyle/>
          <a:p>
            <a:fld id="{E25BDF35-F9FD-431D-BF5E-13FC3A1B5FF5}" type="slidenum">
              <a:rPr lang="de-DE"/>
              <a:t>7</a:t>
            </a:fld>
            <a:endParaRPr lang="de-DE"/>
          </a:p>
        </p:txBody>
      </p:sp>
    </p:spTree>
    <p:extLst>
      <p:ext uri="{BB962C8B-B14F-4D97-AF65-F5344CB8AC3E}">
        <p14:creationId xmlns:p14="http://schemas.microsoft.com/office/powerpoint/2010/main" val="13525432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5C67C2-A468-6A25-FC8A-EE3A074700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F96FBB-FA9C-3649-DB0A-C661E4AB32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3D8FCA-3E77-2309-A24E-C20B30C6DC48}"/>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3EDE8ABA-D25D-D253-0737-CDBEBFBF950A}"/>
              </a:ext>
            </a:extLst>
          </p:cNvPr>
          <p:cNvSpPr>
            <a:spLocks noGrp="1"/>
          </p:cNvSpPr>
          <p:nvPr>
            <p:ph type="sldNum" sz="quarter" idx="5"/>
          </p:nvPr>
        </p:nvSpPr>
        <p:spPr/>
        <p:txBody>
          <a:bodyPr/>
          <a:lstStyle/>
          <a:p>
            <a:fld id="{E25BDF35-F9FD-431D-BF5E-13FC3A1B5FF5}" type="slidenum">
              <a:rPr lang="de-DE"/>
              <a:t>8</a:t>
            </a:fld>
            <a:endParaRPr lang="de-DE"/>
          </a:p>
        </p:txBody>
      </p:sp>
    </p:spTree>
    <p:extLst>
      <p:ext uri="{BB962C8B-B14F-4D97-AF65-F5344CB8AC3E}">
        <p14:creationId xmlns:p14="http://schemas.microsoft.com/office/powerpoint/2010/main" val="28042983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455A1-F7EA-9507-FA5E-003A4126A4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FAC2A7-F1C7-E1AB-B6F2-8AE324CC95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D3D887-4ECA-8AE9-9443-9C9FBCEFFB84}"/>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BC3DB5F4-1F74-314C-FC72-F1804BA46347}"/>
              </a:ext>
            </a:extLst>
          </p:cNvPr>
          <p:cNvSpPr>
            <a:spLocks noGrp="1"/>
          </p:cNvSpPr>
          <p:nvPr>
            <p:ph type="sldNum" sz="quarter" idx="5"/>
          </p:nvPr>
        </p:nvSpPr>
        <p:spPr/>
        <p:txBody>
          <a:bodyPr/>
          <a:lstStyle/>
          <a:p>
            <a:fld id="{E25BDF35-F9FD-431D-BF5E-13FC3A1B5FF5}" type="slidenum">
              <a:rPr lang="de-DE"/>
              <a:t>9</a:t>
            </a:fld>
            <a:endParaRPr lang="de-DE"/>
          </a:p>
        </p:txBody>
      </p:sp>
    </p:spTree>
    <p:extLst>
      <p:ext uri="{BB962C8B-B14F-4D97-AF65-F5344CB8AC3E}">
        <p14:creationId xmlns:p14="http://schemas.microsoft.com/office/powerpoint/2010/main" val="41863445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B85BA-EF21-A25F-13B7-EF8D6C1F07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8957C2-6CDE-B728-6721-765D5F0F6A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AD774F-7CD7-E31A-4B28-E360A019427F}"/>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3E168F15-EE23-B836-2DE3-E30E1C1EAF75}"/>
              </a:ext>
            </a:extLst>
          </p:cNvPr>
          <p:cNvSpPr>
            <a:spLocks noGrp="1"/>
          </p:cNvSpPr>
          <p:nvPr>
            <p:ph type="sldNum" sz="quarter" idx="5"/>
          </p:nvPr>
        </p:nvSpPr>
        <p:spPr/>
        <p:txBody>
          <a:bodyPr/>
          <a:lstStyle/>
          <a:p>
            <a:fld id="{E25BDF35-F9FD-431D-BF5E-13FC3A1B5FF5}" type="slidenum">
              <a:rPr lang="de-DE"/>
              <a:t>10</a:t>
            </a:fld>
            <a:endParaRPr lang="de-DE"/>
          </a:p>
        </p:txBody>
      </p:sp>
    </p:spTree>
    <p:extLst>
      <p:ext uri="{BB962C8B-B14F-4D97-AF65-F5344CB8AC3E}">
        <p14:creationId xmlns:p14="http://schemas.microsoft.com/office/powerpoint/2010/main" val="27080505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A7D6C-F3DF-3AB5-983E-A6A372FC08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09F384-2DBC-4D93-5C7F-3125FABCF7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FBA338-1DFC-C1B4-8741-3019DD7D38B5}"/>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16A3013F-4EDD-4160-3CD7-9DABA084A06F}"/>
              </a:ext>
            </a:extLst>
          </p:cNvPr>
          <p:cNvSpPr>
            <a:spLocks noGrp="1"/>
          </p:cNvSpPr>
          <p:nvPr>
            <p:ph type="sldNum" sz="quarter" idx="5"/>
          </p:nvPr>
        </p:nvSpPr>
        <p:spPr/>
        <p:txBody>
          <a:bodyPr/>
          <a:lstStyle/>
          <a:p>
            <a:fld id="{E25BDF35-F9FD-431D-BF5E-13FC3A1B5FF5}" type="slidenum">
              <a:rPr lang="de-DE"/>
              <a:t>11</a:t>
            </a:fld>
            <a:endParaRPr lang="de-DE"/>
          </a:p>
        </p:txBody>
      </p:sp>
    </p:spTree>
    <p:extLst>
      <p:ext uri="{BB962C8B-B14F-4D97-AF65-F5344CB8AC3E}">
        <p14:creationId xmlns:p14="http://schemas.microsoft.com/office/powerpoint/2010/main" val="12912458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32" name="Freeform: Shape 31">
            <a:extLst>
              <a:ext uri="{FF2B5EF4-FFF2-40B4-BE49-F238E27FC236}">
                <a16:creationId xmlns:a16="http://schemas.microsoft.com/office/drawing/2014/main" id="{319B6E38-61C4-496C-8862-2143E3BCC351}"/>
              </a:ext>
            </a:extLst>
          </p:cNvPr>
          <p:cNvSpPr/>
          <p:nvPr userDrawn="1"/>
        </p:nvSpPr>
        <p:spPr>
          <a:xfrm>
            <a:off x="0" y="0"/>
            <a:ext cx="12193201" cy="6858000"/>
          </a:xfrm>
          <a:custGeom>
            <a:avLst/>
            <a:gdLst>
              <a:gd name="connsiteX0" fmla="*/ 0 w 12193201"/>
              <a:gd name="connsiteY0" fmla="*/ 0 h 6858000"/>
              <a:gd name="connsiteX1" fmla="*/ 12193201 w 12193201"/>
              <a:gd name="connsiteY1" fmla="*/ 0 h 6858000"/>
              <a:gd name="connsiteX2" fmla="*/ 12193201 w 12193201"/>
              <a:gd name="connsiteY2" fmla="*/ 6858000 h 6858000"/>
              <a:gd name="connsiteX3" fmla="*/ 0 w 12193201"/>
              <a:gd name="connsiteY3" fmla="*/ 6858000 h 6858000"/>
              <a:gd name="connsiteX4" fmla="*/ 0 w 12193201"/>
              <a:gd name="connsiteY4" fmla="*/ 0 h 6858000"/>
              <a:gd name="connsiteX5" fmla="*/ 2819596 w 12193201"/>
              <a:gd name="connsiteY5" fmla="*/ 2578627 h 6858000"/>
              <a:gd name="connsiteX6" fmla="*/ 1145596 w 12193201"/>
              <a:gd name="connsiteY6" fmla="*/ 4252627 h 6858000"/>
              <a:gd name="connsiteX7" fmla="*/ 2819596 w 12193201"/>
              <a:gd name="connsiteY7" fmla="*/ 5926627 h 6858000"/>
              <a:gd name="connsiteX8" fmla="*/ 4493596 w 12193201"/>
              <a:gd name="connsiteY8" fmla="*/ 4252627 h 6858000"/>
              <a:gd name="connsiteX9" fmla="*/ 2819596 w 12193201"/>
              <a:gd name="connsiteY9" fmla="*/ 25786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1" h="6858000">
                <a:moveTo>
                  <a:pt x="0" y="0"/>
                </a:moveTo>
                <a:lnTo>
                  <a:pt x="12193201" y="0"/>
                </a:lnTo>
                <a:lnTo>
                  <a:pt x="12193201" y="6858000"/>
                </a:lnTo>
                <a:lnTo>
                  <a:pt x="0" y="6858000"/>
                </a:lnTo>
                <a:lnTo>
                  <a:pt x="0" y="0"/>
                </a:lnTo>
                <a:close/>
                <a:moveTo>
                  <a:pt x="2819596" y="2578627"/>
                </a:moveTo>
                <a:cubicBezTo>
                  <a:pt x="1895071" y="2578627"/>
                  <a:pt x="1145596" y="3328102"/>
                  <a:pt x="1145596" y="4252627"/>
                </a:cubicBezTo>
                <a:cubicBezTo>
                  <a:pt x="1145596" y="5177152"/>
                  <a:pt x="1895071" y="5926627"/>
                  <a:pt x="2819596" y="5926627"/>
                </a:cubicBezTo>
                <a:cubicBezTo>
                  <a:pt x="3744121" y="5926627"/>
                  <a:pt x="4493596" y="5177152"/>
                  <a:pt x="4493596" y="4252627"/>
                </a:cubicBezTo>
                <a:cubicBezTo>
                  <a:pt x="4493596" y="3328102"/>
                  <a:pt x="3744121" y="2578627"/>
                  <a:pt x="2819596" y="2578627"/>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p:ph type="ctrTitle"/>
          </p:nvPr>
        </p:nvSpPr>
        <p:spPr>
          <a:xfrm>
            <a:off x="5332483" y="1600201"/>
            <a:ext cx="5813965" cy="1909763"/>
          </a:xfrm>
        </p:spPr>
        <p:txBody>
          <a:bodyPr anchor="b"/>
          <a:lstStyle>
            <a:lvl1pPr algn="l">
              <a:defRPr sz="3200">
                <a:solidFill>
                  <a:schemeClr val="bg1"/>
                </a:solidFill>
              </a:defRPr>
            </a:lvl1pPr>
          </a:lstStyle>
          <a:p>
            <a:r>
              <a:rPr lang="de-DE"/>
              <a:t>Mastertitelformat bearbeiten</a:t>
            </a:r>
            <a:endParaRPr lang="en-US"/>
          </a:p>
        </p:txBody>
      </p:sp>
      <p:sp>
        <p:nvSpPr>
          <p:cNvPr id="3" name="Subtitle 2"/>
          <p:cNvSpPr>
            <a:spLocks noGrp="1"/>
          </p:cNvSpPr>
          <p:nvPr>
            <p:ph type="subTitle" idx="1"/>
          </p:nvPr>
        </p:nvSpPr>
        <p:spPr>
          <a:xfrm>
            <a:off x="5332483" y="3602038"/>
            <a:ext cx="5813965" cy="1655762"/>
          </a:xfrm>
          <a:prstGeom prst="rect">
            <a:avLst/>
          </a:prstGeom>
        </p:spPr>
        <p:txBody>
          <a:bodyPr>
            <a:normAutofit/>
          </a:bodyPr>
          <a:lstStyle>
            <a:lvl1pPr marL="0" indent="0" algn="l">
              <a:buNone/>
              <a:defRPr sz="1800">
                <a:solidFill>
                  <a:schemeClr val="bg1"/>
                </a:solidFill>
              </a:defRPr>
            </a:lvl1pPr>
            <a:lvl2pPr marL="451504" indent="0" algn="ctr">
              <a:buNone/>
              <a:defRPr sz="1976"/>
            </a:lvl2pPr>
            <a:lvl3pPr marL="903006" indent="0" algn="ctr">
              <a:buNone/>
              <a:defRPr sz="1778"/>
            </a:lvl3pPr>
            <a:lvl4pPr marL="1354509" indent="0" algn="ctr">
              <a:buNone/>
              <a:defRPr sz="1580"/>
            </a:lvl4pPr>
            <a:lvl5pPr marL="1806012" indent="0" algn="ctr">
              <a:buNone/>
              <a:defRPr sz="1580"/>
            </a:lvl5pPr>
            <a:lvl6pPr marL="2257515" indent="0" algn="ctr">
              <a:buNone/>
              <a:defRPr sz="1580"/>
            </a:lvl6pPr>
            <a:lvl7pPr marL="2709017" indent="0" algn="ctr">
              <a:buNone/>
              <a:defRPr sz="1580"/>
            </a:lvl7pPr>
            <a:lvl8pPr marL="3160521" indent="0" algn="ctr">
              <a:buNone/>
              <a:defRPr sz="1580"/>
            </a:lvl8pPr>
            <a:lvl9pPr marL="3612023" indent="0" algn="ctr">
              <a:buNone/>
              <a:defRPr sz="1580"/>
            </a:lvl9pPr>
          </a:lstStyle>
          <a:p>
            <a:r>
              <a:rPr lang="de-DE"/>
              <a:t>Master-Untertitelformat bearbeiten</a:t>
            </a:r>
            <a:endParaRPr lang="en-US"/>
          </a:p>
        </p:txBody>
      </p:sp>
      <p:grpSp>
        <p:nvGrpSpPr>
          <p:cNvPr id="4" name="Grafik 11">
            <a:extLst>
              <a:ext uri="{FF2B5EF4-FFF2-40B4-BE49-F238E27FC236}">
                <a16:creationId xmlns:a16="http://schemas.microsoft.com/office/drawing/2014/main" id="{5323123A-F6C7-4D3B-AC3A-BFE78A926849}"/>
              </a:ext>
            </a:extLst>
          </p:cNvPr>
          <p:cNvGrpSpPr/>
          <p:nvPr/>
        </p:nvGrpSpPr>
        <p:grpSpPr>
          <a:xfrm>
            <a:off x="688303" y="361527"/>
            <a:ext cx="1787285" cy="596781"/>
            <a:chOff x="688303" y="361527"/>
            <a:chExt cx="1787285" cy="596781"/>
          </a:xfrm>
          <a:solidFill>
            <a:srgbClr val="FFFFFF"/>
          </a:solidFill>
        </p:grpSpPr>
        <p:sp>
          <p:nvSpPr>
            <p:cNvPr id="6" name="Freeform: Shape 5">
              <a:extLst>
                <a:ext uri="{FF2B5EF4-FFF2-40B4-BE49-F238E27FC236}">
                  <a16:creationId xmlns:a16="http://schemas.microsoft.com/office/drawing/2014/main" id="{36811236-AF1F-4EFC-B9A6-2C23E89F4E9D}"/>
                </a:ext>
              </a:extLst>
            </p:cNvPr>
            <p:cNvSpPr/>
            <p:nvPr/>
          </p:nvSpPr>
          <p:spPr>
            <a:xfrm>
              <a:off x="688303" y="424024"/>
              <a:ext cx="147751" cy="475361"/>
            </a:xfrm>
            <a:custGeom>
              <a:avLst/>
              <a:gdLst>
                <a:gd name="connsiteX0" fmla="*/ 53103 w 147751"/>
                <a:gd name="connsiteY0" fmla="*/ 235886 h 475361"/>
                <a:gd name="connsiteX1" fmla="*/ 144346 w 147751"/>
                <a:gd name="connsiteY1" fmla="*/ 45533 h 475361"/>
                <a:gd name="connsiteX2" fmla="*/ 117058 w 147751"/>
                <a:gd name="connsiteY2" fmla="*/ 0 h 475361"/>
                <a:gd name="connsiteX3" fmla="*/ 0 w 147751"/>
                <a:gd name="connsiteY3" fmla="*/ 235886 h 475361"/>
                <a:gd name="connsiteX4" fmla="*/ 121870 w 147751"/>
                <a:gd name="connsiteY4" fmla="*/ 475361 h 475361"/>
                <a:gd name="connsiteX5" fmla="*/ 147752 w 147751"/>
                <a:gd name="connsiteY5" fmla="*/ 428778 h 475361"/>
                <a:gd name="connsiteX6" fmla="*/ 53103 w 147751"/>
                <a:gd name="connsiteY6" fmla="*/ 235886 h 475361"/>
                <a:gd name="connsiteX7" fmla="*/ 53103 w 147751"/>
                <a:gd name="connsiteY7" fmla="*/ 235886 h 47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751" h="475361">
                  <a:moveTo>
                    <a:pt x="53103" y="235886"/>
                  </a:moveTo>
                  <a:cubicBezTo>
                    <a:pt x="53103" y="159167"/>
                    <a:pt x="88721" y="90607"/>
                    <a:pt x="144346" y="45533"/>
                  </a:cubicBezTo>
                  <a:lnTo>
                    <a:pt x="117058" y="0"/>
                  </a:lnTo>
                  <a:cubicBezTo>
                    <a:pt x="46014" y="54619"/>
                    <a:pt x="0" y="139913"/>
                    <a:pt x="0" y="235886"/>
                  </a:cubicBezTo>
                  <a:cubicBezTo>
                    <a:pt x="0" y="334005"/>
                    <a:pt x="48106" y="420939"/>
                    <a:pt x="121870" y="475361"/>
                  </a:cubicBezTo>
                  <a:lnTo>
                    <a:pt x="147752" y="428778"/>
                  </a:lnTo>
                  <a:cubicBezTo>
                    <a:pt x="90233" y="383770"/>
                    <a:pt x="53103" y="314122"/>
                    <a:pt x="53103" y="235886"/>
                  </a:cubicBezTo>
                  <a:lnTo>
                    <a:pt x="53103" y="235886"/>
                  </a:lnTo>
                  <a:close/>
                </a:path>
              </a:pathLst>
            </a:custGeom>
            <a:solidFill>
              <a:srgbClr val="FFFFFF"/>
            </a:solidFill>
            <a:ln w="7" cap="flat">
              <a:noFill/>
              <a:prstDash val="solid"/>
              <a:miter/>
            </a:ln>
          </p:spPr>
          <p:txBody>
            <a:bodyPr rtlCol="0" anchor="ctr"/>
            <a:lstStyle/>
            <a:p>
              <a:endParaRPr lang="de-DE"/>
            </a:p>
          </p:txBody>
        </p:sp>
        <p:sp>
          <p:nvSpPr>
            <p:cNvPr id="7" name="Freeform: Shape 6">
              <a:extLst>
                <a:ext uri="{FF2B5EF4-FFF2-40B4-BE49-F238E27FC236}">
                  <a16:creationId xmlns:a16="http://schemas.microsoft.com/office/drawing/2014/main" id="{82855009-5645-43AB-8767-B36B11CB1BEB}"/>
                </a:ext>
              </a:extLst>
            </p:cNvPr>
            <p:cNvSpPr/>
            <p:nvPr/>
          </p:nvSpPr>
          <p:spPr>
            <a:xfrm>
              <a:off x="874035" y="694856"/>
              <a:ext cx="412502" cy="263451"/>
            </a:xfrm>
            <a:custGeom>
              <a:avLst/>
              <a:gdLst>
                <a:gd name="connsiteX0" fmla="*/ 114510 w 412502"/>
                <a:gd name="connsiteY0" fmla="*/ 210676 h 263451"/>
                <a:gd name="connsiteX1" fmla="*/ 25948 w 412502"/>
                <a:gd name="connsiteY1" fmla="*/ 194086 h 263451"/>
                <a:gd name="connsiteX2" fmla="*/ 0 w 412502"/>
                <a:gd name="connsiteY2" fmla="*/ 240787 h 263451"/>
                <a:gd name="connsiteX3" fmla="*/ 114510 w 412502"/>
                <a:gd name="connsiteY3" fmla="*/ 263452 h 263451"/>
                <a:gd name="connsiteX4" fmla="*/ 412502 w 412502"/>
                <a:gd name="connsiteY4" fmla="*/ 0 h 263451"/>
                <a:gd name="connsiteX5" fmla="*/ 358838 w 412502"/>
                <a:gd name="connsiteY5" fmla="*/ 0 h 263451"/>
                <a:gd name="connsiteX6" fmla="*/ 114510 w 412502"/>
                <a:gd name="connsiteY6" fmla="*/ 210676 h 263451"/>
                <a:gd name="connsiteX7" fmla="*/ 114510 w 412502"/>
                <a:gd name="connsiteY7" fmla="*/ 210676 h 263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502" h="263451">
                  <a:moveTo>
                    <a:pt x="114510" y="210676"/>
                  </a:moveTo>
                  <a:cubicBezTo>
                    <a:pt x="83269" y="210676"/>
                    <a:pt x="53486" y="204654"/>
                    <a:pt x="25948" y="194086"/>
                  </a:cubicBezTo>
                  <a:lnTo>
                    <a:pt x="0" y="240787"/>
                  </a:lnTo>
                  <a:cubicBezTo>
                    <a:pt x="35314" y="255330"/>
                    <a:pt x="73962" y="263452"/>
                    <a:pt x="114510" y="263452"/>
                  </a:cubicBezTo>
                  <a:cubicBezTo>
                    <a:pt x="268150" y="263452"/>
                    <a:pt x="395010" y="148113"/>
                    <a:pt x="412502" y="0"/>
                  </a:cubicBezTo>
                  <a:lnTo>
                    <a:pt x="358838" y="0"/>
                  </a:lnTo>
                  <a:cubicBezTo>
                    <a:pt x="341676" y="118894"/>
                    <a:pt x="238816" y="210676"/>
                    <a:pt x="114510" y="210676"/>
                  </a:cubicBezTo>
                  <a:lnTo>
                    <a:pt x="114510" y="210676"/>
                  </a:lnTo>
                  <a:close/>
                </a:path>
              </a:pathLst>
            </a:custGeom>
            <a:solidFill>
              <a:srgbClr val="FFFFFF"/>
            </a:solidFill>
            <a:ln w="7" cap="flat">
              <a:noFill/>
              <a:prstDash val="solid"/>
              <a:miter/>
            </a:ln>
          </p:spPr>
          <p:txBody>
            <a:bodyPr rtlCol="0" anchor="ctr"/>
            <a:lstStyle/>
            <a:p>
              <a:endParaRPr lang="de-DE"/>
            </a:p>
          </p:txBody>
        </p:sp>
        <p:sp>
          <p:nvSpPr>
            <p:cNvPr id="8" name="Freeform: Shape 7">
              <a:extLst>
                <a:ext uri="{FF2B5EF4-FFF2-40B4-BE49-F238E27FC236}">
                  <a16:creationId xmlns:a16="http://schemas.microsoft.com/office/drawing/2014/main" id="{EB68B25C-99D3-4C83-A994-C8991907B924}"/>
                </a:ext>
              </a:extLst>
            </p:cNvPr>
            <p:cNvSpPr/>
            <p:nvPr/>
          </p:nvSpPr>
          <p:spPr>
            <a:xfrm>
              <a:off x="868530" y="361527"/>
              <a:ext cx="417512" cy="260237"/>
            </a:xfrm>
            <a:custGeom>
              <a:avLst/>
              <a:gdLst>
                <a:gd name="connsiteX0" fmla="*/ 120015 w 417512"/>
                <a:gd name="connsiteY0" fmla="*/ 52782 h 260237"/>
                <a:gd name="connsiteX1" fmla="*/ 363848 w 417512"/>
                <a:gd name="connsiteY1" fmla="*/ 260237 h 260237"/>
                <a:gd name="connsiteX2" fmla="*/ 417512 w 417512"/>
                <a:gd name="connsiteY2" fmla="*/ 260237 h 260237"/>
                <a:gd name="connsiteX3" fmla="*/ 120405 w 417512"/>
                <a:gd name="connsiteY3" fmla="*/ 0 h 260237"/>
                <a:gd name="connsiteX4" fmla="*/ 118616 w 417512"/>
                <a:gd name="connsiteY4" fmla="*/ 0 h 260237"/>
                <a:gd name="connsiteX5" fmla="*/ 0 w 417512"/>
                <a:gd name="connsiteY5" fmla="*/ 25046 h 260237"/>
                <a:gd name="connsiteX6" fmla="*/ 27433 w 417512"/>
                <a:gd name="connsiteY6" fmla="*/ 70829 h 260237"/>
                <a:gd name="connsiteX7" fmla="*/ 120015 w 417512"/>
                <a:gd name="connsiteY7" fmla="*/ 52782 h 260237"/>
                <a:gd name="connsiteX8" fmla="*/ 120015 w 417512"/>
                <a:gd name="connsiteY8" fmla="*/ 52782 h 26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512" h="260237">
                  <a:moveTo>
                    <a:pt x="120015" y="52782"/>
                  </a:moveTo>
                  <a:cubicBezTo>
                    <a:pt x="243192" y="52782"/>
                    <a:pt x="345313" y="142911"/>
                    <a:pt x="363848" y="260237"/>
                  </a:cubicBezTo>
                  <a:lnTo>
                    <a:pt x="417512" y="260237"/>
                  </a:lnTo>
                  <a:cubicBezTo>
                    <a:pt x="398581" y="113823"/>
                    <a:pt x="272751" y="197"/>
                    <a:pt x="120405" y="0"/>
                  </a:cubicBezTo>
                  <a:lnTo>
                    <a:pt x="118616" y="0"/>
                  </a:lnTo>
                  <a:cubicBezTo>
                    <a:pt x="76450" y="197"/>
                    <a:pt x="36403" y="9204"/>
                    <a:pt x="0" y="25046"/>
                  </a:cubicBezTo>
                  <a:lnTo>
                    <a:pt x="27433" y="70829"/>
                  </a:lnTo>
                  <a:cubicBezTo>
                    <a:pt x="56067" y="59283"/>
                    <a:pt x="87262" y="52782"/>
                    <a:pt x="120015" y="52782"/>
                  </a:cubicBezTo>
                  <a:lnTo>
                    <a:pt x="120015" y="52782"/>
                  </a:lnTo>
                  <a:close/>
                </a:path>
              </a:pathLst>
            </a:custGeom>
            <a:solidFill>
              <a:srgbClr val="FFFFFF"/>
            </a:solidFill>
            <a:ln w="7" cap="flat">
              <a:noFill/>
              <a:prstDash val="solid"/>
              <a:miter/>
            </a:ln>
          </p:spPr>
          <p:txBody>
            <a:bodyPr rtlCol="0" anchor="ctr"/>
            <a:lstStyle/>
            <a:p>
              <a:endParaRPr lang="de-DE"/>
            </a:p>
          </p:txBody>
        </p:sp>
        <p:sp>
          <p:nvSpPr>
            <p:cNvPr id="9" name="Freeform: Shape 8">
              <a:extLst>
                <a:ext uri="{FF2B5EF4-FFF2-40B4-BE49-F238E27FC236}">
                  <a16:creationId xmlns:a16="http://schemas.microsoft.com/office/drawing/2014/main" id="{D0AA62F3-9BDA-4299-A370-D10C00D6A268}"/>
                </a:ext>
              </a:extLst>
            </p:cNvPr>
            <p:cNvSpPr/>
            <p:nvPr/>
          </p:nvSpPr>
          <p:spPr>
            <a:xfrm>
              <a:off x="1414169" y="388961"/>
              <a:ext cx="108306" cy="130604"/>
            </a:xfrm>
            <a:custGeom>
              <a:avLst/>
              <a:gdLst>
                <a:gd name="connsiteX0" fmla="*/ 45744 w 108306"/>
                <a:gd name="connsiteY0" fmla="*/ 1909 h 130604"/>
                <a:gd name="connsiteX1" fmla="*/ 48054 w 108306"/>
                <a:gd name="connsiteY1" fmla="*/ 0 h 130604"/>
                <a:gd name="connsiteX2" fmla="*/ 60629 w 108306"/>
                <a:gd name="connsiteY2" fmla="*/ 0 h 130604"/>
                <a:gd name="connsiteX3" fmla="*/ 63137 w 108306"/>
                <a:gd name="connsiteY3" fmla="*/ 1909 h 130604"/>
                <a:gd name="connsiteX4" fmla="*/ 108174 w 108306"/>
                <a:gd name="connsiteY4" fmla="*/ 128682 h 130604"/>
                <a:gd name="connsiteX5" fmla="*/ 106821 w 108306"/>
                <a:gd name="connsiteY5" fmla="*/ 130604 h 130604"/>
                <a:gd name="connsiteX6" fmla="*/ 93296 w 108306"/>
                <a:gd name="connsiteY6" fmla="*/ 130604 h 130604"/>
                <a:gd name="connsiteX7" fmla="*/ 90781 w 108306"/>
                <a:gd name="connsiteY7" fmla="*/ 128682 h 130604"/>
                <a:gd name="connsiteX8" fmla="*/ 80722 w 108306"/>
                <a:gd name="connsiteY8" fmla="*/ 100257 h 130604"/>
                <a:gd name="connsiteX9" fmla="*/ 27566 w 108306"/>
                <a:gd name="connsiteY9" fmla="*/ 100257 h 130604"/>
                <a:gd name="connsiteX10" fmla="*/ 17532 w 108306"/>
                <a:gd name="connsiteY10" fmla="*/ 128682 h 130604"/>
                <a:gd name="connsiteX11" fmla="*/ 15018 w 108306"/>
                <a:gd name="connsiteY11" fmla="*/ 130604 h 130604"/>
                <a:gd name="connsiteX12" fmla="*/ 1473 w 108306"/>
                <a:gd name="connsiteY12" fmla="*/ 130604 h 130604"/>
                <a:gd name="connsiteX13" fmla="*/ 139 w 108306"/>
                <a:gd name="connsiteY13" fmla="*/ 128682 h 130604"/>
                <a:gd name="connsiteX14" fmla="*/ 45744 w 108306"/>
                <a:gd name="connsiteY14" fmla="*/ 1909 h 130604"/>
                <a:gd name="connsiteX15" fmla="*/ 75118 w 108306"/>
                <a:gd name="connsiteY15" fmla="*/ 84513 h 130604"/>
                <a:gd name="connsiteX16" fmla="*/ 54431 w 108306"/>
                <a:gd name="connsiteY16" fmla="*/ 25158 h 130604"/>
                <a:gd name="connsiteX17" fmla="*/ 54048 w 108306"/>
                <a:gd name="connsiteY17" fmla="*/ 25158 h 130604"/>
                <a:gd name="connsiteX18" fmla="*/ 33176 w 108306"/>
                <a:gd name="connsiteY18" fmla="*/ 84513 h 130604"/>
                <a:gd name="connsiteX19" fmla="*/ 75118 w 108306"/>
                <a:gd name="connsiteY19" fmla="*/ 84513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306" h="130604">
                  <a:moveTo>
                    <a:pt x="45744" y="1909"/>
                  </a:moveTo>
                  <a:cubicBezTo>
                    <a:pt x="46120" y="636"/>
                    <a:pt x="46899" y="0"/>
                    <a:pt x="48054" y="0"/>
                  </a:cubicBezTo>
                  <a:lnTo>
                    <a:pt x="60629" y="0"/>
                  </a:lnTo>
                  <a:cubicBezTo>
                    <a:pt x="61903" y="0"/>
                    <a:pt x="62754" y="636"/>
                    <a:pt x="63137" y="1909"/>
                  </a:cubicBezTo>
                  <a:lnTo>
                    <a:pt x="108174" y="128682"/>
                  </a:lnTo>
                  <a:cubicBezTo>
                    <a:pt x="108557" y="129961"/>
                    <a:pt x="108108" y="130604"/>
                    <a:pt x="106821" y="130604"/>
                  </a:cubicBezTo>
                  <a:lnTo>
                    <a:pt x="93296" y="130604"/>
                  </a:lnTo>
                  <a:cubicBezTo>
                    <a:pt x="92002" y="130604"/>
                    <a:pt x="91171" y="129961"/>
                    <a:pt x="90781" y="128682"/>
                  </a:cubicBezTo>
                  <a:lnTo>
                    <a:pt x="80722" y="100257"/>
                  </a:lnTo>
                  <a:lnTo>
                    <a:pt x="27566" y="100257"/>
                  </a:lnTo>
                  <a:lnTo>
                    <a:pt x="17532" y="128682"/>
                  </a:lnTo>
                  <a:cubicBezTo>
                    <a:pt x="17011" y="129961"/>
                    <a:pt x="16179" y="130604"/>
                    <a:pt x="15018" y="130604"/>
                  </a:cubicBezTo>
                  <a:lnTo>
                    <a:pt x="1473" y="130604"/>
                  </a:lnTo>
                  <a:cubicBezTo>
                    <a:pt x="192" y="130604"/>
                    <a:pt x="-257" y="129961"/>
                    <a:pt x="139" y="128682"/>
                  </a:cubicBezTo>
                  <a:lnTo>
                    <a:pt x="45744" y="1909"/>
                  </a:lnTo>
                  <a:close/>
                  <a:moveTo>
                    <a:pt x="75118" y="84513"/>
                  </a:moveTo>
                  <a:lnTo>
                    <a:pt x="54431" y="25158"/>
                  </a:lnTo>
                  <a:lnTo>
                    <a:pt x="54048" y="25158"/>
                  </a:lnTo>
                  <a:lnTo>
                    <a:pt x="33176" y="84513"/>
                  </a:lnTo>
                  <a:lnTo>
                    <a:pt x="75118" y="84513"/>
                  </a:lnTo>
                  <a:close/>
                </a:path>
              </a:pathLst>
            </a:custGeom>
            <a:solidFill>
              <a:srgbClr val="FFFFFF"/>
            </a:solidFill>
            <a:ln w="7" cap="flat">
              <a:noFill/>
              <a:prstDash val="solid"/>
              <a:miter/>
            </a:ln>
          </p:spPr>
          <p:txBody>
            <a:bodyPr rtlCol="0" anchor="ctr"/>
            <a:lstStyle/>
            <a:p>
              <a:endParaRPr lang="de-DE"/>
            </a:p>
          </p:txBody>
        </p:sp>
        <p:sp>
          <p:nvSpPr>
            <p:cNvPr id="10" name="Freeform: Shape 9">
              <a:extLst>
                <a:ext uri="{FF2B5EF4-FFF2-40B4-BE49-F238E27FC236}">
                  <a16:creationId xmlns:a16="http://schemas.microsoft.com/office/drawing/2014/main" id="{90747BF6-EDE6-4590-B2CA-B7F38C8A60AB}"/>
                </a:ext>
              </a:extLst>
            </p:cNvPr>
            <p:cNvSpPr/>
            <p:nvPr/>
          </p:nvSpPr>
          <p:spPr>
            <a:xfrm>
              <a:off x="1545149" y="388954"/>
              <a:ext cx="93313" cy="130610"/>
            </a:xfrm>
            <a:custGeom>
              <a:avLst/>
              <a:gdLst>
                <a:gd name="connsiteX0" fmla="*/ 76186 w 93313"/>
                <a:gd name="connsiteY0" fmla="*/ 130611 h 130610"/>
                <a:gd name="connsiteX1" fmla="*/ 73645 w 93313"/>
                <a:gd name="connsiteY1" fmla="*/ 128682 h 130610"/>
                <a:gd name="connsiteX2" fmla="*/ 47446 w 93313"/>
                <a:gd name="connsiteY2" fmla="*/ 75296 h 130610"/>
                <a:gd name="connsiteX3" fmla="*/ 18555 w 93313"/>
                <a:gd name="connsiteY3" fmla="*/ 75296 h 130610"/>
                <a:gd name="connsiteX4" fmla="*/ 17393 w 93313"/>
                <a:gd name="connsiteY4" fmla="*/ 76444 h 130610"/>
                <a:gd name="connsiteX5" fmla="*/ 17393 w 93313"/>
                <a:gd name="connsiteY5" fmla="*/ 128682 h 130610"/>
                <a:gd name="connsiteX6" fmla="*/ 15446 w 93313"/>
                <a:gd name="connsiteY6" fmla="*/ 130611 h 130610"/>
                <a:gd name="connsiteX7" fmla="*/ 1954 w 93313"/>
                <a:gd name="connsiteY7" fmla="*/ 130611 h 130610"/>
                <a:gd name="connsiteX8" fmla="*/ 0 w 93313"/>
                <a:gd name="connsiteY8" fmla="*/ 128682 h 130610"/>
                <a:gd name="connsiteX9" fmla="*/ 0 w 93313"/>
                <a:gd name="connsiteY9" fmla="*/ 1922 h 130610"/>
                <a:gd name="connsiteX10" fmla="*/ 1934 w 93313"/>
                <a:gd name="connsiteY10" fmla="*/ 0 h 130610"/>
                <a:gd name="connsiteX11" fmla="*/ 49592 w 93313"/>
                <a:gd name="connsiteY11" fmla="*/ 0 h 130610"/>
                <a:gd name="connsiteX12" fmla="*/ 66430 w 93313"/>
                <a:gd name="connsiteY12" fmla="*/ 2690 h 130610"/>
                <a:gd name="connsiteX13" fmla="*/ 79414 w 93313"/>
                <a:gd name="connsiteY13" fmla="*/ 10273 h 130610"/>
                <a:gd name="connsiteX14" fmla="*/ 87837 w 93313"/>
                <a:gd name="connsiteY14" fmla="*/ 22186 h 130610"/>
                <a:gd name="connsiteX15" fmla="*/ 90846 w 93313"/>
                <a:gd name="connsiteY15" fmla="*/ 37642 h 130610"/>
                <a:gd name="connsiteX16" fmla="*/ 83876 w 93313"/>
                <a:gd name="connsiteY16" fmla="*/ 60123 h 130610"/>
                <a:gd name="connsiteX17" fmla="*/ 64945 w 93313"/>
                <a:gd name="connsiteY17" fmla="*/ 73184 h 130610"/>
                <a:gd name="connsiteX18" fmla="*/ 92972 w 93313"/>
                <a:gd name="connsiteY18" fmla="*/ 128308 h 130610"/>
                <a:gd name="connsiteX19" fmla="*/ 93157 w 93313"/>
                <a:gd name="connsiteY19" fmla="*/ 129935 h 130610"/>
                <a:gd name="connsiteX20" fmla="*/ 91810 w 93313"/>
                <a:gd name="connsiteY20" fmla="*/ 130611 h 130610"/>
                <a:gd name="connsiteX21" fmla="*/ 76186 w 93313"/>
                <a:gd name="connsiteY21" fmla="*/ 130611 h 130610"/>
                <a:gd name="connsiteX22" fmla="*/ 49176 w 93313"/>
                <a:gd name="connsiteY22" fmla="*/ 59355 h 130610"/>
                <a:gd name="connsiteX23" fmla="*/ 67097 w 93313"/>
                <a:gd name="connsiteY23" fmla="*/ 53681 h 130610"/>
                <a:gd name="connsiteX24" fmla="*/ 73447 w 93313"/>
                <a:gd name="connsiteY24" fmla="*/ 37642 h 130610"/>
                <a:gd name="connsiteX25" fmla="*/ 67097 w 93313"/>
                <a:gd name="connsiteY25" fmla="*/ 21615 h 130610"/>
                <a:gd name="connsiteX26" fmla="*/ 49176 w 93313"/>
                <a:gd name="connsiteY26" fmla="*/ 15947 h 130610"/>
                <a:gd name="connsiteX27" fmla="*/ 18555 w 93313"/>
                <a:gd name="connsiteY27" fmla="*/ 15947 h 130610"/>
                <a:gd name="connsiteX28" fmla="*/ 17393 w 93313"/>
                <a:gd name="connsiteY28" fmla="*/ 17102 h 130610"/>
                <a:gd name="connsiteX29" fmla="*/ 17393 w 93313"/>
                <a:gd name="connsiteY29" fmla="*/ 58194 h 130610"/>
                <a:gd name="connsiteX30" fmla="*/ 18555 w 93313"/>
                <a:gd name="connsiteY30" fmla="*/ 59355 h 130610"/>
                <a:gd name="connsiteX31" fmla="*/ 49176 w 93313"/>
                <a:gd name="connsiteY31" fmla="*/ 59355 h 13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3313" h="130610">
                  <a:moveTo>
                    <a:pt x="76186" y="130611"/>
                  </a:moveTo>
                  <a:cubicBezTo>
                    <a:pt x="75018" y="130611"/>
                    <a:pt x="74160" y="129968"/>
                    <a:pt x="73645" y="128682"/>
                  </a:cubicBezTo>
                  <a:lnTo>
                    <a:pt x="47446" y="75296"/>
                  </a:lnTo>
                  <a:lnTo>
                    <a:pt x="18555" y="75296"/>
                  </a:lnTo>
                  <a:cubicBezTo>
                    <a:pt x="17776" y="75296"/>
                    <a:pt x="17393" y="75690"/>
                    <a:pt x="17393" y="76444"/>
                  </a:cubicBezTo>
                  <a:lnTo>
                    <a:pt x="17393" y="128682"/>
                  </a:lnTo>
                  <a:cubicBezTo>
                    <a:pt x="17393" y="129968"/>
                    <a:pt x="16740" y="130611"/>
                    <a:pt x="15446" y="130611"/>
                  </a:cubicBezTo>
                  <a:lnTo>
                    <a:pt x="1954" y="130611"/>
                  </a:lnTo>
                  <a:cubicBezTo>
                    <a:pt x="653" y="130611"/>
                    <a:pt x="0" y="129968"/>
                    <a:pt x="0" y="128682"/>
                  </a:cubicBezTo>
                  <a:lnTo>
                    <a:pt x="0" y="1922"/>
                  </a:lnTo>
                  <a:cubicBezTo>
                    <a:pt x="0" y="643"/>
                    <a:pt x="640" y="0"/>
                    <a:pt x="1934" y="0"/>
                  </a:cubicBezTo>
                  <a:lnTo>
                    <a:pt x="49592" y="0"/>
                  </a:lnTo>
                  <a:cubicBezTo>
                    <a:pt x="55777" y="0"/>
                    <a:pt x="61394" y="905"/>
                    <a:pt x="66430" y="2690"/>
                  </a:cubicBezTo>
                  <a:cubicBezTo>
                    <a:pt x="71473" y="4481"/>
                    <a:pt x="75797" y="7013"/>
                    <a:pt x="79414" y="10273"/>
                  </a:cubicBezTo>
                  <a:cubicBezTo>
                    <a:pt x="83025" y="13547"/>
                    <a:pt x="85843" y="17515"/>
                    <a:pt x="87837" y="22186"/>
                  </a:cubicBezTo>
                  <a:cubicBezTo>
                    <a:pt x="89843" y="26863"/>
                    <a:pt x="90846" y="32013"/>
                    <a:pt x="90846" y="37642"/>
                  </a:cubicBezTo>
                  <a:cubicBezTo>
                    <a:pt x="90846" y="46478"/>
                    <a:pt x="88516" y="53970"/>
                    <a:pt x="83876" y="60123"/>
                  </a:cubicBezTo>
                  <a:cubicBezTo>
                    <a:pt x="79242" y="66263"/>
                    <a:pt x="72939" y="70619"/>
                    <a:pt x="64945" y="73184"/>
                  </a:cubicBezTo>
                  <a:lnTo>
                    <a:pt x="92972" y="128308"/>
                  </a:lnTo>
                  <a:cubicBezTo>
                    <a:pt x="93355" y="128951"/>
                    <a:pt x="93414" y="129495"/>
                    <a:pt x="93157" y="129935"/>
                  </a:cubicBezTo>
                  <a:cubicBezTo>
                    <a:pt x="92893" y="130394"/>
                    <a:pt x="92457" y="130611"/>
                    <a:pt x="91810" y="130611"/>
                  </a:cubicBezTo>
                  <a:lnTo>
                    <a:pt x="76186" y="130611"/>
                  </a:lnTo>
                  <a:close/>
                  <a:moveTo>
                    <a:pt x="49176" y="59355"/>
                  </a:moveTo>
                  <a:cubicBezTo>
                    <a:pt x="56879" y="59355"/>
                    <a:pt x="62846" y="57459"/>
                    <a:pt x="67097" y="53681"/>
                  </a:cubicBezTo>
                  <a:cubicBezTo>
                    <a:pt x="71328" y="49909"/>
                    <a:pt x="73447" y="44562"/>
                    <a:pt x="73447" y="37642"/>
                  </a:cubicBezTo>
                  <a:cubicBezTo>
                    <a:pt x="73447" y="30727"/>
                    <a:pt x="71328" y="25374"/>
                    <a:pt x="67097" y="21615"/>
                  </a:cubicBezTo>
                  <a:cubicBezTo>
                    <a:pt x="62846" y="17830"/>
                    <a:pt x="56879" y="15947"/>
                    <a:pt x="49176" y="15947"/>
                  </a:cubicBezTo>
                  <a:lnTo>
                    <a:pt x="18555" y="15947"/>
                  </a:lnTo>
                  <a:cubicBezTo>
                    <a:pt x="17776" y="15947"/>
                    <a:pt x="17393" y="16335"/>
                    <a:pt x="17393" y="17102"/>
                  </a:cubicBezTo>
                  <a:lnTo>
                    <a:pt x="17393" y="58194"/>
                  </a:lnTo>
                  <a:cubicBezTo>
                    <a:pt x="17393" y="58962"/>
                    <a:pt x="17776" y="59355"/>
                    <a:pt x="18555" y="59355"/>
                  </a:cubicBezTo>
                  <a:lnTo>
                    <a:pt x="49176" y="59355"/>
                  </a:lnTo>
                  <a:close/>
                </a:path>
              </a:pathLst>
            </a:custGeom>
            <a:solidFill>
              <a:srgbClr val="FFFFFF"/>
            </a:solidFill>
            <a:ln w="7" cap="flat">
              <a:noFill/>
              <a:prstDash val="solid"/>
              <a:miter/>
            </a:ln>
          </p:spPr>
          <p:txBody>
            <a:bodyPr rtlCol="0" anchor="ctr"/>
            <a:lstStyle/>
            <a:p>
              <a:endParaRPr lang="de-DE"/>
            </a:p>
          </p:txBody>
        </p:sp>
        <p:sp>
          <p:nvSpPr>
            <p:cNvPr id="11" name="Freeform: Shape 10">
              <a:extLst>
                <a:ext uri="{FF2B5EF4-FFF2-40B4-BE49-F238E27FC236}">
                  <a16:creationId xmlns:a16="http://schemas.microsoft.com/office/drawing/2014/main" id="{5C5F534F-C014-4448-A7A5-9E5D825D379B}"/>
                </a:ext>
              </a:extLst>
            </p:cNvPr>
            <p:cNvSpPr/>
            <p:nvPr/>
          </p:nvSpPr>
          <p:spPr>
            <a:xfrm>
              <a:off x="1666319" y="388961"/>
              <a:ext cx="93929" cy="130604"/>
            </a:xfrm>
            <a:custGeom>
              <a:avLst/>
              <a:gdLst>
                <a:gd name="connsiteX0" fmla="*/ 0 w 93929"/>
                <a:gd name="connsiteY0" fmla="*/ 1909 h 130604"/>
                <a:gd name="connsiteX1" fmla="*/ 1941 w 93929"/>
                <a:gd name="connsiteY1" fmla="*/ 0 h 130604"/>
                <a:gd name="connsiteX2" fmla="*/ 14304 w 93929"/>
                <a:gd name="connsiteY2" fmla="*/ 0 h 130604"/>
                <a:gd name="connsiteX3" fmla="*/ 17598 w 93929"/>
                <a:gd name="connsiteY3" fmla="*/ 1909 h 130604"/>
                <a:gd name="connsiteX4" fmla="*/ 77123 w 93929"/>
                <a:gd name="connsiteY4" fmla="*/ 99877 h 130604"/>
                <a:gd name="connsiteX5" fmla="*/ 77896 w 93929"/>
                <a:gd name="connsiteY5" fmla="*/ 99877 h 130604"/>
                <a:gd name="connsiteX6" fmla="*/ 77896 w 93929"/>
                <a:gd name="connsiteY6" fmla="*/ 1909 h 130604"/>
                <a:gd name="connsiteX7" fmla="*/ 79823 w 93929"/>
                <a:gd name="connsiteY7" fmla="*/ 0 h 130604"/>
                <a:gd name="connsiteX8" fmla="*/ 92008 w 93929"/>
                <a:gd name="connsiteY8" fmla="*/ 0 h 130604"/>
                <a:gd name="connsiteX9" fmla="*/ 93929 w 93929"/>
                <a:gd name="connsiteY9" fmla="*/ 1909 h 130604"/>
                <a:gd name="connsiteX10" fmla="*/ 93929 w 93929"/>
                <a:gd name="connsiteY10" fmla="*/ 128682 h 130604"/>
                <a:gd name="connsiteX11" fmla="*/ 92008 w 93929"/>
                <a:gd name="connsiteY11" fmla="*/ 130604 h 130604"/>
                <a:gd name="connsiteX12" fmla="*/ 79625 w 93929"/>
                <a:gd name="connsiteY12" fmla="*/ 130604 h 130604"/>
                <a:gd name="connsiteX13" fmla="*/ 76351 w 93929"/>
                <a:gd name="connsiteY13" fmla="*/ 128682 h 130604"/>
                <a:gd name="connsiteX14" fmla="*/ 16634 w 93929"/>
                <a:gd name="connsiteY14" fmla="*/ 31108 h 130604"/>
                <a:gd name="connsiteX15" fmla="*/ 16046 w 93929"/>
                <a:gd name="connsiteY15" fmla="*/ 31108 h 130604"/>
                <a:gd name="connsiteX16" fmla="*/ 16046 w 93929"/>
                <a:gd name="connsiteY16" fmla="*/ 128682 h 130604"/>
                <a:gd name="connsiteX17" fmla="*/ 14112 w 93929"/>
                <a:gd name="connsiteY17" fmla="*/ 130604 h 130604"/>
                <a:gd name="connsiteX18" fmla="*/ 1941 w 93929"/>
                <a:gd name="connsiteY18" fmla="*/ 130604 h 130604"/>
                <a:gd name="connsiteX19" fmla="*/ 0 w 93929"/>
                <a:gd name="connsiteY19" fmla="*/ 128682 h 130604"/>
                <a:gd name="connsiteX20" fmla="*/ 0 w 93929"/>
                <a:gd name="connsiteY20"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29" h="130604">
                  <a:moveTo>
                    <a:pt x="0" y="1909"/>
                  </a:moveTo>
                  <a:cubicBezTo>
                    <a:pt x="0" y="636"/>
                    <a:pt x="647" y="0"/>
                    <a:pt x="1941" y="0"/>
                  </a:cubicBezTo>
                  <a:lnTo>
                    <a:pt x="14304" y="0"/>
                  </a:lnTo>
                  <a:cubicBezTo>
                    <a:pt x="15848" y="0"/>
                    <a:pt x="16951" y="636"/>
                    <a:pt x="17598" y="1909"/>
                  </a:cubicBezTo>
                  <a:lnTo>
                    <a:pt x="77123" y="99877"/>
                  </a:lnTo>
                  <a:lnTo>
                    <a:pt x="77896" y="99877"/>
                  </a:lnTo>
                  <a:lnTo>
                    <a:pt x="77896" y="1909"/>
                  </a:lnTo>
                  <a:cubicBezTo>
                    <a:pt x="77896" y="636"/>
                    <a:pt x="78536" y="0"/>
                    <a:pt x="79823" y="0"/>
                  </a:cubicBezTo>
                  <a:lnTo>
                    <a:pt x="92008" y="0"/>
                  </a:lnTo>
                  <a:cubicBezTo>
                    <a:pt x="93282" y="0"/>
                    <a:pt x="93929" y="636"/>
                    <a:pt x="93929" y="1909"/>
                  </a:cubicBezTo>
                  <a:lnTo>
                    <a:pt x="93929" y="128682"/>
                  </a:lnTo>
                  <a:cubicBezTo>
                    <a:pt x="93929" y="129961"/>
                    <a:pt x="93282" y="130604"/>
                    <a:pt x="92008" y="130604"/>
                  </a:cubicBezTo>
                  <a:lnTo>
                    <a:pt x="79625" y="130604"/>
                  </a:lnTo>
                  <a:cubicBezTo>
                    <a:pt x="78081" y="130604"/>
                    <a:pt x="76985" y="129961"/>
                    <a:pt x="76351" y="128682"/>
                  </a:cubicBezTo>
                  <a:lnTo>
                    <a:pt x="16634" y="31108"/>
                  </a:lnTo>
                  <a:lnTo>
                    <a:pt x="16046" y="31108"/>
                  </a:lnTo>
                  <a:lnTo>
                    <a:pt x="16046" y="128682"/>
                  </a:lnTo>
                  <a:cubicBezTo>
                    <a:pt x="16046" y="129961"/>
                    <a:pt x="15400" y="130604"/>
                    <a:pt x="14112" y="130604"/>
                  </a:cubicBezTo>
                  <a:lnTo>
                    <a:pt x="1941" y="130604"/>
                  </a:lnTo>
                  <a:cubicBezTo>
                    <a:pt x="647" y="130604"/>
                    <a:pt x="0" y="129961"/>
                    <a:pt x="0" y="128682"/>
                  </a:cubicBezTo>
                  <a:lnTo>
                    <a:pt x="0" y="1909"/>
                  </a:lnTo>
                  <a:close/>
                </a:path>
              </a:pathLst>
            </a:custGeom>
            <a:solidFill>
              <a:srgbClr val="FFFFFF"/>
            </a:solidFill>
            <a:ln w="7" cap="flat">
              <a:noFill/>
              <a:prstDash val="solid"/>
              <a:miter/>
            </a:ln>
          </p:spPr>
          <p:txBody>
            <a:bodyPr rtlCol="0" anchor="ctr"/>
            <a:lstStyle/>
            <a:p>
              <a:endParaRPr lang="de-DE"/>
            </a:p>
          </p:txBody>
        </p:sp>
        <p:sp>
          <p:nvSpPr>
            <p:cNvPr id="13" name="Freeform: Shape 12">
              <a:extLst>
                <a:ext uri="{FF2B5EF4-FFF2-40B4-BE49-F238E27FC236}">
                  <a16:creationId xmlns:a16="http://schemas.microsoft.com/office/drawing/2014/main" id="{8B95BBE5-2653-4620-88BF-B6D78DD242B6}"/>
                </a:ext>
              </a:extLst>
            </p:cNvPr>
            <p:cNvSpPr/>
            <p:nvPr/>
          </p:nvSpPr>
          <p:spPr>
            <a:xfrm>
              <a:off x="1794665" y="388961"/>
              <a:ext cx="83103" cy="130604"/>
            </a:xfrm>
            <a:custGeom>
              <a:avLst/>
              <a:gdLst>
                <a:gd name="connsiteX0" fmla="*/ 0 w 83103"/>
                <a:gd name="connsiteY0" fmla="*/ 1909 h 130604"/>
                <a:gd name="connsiteX1" fmla="*/ 1947 w 83103"/>
                <a:gd name="connsiteY1" fmla="*/ 0 h 130604"/>
                <a:gd name="connsiteX2" fmla="*/ 81183 w 83103"/>
                <a:gd name="connsiteY2" fmla="*/ 0 h 130604"/>
                <a:gd name="connsiteX3" fmla="*/ 83104 w 83103"/>
                <a:gd name="connsiteY3" fmla="*/ 1909 h 130604"/>
                <a:gd name="connsiteX4" fmla="*/ 83104 w 83103"/>
                <a:gd name="connsiteY4" fmla="*/ 14012 h 130604"/>
                <a:gd name="connsiteX5" fmla="*/ 81183 w 83103"/>
                <a:gd name="connsiteY5" fmla="*/ 15941 h 130604"/>
                <a:gd name="connsiteX6" fmla="*/ 18555 w 83103"/>
                <a:gd name="connsiteY6" fmla="*/ 15941 h 130604"/>
                <a:gd name="connsiteX7" fmla="*/ 17406 w 83103"/>
                <a:gd name="connsiteY7" fmla="*/ 17095 h 130604"/>
                <a:gd name="connsiteX8" fmla="*/ 17406 w 83103"/>
                <a:gd name="connsiteY8" fmla="*/ 55505 h 130604"/>
                <a:gd name="connsiteX9" fmla="*/ 18555 w 83103"/>
                <a:gd name="connsiteY9" fmla="*/ 56646 h 130604"/>
                <a:gd name="connsiteX10" fmla="*/ 71698 w 83103"/>
                <a:gd name="connsiteY10" fmla="*/ 56646 h 130604"/>
                <a:gd name="connsiteX11" fmla="*/ 73645 w 83103"/>
                <a:gd name="connsiteY11" fmla="*/ 58575 h 130604"/>
                <a:gd name="connsiteX12" fmla="*/ 73645 w 83103"/>
                <a:gd name="connsiteY12" fmla="*/ 70678 h 130604"/>
                <a:gd name="connsiteX13" fmla="*/ 71698 w 83103"/>
                <a:gd name="connsiteY13" fmla="*/ 72600 h 130604"/>
                <a:gd name="connsiteX14" fmla="*/ 18555 w 83103"/>
                <a:gd name="connsiteY14" fmla="*/ 72600 h 130604"/>
                <a:gd name="connsiteX15" fmla="*/ 17406 w 83103"/>
                <a:gd name="connsiteY15" fmla="*/ 73748 h 130604"/>
                <a:gd name="connsiteX16" fmla="*/ 17406 w 83103"/>
                <a:gd name="connsiteY16" fmla="*/ 113509 h 130604"/>
                <a:gd name="connsiteX17" fmla="*/ 18555 w 83103"/>
                <a:gd name="connsiteY17" fmla="*/ 114670 h 130604"/>
                <a:gd name="connsiteX18" fmla="*/ 81183 w 83103"/>
                <a:gd name="connsiteY18" fmla="*/ 114670 h 130604"/>
                <a:gd name="connsiteX19" fmla="*/ 83104 w 83103"/>
                <a:gd name="connsiteY19" fmla="*/ 116598 h 130604"/>
                <a:gd name="connsiteX20" fmla="*/ 83104 w 83103"/>
                <a:gd name="connsiteY20" fmla="*/ 128682 h 130604"/>
                <a:gd name="connsiteX21" fmla="*/ 81183 w 83103"/>
                <a:gd name="connsiteY21" fmla="*/ 130604 h 130604"/>
                <a:gd name="connsiteX22" fmla="*/ 1947 w 83103"/>
                <a:gd name="connsiteY22" fmla="*/ 130604 h 130604"/>
                <a:gd name="connsiteX23" fmla="*/ 0 w 83103"/>
                <a:gd name="connsiteY23" fmla="*/ 128682 h 130604"/>
                <a:gd name="connsiteX24" fmla="*/ 0 w 83103"/>
                <a:gd name="connsiteY24"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09"/>
                  </a:moveTo>
                  <a:cubicBezTo>
                    <a:pt x="0" y="636"/>
                    <a:pt x="653" y="0"/>
                    <a:pt x="1947" y="0"/>
                  </a:cubicBezTo>
                  <a:lnTo>
                    <a:pt x="81183" y="0"/>
                  </a:lnTo>
                  <a:cubicBezTo>
                    <a:pt x="82463" y="0"/>
                    <a:pt x="83104" y="636"/>
                    <a:pt x="83104" y="1909"/>
                  </a:cubicBezTo>
                  <a:lnTo>
                    <a:pt x="83104" y="14012"/>
                  </a:lnTo>
                  <a:cubicBezTo>
                    <a:pt x="83104" y="15298"/>
                    <a:pt x="82463" y="15941"/>
                    <a:pt x="81183" y="15941"/>
                  </a:cubicBezTo>
                  <a:lnTo>
                    <a:pt x="18555" y="15941"/>
                  </a:lnTo>
                  <a:cubicBezTo>
                    <a:pt x="17782" y="15941"/>
                    <a:pt x="17406" y="16328"/>
                    <a:pt x="17406" y="17095"/>
                  </a:cubicBezTo>
                  <a:lnTo>
                    <a:pt x="17406" y="55505"/>
                  </a:lnTo>
                  <a:cubicBezTo>
                    <a:pt x="17406" y="56272"/>
                    <a:pt x="17782" y="56646"/>
                    <a:pt x="18555" y="56646"/>
                  </a:cubicBezTo>
                  <a:lnTo>
                    <a:pt x="71698" y="56646"/>
                  </a:lnTo>
                  <a:cubicBezTo>
                    <a:pt x="72991" y="56646"/>
                    <a:pt x="73645" y="57289"/>
                    <a:pt x="73645" y="58575"/>
                  </a:cubicBezTo>
                  <a:lnTo>
                    <a:pt x="73645" y="70678"/>
                  </a:lnTo>
                  <a:cubicBezTo>
                    <a:pt x="73645" y="71964"/>
                    <a:pt x="72991" y="72600"/>
                    <a:pt x="71698" y="72600"/>
                  </a:cubicBezTo>
                  <a:lnTo>
                    <a:pt x="18555" y="72600"/>
                  </a:lnTo>
                  <a:cubicBezTo>
                    <a:pt x="17782" y="72600"/>
                    <a:pt x="17406" y="72981"/>
                    <a:pt x="17406" y="73748"/>
                  </a:cubicBezTo>
                  <a:lnTo>
                    <a:pt x="17406" y="113509"/>
                  </a:lnTo>
                  <a:cubicBezTo>
                    <a:pt x="17406" y="114283"/>
                    <a:pt x="17782" y="114670"/>
                    <a:pt x="18555" y="114670"/>
                  </a:cubicBezTo>
                  <a:lnTo>
                    <a:pt x="81183" y="114670"/>
                  </a:lnTo>
                  <a:cubicBezTo>
                    <a:pt x="82463" y="114670"/>
                    <a:pt x="83104" y="115313"/>
                    <a:pt x="83104" y="116598"/>
                  </a:cubicBezTo>
                  <a:lnTo>
                    <a:pt x="83104" y="128682"/>
                  </a:lnTo>
                  <a:cubicBezTo>
                    <a:pt x="83104" y="129961"/>
                    <a:pt x="82463" y="130604"/>
                    <a:pt x="81183" y="130604"/>
                  </a:cubicBezTo>
                  <a:lnTo>
                    <a:pt x="1947" y="130604"/>
                  </a:lnTo>
                  <a:cubicBezTo>
                    <a:pt x="653" y="130604"/>
                    <a:pt x="0" y="129961"/>
                    <a:pt x="0" y="128682"/>
                  </a:cubicBezTo>
                  <a:lnTo>
                    <a:pt x="0" y="1909"/>
                  </a:lnTo>
                  <a:close/>
                </a:path>
              </a:pathLst>
            </a:custGeom>
            <a:solidFill>
              <a:srgbClr val="FFFFFF"/>
            </a:solidFill>
            <a:ln w="7" cap="flat">
              <a:noFill/>
              <a:prstDash val="solid"/>
              <a:miter/>
            </a:ln>
          </p:spPr>
          <p:txBody>
            <a:bodyPr rtlCol="0" anchor="ctr"/>
            <a:lstStyle/>
            <a:p>
              <a:endParaRPr lang="de-DE"/>
            </a:p>
          </p:txBody>
        </p:sp>
        <p:sp>
          <p:nvSpPr>
            <p:cNvPr id="14" name="Freeform: Shape 13">
              <a:extLst>
                <a:ext uri="{FF2B5EF4-FFF2-40B4-BE49-F238E27FC236}">
                  <a16:creationId xmlns:a16="http://schemas.microsoft.com/office/drawing/2014/main" id="{72C25FA7-2F14-4C47-AAAF-BC06117DC96E}"/>
                </a:ext>
              </a:extLst>
            </p:cNvPr>
            <p:cNvSpPr/>
            <p:nvPr/>
          </p:nvSpPr>
          <p:spPr>
            <a:xfrm>
              <a:off x="1900772" y="386842"/>
              <a:ext cx="89457" cy="134835"/>
            </a:xfrm>
            <a:custGeom>
              <a:avLst/>
              <a:gdLst>
                <a:gd name="connsiteX0" fmla="*/ 3485 w 89457"/>
                <a:gd name="connsiteY0" fmla="*/ 104101 h 134835"/>
                <a:gd name="connsiteX1" fmla="*/ 1835 w 89457"/>
                <a:gd name="connsiteY1" fmla="*/ 98250 h 134835"/>
                <a:gd name="connsiteX2" fmla="*/ 779 w 89457"/>
                <a:gd name="connsiteY2" fmla="*/ 91145 h 134835"/>
                <a:gd name="connsiteX3" fmla="*/ 178 w 89457"/>
                <a:gd name="connsiteY3" fmla="*/ 81246 h 134835"/>
                <a:gd name="connsiteX4" fmla="*/ 0 w 89457"/>
                <a:gd name="connsiteY4" fmla="*/ 67424 h 134835"/>
                <a:gd name="connsiteX5" fmla="*/ 178 w 89457"/>
                <a:gd name="connsiteY5" fmla="*/ 53589 h 134835"/>
                <a:gd name="connsiteX6" fmla="*/ 779 w 89457"/>
                <a:gd name="connsiteY6" fmla="*/ 43690 h 134835"/>
                <a:gd name="connsiteX7" fmla="*/ 1835 w 89457"/>
                <a:gd name="connsiteY7" fmla="*/ 36579 h 134835"/>
                <a:gd name="connsiteX8" fmla="*/ 3485 w 89457"/>
                <a:gd name="connsiteY8" fmla="*/ 30734 h 134835"/>
                <a:gd name="connsiteX9" fmla="*/ 19717 w 89457"/>
                <a:gd name="connsiteY9" fmla="*/ 7583 h 134835"/>
                <a:gd name="connsiteX10" fmla="*/ 47143 w 89457"/>
                <a:gd name="connsiteY10" fmla="*/ 0 h 134835"/>
                <a:gd name="connsiteX11" fmla="*/ 72760 w 89457"/>
                <a:gd name="connsiteY11" fmla="*/ 6829 h 134835"/>
                <a:gd name="connsiteX12" fmla="*/ 89289 w 89457"/>
                <a:gd name="connsiteY12" fmla="*/ 26306 h 134835"/>
                <a:gd name="connsiteX13" fmla="*/ 88516 w 89457"/>
                <a:gd name="connsiteY13" fmla="*/ 28805 h 134835"/>
                <a:gd name="connsiteX14" fmla="*/ 76912 w 89457"/>
                <a:gd name="connsiteY14" fmla="*/ 34381 h 134835"/>
                <a:gd name="connsiteX15" fmla="*/ 74206 w 89457"/>
                <a:gd name="connsiteY15" fmla="*/ 33410 h 134835"/>
                <a:gd name="connsiteX16" fmla="*/ 63988 w 89457"/>
                <a:gd name="connsiteY16" fmla="*/ 20841 h 134835"/>
                <a:gd name="connsiteX17" fmla="*/ 47143 w 89457"/>
                <a:gd name="connsiteY17" fmla="*/ 15947 h 134835"/>
                <a:gd name="connsiteX18" fmla="*/ 29769 w 89457"/>
                <a:gd name="connsiteY18" fmla="*/ 20946 h 134835"/>
                <a:gd name="connsiteX19" fmla="*/ 19915 w 89457"/>
                <a:gd name="connsiteY19" fmla="*/ 35142 h 134835"/>
                <a:gd name="connsiteX20" fmla="*/ 18852 w 89457"/>
                <a:gd name="connsiteY20" fmla="*/ 39662 h 134835"/>
                <a:gd name="connsiteX21" fmla="*/ 18066 w 89457"/>
                <a:gd name="connsiteY21" fmla="*/ 45619 h 134835"/>
                <a:gd name="connsiteX22" fmla="*/ 17591 w 89457"/>
                <a:gd name="connsiteY22" fmla="*/ 54455 h 134835"/>
                <a:gd name="connsiteX23" fmla="*/ 17400 w 89457"/>
                <a:gd name="connsiteY23" fmla="*/ 67424 h 134835"/>
                <a:gd name="connsiteX24" fmla="*/ 17591 w 89457"/>
                <a:gd name="connsiteY24" fmla="*/ 80380 h 134835"/>
                <a:gd name="connsiteX25" fmla="*/ 18066 w 89457"/>
                <a:gd name="connsiteY25" fmla="*/ 89217 h 134835"/>
                <a:gd name="connsiteX26" fmla="*/ 18852 w 89457"/>
                <a:gd name="connsiteY26" fmla="*/ 95272 h 134835"/>
                <a:gd name="connsiteX27" fmla="*/ 19915 w 89457"/>
                <a:gd name="connsiteY27" fmla="*/ 99693 h 134835"/>
                <a:gd name="connsiteX28" fmla="*/ 29769 w 89457"/>
                <a:gd name="connsiteY28" fmla="*/ 113902 h 134835"/>
                <a:gd name="connsiteX29" fmla="*/ 47143 w 89457"/>
                <a:gd name="connsiteY29" fmla="*/ 118901 h 134835"/>
                <a:gd name="connsiteX30" fmla="*/ 63988 w 89457"/>
                <a:gd name="connsiteY30" fmla="*/ 114001 h 134835"/>
                <a:gd name="connsiteX31" fmla="*/ 74206 w 89457"/>
                <a:gd name="connsiteY31" fmla="*/ 101412 h 134835"/>
                <a:gd name="connsiteX32" fmla="*/ 76912 w 89457"/>
                <a:gd name="connsiteY32" fmla="*/ 100461 h 134835"/>
                <a:gd name="connsiteX33" fmla="*/ 88516 w 89457"/>
                <a:gd name="connsiteY33" fmla="*/ 106030 h 134835"/>
                <a:gd name="connsiteX34" fmla="*/ 89289 w 89457"/>
                <a:gd name="connsiteY34" fmla="*/ 108529 h 134835"/>
                <a:gd name="connsiteX35" fmla="*/ 72760 w 89457"/>
                <a:gd name="connsiteY35" fmla="*/ 128013 h 134835"/>
                <a:gd name="connsiteX36" fmla="*/ 47143 w 89457"/>
                <a:gd name="connsiteY36" fmla="*/ 134835 h 134835"/>
                <a:gd name="connsiteX37" fmla="*/ 19717 w 89457"/>
                <a:gd name="connsiteY37" fmla="*/ 127245 h 134835"/>
                <a:gd name="connsiteX38" fmla="*/ 3485 w 89457"/>
                <a:gd name="connsiteY38" fmla="*/ 104101 h 134835"/>
                <a:gd name="connsiteX39" fmla="*/ 3485 w 89457"/>
                <a:gd name="connsiteY39" fmla="*/ 104101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9457" h="134835">
                  <a:moveTo>
                    <a:pt x="3485" y="104101"/>
                  </a:moveTo>
                  <a:cubicBezTo>
                    <a:pt x="2825" y="102179"/>
                    <a:pt x="2284" y="100238"/>
                    <a:pt x="1835" y="98250"/>
                  </a:cubicBezTo>
                  <a:cubicBezTo>
                    <a:pt x="1373" y="96275"/>
                    <a:pt x="1036" y="93894"/>
                    <a:pt x="779" y="91145"/>
                  </a:cubicBezTo>
                  <a:cubicBezTo>
                    <a:pt x="521" y="88390"/>
                    <a:pt x="323" y="85090"/>
                    <a:pt x="178" y="81246"/>
                  </a:cubicBezTo>
                  <a:cubicBezTo>
                    <a:pt x="59" y="77415"/>
                    <a:pt x="0" y="72803"/>
                    <a:pt x="0" y="67424"/>
                  </a:cubicBezTo>
                  <a:cubicBezTo>
                    <a:pt x="0" y="62038"/>
                    <a:pt x="59" y="57427"/>
                    <a:pt x="178" y="53589"/>
                  </a:cubicBezTo>
                  <a:cubicBezTo>
                    <a:pt x="323" y="49745"/>
                    <a:pt x="515" y="46452"/>
                    <a:pt x="779" y="43690"/>
                  </a:cubicBezTo>
                  <a:cubicBezTo>
                    <a:pt x="1036" y="40941"/>
                    <a:pt x="1373" y="38580"/>
                    <a:pt x="1835" y="36579"/>
                  </a:cubicBezTo>
                  <a:cubicBezTo>
                    <a:pt x="2284" y="34598"/>
                    <a:pt x="2825" y="32643"/>
                    <a:pt x="3485" y="30734"/>
                  </a:cubicBezTo>
                  <a:cubicBezTo>
                    <a:pt x="6819" y="20362"/>
                    <a:pt x="12244" y="12641"/>
                    <a:pt x="19717" y="7583"/>
                  </a:cubicBezTo>
                  <a:cubicBezTo>
                    <a:pt x="27189" y="2532"/>
                    <a:pt x="36344" y="0"/>
                    <a:pt x="47143" y="0"/>
                  </a:cubicBezTo>
                  <a:cubicBezTo>
                    <a:pt x="56945" y="0"/>
                    <a:pt x="65493" y="2270"/>
                    <a:pt x="72760" y="6829"/>
                  </a:cubicBezTo>
                  <a:cubicBezTo>
                    <a:pt x="80054" y="11362"/>
                    <a:pt x="85553" y="17856"/>
                    <a:pt x="89289" y="26306"/>
                  </a:cubicBezTo>
                  <a:cubicBezTo>
                    <a:pt x="89665" y="27460"/>
                    <a:pt x="89414" y="28307"/>
                    <a:pt x="88516" y="28805"/>
                  </a:cubicBezTo>
                  <a:lnTo>
                    <a:pt x="76912" y="34381"/>
                  </a:lnTo>
                  <a:cubicBezTo>
                    <a:pt x="75638" y="35024"/>
                    <a:pt x="74727" y="34696"/>
                    <a:pt x="74206" y="33410"/>
                  </a:cubicBezTo>
                  <a:cubicBezTo>
                    <a:pt x="71625" y="28307"/>
                    <a:pt x="68232" y="24115"/>
                    <a:pt x="63988" y="20841"/>
                  </a:cubicBezTo>
                  <a:cubicBezTo>
                    <a:pt x="59730" y="17574"/>
                    <a:pt x="54120" y="15947"/>
                    <a:pt x="47143" y="15947"/>
                  </a:cubicBezTo>
                  <a:cubicBezTo>
                    <a:pt x="39941" y="15947"/>
                    <a:pt x="34146" y="17607"/>
                    <a:pt x="29769" y="20946"/>
                  </a:cubicBezTo>
                  <a:cubicBezTo>
                    <a:pt x="25380" y="24272"/>
                    <a:pt x="22106" y="29002"/>
                    <a:pt x="19915" y="35142"/>
                  </a:cubicBezTo>
                  <a:cubicBezTo>
                    <a:pt x="19518" y="36553"/>
                    <a:pt x="19169" y="38068"/>
                    <a:pt x="18852" y="39662"/>
                  </a:cubicBezTo>
                  <a:cubicBezTo>
                    <a:pt x="18528" y="41263"/>
                    <a:pt x="18271" y="43250"/>
                    <a:pt x="18066" y="45619"/>
                  </a:cubicBezTo>
                  <a:cubicBezTo>
                    <a:pt x="17895" y="47987"/>
                    <a:pt x="17710" y="50932"/>
                    <a:pt x="17591" y="54455"/>
                  </a:cubicBezTo>
                  <a:cubicBezTo>
                    <a:pt x="17452" y="57978"/>
                    <a:pt x="17400" y="62288"/>
                    <a:pt x="17400" y="67424"/>
                  </a:cubicBezTo>
                  <a:cubicBezTo>
                    <a:pt x="17400" y="72541"/>
                    <a:pt x="17452" y="76864"/>
                    <a:pt x="17591" y="80380"/>
                  </a:cubicBezTo>
                  <a:cubicBezTo>
                    <a:pt x="17710" y="83910"/>
                    <a:pt x="17895" y="86849"/>
                    <a:pt x="18066" y="89217"/>
                  </a:cubicBezTo>
                  <a:cubicBezTo>
                    <a:pt x="18271" y="91585"/>
                    <a:pt x="18528" y="93612"/>
                    <a:pt x="18852" y="95272"/>
                  </a:cubicBezTo>
                  <a:cubicBezTo>
                    <a:pt x="19169" y="96938"/>
                    <a:pt x="19518" y="98407"/>
                    <a:pt x="19915" y="99693"/>
                  </a:cubicBezTo>
                  <a:cubicBezTo>
                    <a:pt x="22106" y="105833"/>
                    <a:pt x="25373" y="110576"/>
                    <a:pt x="29769" y="113902"/>
                  </a:cubicBezTo>
                  <a:cubicBezTo>
                    <a:pt x="34146" y="117241"/>
                    <a:pt x="39941" y="118901"/>
                    <a:pt x="47143" y="118901"/>
                  </a:cubicBezTo>
                  <a:cubicBezTo>
                    <a:pt x="54120" y="118901"/>
                    <a:pt x="59730" y="117267"/>
                    <a:pt x="63988" y="114001"/>
                  </a:cubicBezTo>
                  <a:cubicBezTo>
                    <a:pt x="68232" y="110734"/>
                    <a:pt x="71625" y="106542"/>
                    <a:pt x="74206" y="101412"/>
                  </a:cubicBezTo>
                  <a:cubicBezTo>
                    <a:pt x="74727" y="100146"/>
                    <a:pt x="75638" y="99824"/>
                    <a:pt x="76912" y="100461"/>
                  </a:cubicBezTo>
                  <a:lnTo>
                    <a:pt x="88516" y="106030"/>
                  </a:lnTo>
                  <a:cubicBezTo>
                    <a:pt x="89414" y="106542"/>
                    <a:pt x="89665" y="107368"/>
                    <a:pt x="89289" y="108529"/>
                  </a:cubicBezTo>
                  <a:cubicBezTo>
                    <a:pt x="85553" y="116979"/>
                    <a:pt x="80048" y="123480"/>
                    <a:pt x="72760" y="128013"/>
                  </a:cubicBezTo>
                  <a:cubicBezTo>
                    <a:pt x="65493" y="132566"/>
                    <a:pt x="56945" y="134835"/>
                    <a:pt x="47143" y="134835"/>
                  </a:cubicBezTo>
                  <a:cubicBezTo>
                    <a:pt x="36344" y="134835"/>
                    <a:pt x="27189" y="132303"/>
                    <a:pt x="19717" y="127245"/>
                  </a:cubicBezTo>
                  <a:cubicBezTo>
                    <a:pt x="12244" y="122194"/>
                    <a:pt x="6819" y="114486"/>
                    <a:pt x="3485" y="104101"/>
                  </a:cubicBezTo>
                  <a:lnTo>
                    <a:pt x="3485" y="104101"/>
                  </a:lnTo>
                  <a:close/>
                </a:path>
              </a:pathLst>
            </a:custGeom>
            <a:solidFill>
              <a:srgbClr val="FFFFFF"/>
            </a:solidFill>
            <a:ln w="7" cap="flat">
              <a:noFill/>
              <a:prstDash val="solid"/>
              <a:miter/>
            </a:ln>
          </p:spPr>
          <p:txBody>
            <a:bodyPr rtlCol="0" anchor="ctr"/>
            <a:lstStyle/>
            <a:p>
              <a:endParaRPr lang="de-DE"/>
            </a:p>
          </p:txBody>
        </p:sp>
        <p:sp>
          <p:nvSpPr>
            <p:cNvPr id="15" name="Freeform: Shape 14">
              <a:extLst>
                <a:ext uri="{FF2B5EF4-FFF2-40B4-BE49-F238E27FC236}">
                  <a16:creationId xmlns:a16="http://schemas.microsoft.com/office/drawing/2014/main" id="{BB0295CB-8497-48F8-A8D3-2C826CC226AA}"/>
                </a:ext>
              </a:extLst>
            </p:cNvPr>
            <p:cNvSpPr/>
            <p:nvPr/>
          </p:nvSpPr>
          <p:spPr>
            <a:xfrm>
              <a:off x="2016728" y="388961"/>
              <a:ext cx="97302" cy="130604"/>
            </a:xfrm>
            <a:custGeom>
              <a:avLst/>
              <a:gdLst>
                <a:gd name="connsiteX0" fmla="*/ 0 w 97302"/>
                <a:gd name="connsiteY0" fmla="*/ 1909 h 130604"/>
                <a:gd name="connsiteX1" fmla="*/ 1947 w 97302"/>
                <a:gd name="connsiteY1" fmla="*/ 0 h 130604"/>
                <a:gd name="connsiteX2" fmla="*/ 15439 w 97302"/>
                <a:gd name="connsiteY2" fmla="*/ 0 h 130604"/>
                <a:gd name="connsiteX3" fmla="*/ 17413 w 97302"/>
                <a:gd name="connsiteY3" fmla="*/ 1909 h 130604"/>
                <a:gd name="connsiteX4" fmla="*/ 17413 w 97302"/>
                <a:gd name="connsiteY4" fmla="*/ 69910 h 130604"/>
                <a:gd name="connsiteX5" fmla="*/ 73051 w 97302"/>
                <a:gd name="connsiteY5" fmla="*/ 1725 h 130604"/>
                <a:gd name="connsiteX6" fmla="*/ 76153 w 97302"/>
                <a:gd name="connsiteY6" fmla="*/ 0 h 130604"/>
                <a:gd name="connsiteX7" fmla="*/ 92002 w 97302"/>
                <a:gd name="connsiteY7" fmla="*/ 0 h 130604"/>
                <a:gd name="connsiteX8" fmla="*/ 93256 w 97302"/>
                <a:gd name="connsiteY8" fmla="*/ 669 h 130604"/>
                <a:gd name="connsiteX9" fmla="*/ 92774 w 97302"/>
                <a:gd name="connsiteY9" fmla="*/ 2296 h 130604"/>
                <a:gd name="connsiteX10" fmla="*/ 51796 w 97302"/>
                <a:gd name="connsiteY10" fmla="*/ 51280 h 130604"/>
                <a:gd name="connsiteX11" fmla="*/ 96833 w 97302"/>
                <a:gd name="connsiteY11" fmla="*/ 128485 h 130604"/>
                <a:gd name="connsiteX12" fmla="*/ 95678 w 97302"/>
                <a:gd name="connsiteY12" fmla="*/ 130604 h 130604"/>
                <a:gd name="connsiteX13" fmla="*/ 80206 w 97302"/>
                <a:gd name="connsiteY13" fmla="*/ 130604 h 130604"/>
                <a:gd name="connsiteX14" fmla="*/ 77500 w 97302"/>
                <a:gd name="connsiteY14" fmla="*/ 128872 h 130604"/>
                <a:gd name="connsiteX15" fmla="*/ 40714 w 97302"/>
                <a:gd name="connsiteY15" fmla="*/ 64531 h 130604"/>
                <a:gd name="connsiteX16" fmla="*/ 17413 w 97302"/>
                <a:gd name="connsiteY16" fmla="*/ 92582 h 130604"/>
                <a:gd name="connsiteX17" fmla="*/ 17413 w 97302"/>
                <a:gd name="connsiteY17" fmla="*/ 128682 h 130604"/>
                <a:gd name="connsiteX18" fmla="*/ 15439 w 97302"/>
                <a:gd name="connsiteY18" fmla="*/ 130604 h 130604"/>
                <a:gd name="connsiteX19" fmla="*/ 1947 w 97302"/>
                <a:gd name="connsiteY19" fmla="*/ 130604 h 130604"/>
                <a:gd name="connsiteX20" fmla="*/ 0 w 97302"/>
                <a:gd name="connsiteY20" fmla="*/ 128682 h 130604"/>
                <a:gd name="connsiteX21" fmla="*/ 0 w 97302"/>
                <a:gd name="connsiteY21"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302" h="130604">
                  <a:moveTo>
                    <a:pt x="0" y="1909"/>
                  </a:moveTo>
                  <a:cubicBezTo>
                    <a:pt x="0" y="636"/>
                    <a:pt x="653" y="0"/>
                    <a:pt x="1947" y="0"/>
                  </a:cubicBezTo>
                  <a:lnTo>
                    <a:pt x="15439" y="0"/>
                  </a:lnTo>
                  <a:cubicBezTo>
                    <a:pt x="16753" y="0"/>
                    <a:pt x="17413" y="636"/>
                    <a:pt x="17413" y="1909"/>
                  </a:cubicBezTo>
                  <a:lnTo>
                    <a:pt x="17413" y="69910"/>
                  </a:lnTo>
                  <a:lnTo>
                    <a:pt x="73051" y="1725"/>
                  </a:lnTo>
                  <a:cubicBezTo>
                    <a:pt x="73823" y="571"/>
                    <a:pt x="74859" y="0"/>
                    <a:pt x="76153" y="0"/>
                  </a:cubicBezTo>
                  <a:lnTo>
                    <a:pt x="92002" y="0"/>
                  </a:lnTo>
                  <a:cubicBezTo>
                    <a:pt x="92642" y="0"/>
                    <a:pt x="93058" y="223"/>
                    <a:pt x="93256" y="669"/>
                  </a:cubicBezTo>
                  <a:cubicBezTo>
                    <a:pt x="93454" y="1122"/>
                    <a:pt x="93276" y="1666"/>
                    <a:pt x="92774" y="2296"/>
                  </a:cubicBezTo>
                  <a:lnTo>
                    <a:pt x="51796" y="51280"/>
                  </a:lnTo>
                  <a:lnTo>
                    <a:pt x="96833" y="128485"/>
                  </a:lnTo>
                  <a:cubicBezTo>
                    <a:pt x="97724" y="129909"/>
                    <a:pt x="97348" y="130604"/>
                    <a:pt x="95678" y="130604"/>
                  </a:cubicBezTo>
                  <a:lnTo>
                    <a:pt x="80206" y="130604"/>
                  </a:lnTo>
                  <a:cubicBezTo>
                    <a:pt x="79057" y="130604"/>
                    <a:pt x="78140" y="130033"/>
                    <a:pt x="77500" y="128872"/>
                  </a:cubicBezTo>
                  <a:lnTo>
                    <a:pt x="40714" y="64531"/>
                  </a:lnTo>
                  <a:lnTo>
                    <a:pt x="17413" y="92582"/>
                  </a:lnTo>
                  <a:lnTo>
                    <a:pt x="17413" y="128682"/>
                  </a:lnTo>
                  <a:cubicBezTo>
                    <a:pt x="17413" y="129961"/>
                    <a:pt x="16753" y="130604"/>
                    <a:pt x="15439" y="130604"/>
                  </a:cubicBezTo>
                  <a:lnTo>
                    <a:pt x="1947" y="130604"/>
                  </a:lnTo>
                  <a:cubicBezTo>
                    <a:pt x="653" y="130604"/>
                    <a:pt x="0" y="129961"/>
                    <a:pt x="0" y="128682"/>
                  </a:cubicBezTo>
                  <a:lnTo>
                    <a:pt x="0" y="1909"/>
                  </a:lnTo>
                  <a:close/>
                </a:path>
              </a:pathLst>
            </a:custGeom>
            <a:solidFill>
              <a:srgbClr val="FFFFFF"/>
            </a:solidFill>
            <a:ln w="7" cap="flat">
              <a:noFill/>
              <a:prstDash val="solid"/>
              <a:miter/>
            </a:ln>
          </p:spPr>
          <p:txBody>
            <a:bodyPr rtlCol="0" anchor="ctr"/>
            <a:lstStyle/>
            <a:p>
              <a:endParaRPr lang="de-DE"/>
            </a:p>
          </p:txBody>
        </p:sp>
        <p:sp>
          <p:nvSpPr>
            <p:cNvPr id="16" name="Freeform: Shape 15">
              <a:extLst>
                <a:ext uri="{FF2B5EF4-FFF2-40B4-BE49-F238E27FC236}">
                  <a16:creationId xmlns:a16="http://schemas.microsoft.com/office/drawing/2014/main" id="{FDCB2213-9863-4A24-A1B0-DF884C87B0AB}"/>
                </a:ext>
              </a:extLst>
            </p:cNvPr>
            <p:cNvSpPr/>
            <p:nvPr/>
          </p:nvSpPr>
          <p:spPr>
            <a:xfrm>
              <a:off x="2137714" y="388961"/>
              <a:ext cx="83123" cy="130604"/>
            </a:xfrm>
            <a:custGeom>
              <a:avLst/>
              <a:gdLst>
                <a:gd name="connsiteX0" fmla="*/ 0 w 83123"/>
                <a:gd name="connsiteY0" fmla="*/ 1909 h 130604"/>
                <a:gd name="connsiteX1" fmla="*/ 1947 w 83123"/>
                <a:gd name="connsiteY1" fmla="*/ 0 h 130604"/>
                <a:gd name="connsiteX2" fmla="*/ 81190 w 83123"/>
                <a:gd name="connsiteY2" fmla="*/ 0 h 130604"/>
                <a:gd name="connsiteX3" fmla="*/ 83124 w 83123"/>
                <a:gd name="connsiteY3" fmla="*/ 1909 h 130604"/>
                <a:gd name="connsiteX4" fmla="*/ 83124 w 83123"/>
                <a:gd name="connsiteY4" fmla="*/ 14012 h 130604"/>
                <a:gd name="connsiteX5" fmla="*/ 81190 w 83123"/>
                <a:gd name="connsiteY5" fmla="*/ 15941 h 130604"/>
                <a:gd name="connsiteX6" fmla="*/ 18555 w 83123"/>
                <a:gd name="connsiteY6" fmla="*/ 15941 h 130604"/>
                <a:gd name="connsiteX7" fmla="*/ 17406 w 83123"/>
                <a:gd name="connsiteY7" fmla="*/ 17095 h 130604"/>
                <a:gd name="connsiteX8" fmla="*/ 17406 w 83123"/>
                <a:gd name="connsiteY8" fmla="*/ 55505 h 130604"/>
                <a:gd name="connsiteX9" fmla="*/ 18555 w 83123"/>
                <a:gd name="connsiteY9" fmla="*/ 56646 h 130604"/>
                <a:gd name="connsiteX10" fmla="*/ 71704 w 83123"/>
                <a:gd name="connsiteY10" fmla="*/ 56646 h 130604"/>
                <a:gd name="connsiteX11" fmla="*/ 73658 w 83123"/>
                <a:gd name="connsiteY11" fmla="*/ 58575 h 130604"/>
                <a:gd name="connsiteX12" fmla="*/ 73658 w 83123"/>
                <a:gd name="connsiteY12" fmla="*/ 70678 h 130604"/>
                <a:gd name="connsiteX13" fmla="*/ 71704 w 83123"/>
                <a:gd name="connsiteY13" fmla="*/ 72600 h 130604"/>
                <a:gd name="connsiteX14" fmla="*/ 18555 w 83123"/>
                <a:gd name="connsiteY14" fmla="*/ 72600 h 130604"/>
                <a:gd name="connsiteX15" fmla="*/ 17406 w 83123"/>
                <a:gd name="connsiteY15" fmla="*/ 73748 h 130604"/>
                <a:gd name="connsiteX16" fmla="*/ 17406 w 83123"/>
                <a:gd name="connsiteY16" fmla="*/ 113509 h 130604"/>
                <a:gd name="connsiteX17" fmla="*/ 18555 w 83123"/>
                <a:gd name="connsiteY17" fmla="*/ 114670 h 130604"/>
                <a:gd name="connsiteX18" fmla="*/ 81190 w 83123"/>
                <a:gd name="connsiteY18" fmla="*/ 114670 h 130604"/>
                <a:gd name="connsiteX19" fmla="*/ 83124 w 83123"/>
                <a:gd name="connsiteY19" fmla="*/ 116598 h 130604"/>
                <a:gd name="connsiteX20" fmla="*/ 83124 w 83123"/>
                <a:gd name="connsiteY20" fmla="*/ 128682 h 130604"/>
                <a:gd name="connsiteX21" fmla="*/ 81190 w 83123"/>
                <a:gd name="connsiteY21" fmla="*/ 130604 h 130604"/>
                <a:gd name="connsiteX22" fmla="*/ 1954 w 83123"/>
                <a:gd name="connsiteY22" fmla="*/ 130604 h 130604"/>
                <a:gd name="connsiteX23" fmla="*/ 0 w 83123"/>
                <a:gd name="connsiteY23" fmla="*/ 128682 h 130604"/>
                <a:gd name="connsiteX24" fmla="*/ 0 w 83123"/>
                <a:gd name="connsiteY24"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23" h="130604">
                  <a:moveTo>
                    <a:pt x="0" y="1909"/>
                  </a:moveTo>
                  <a:cubicBezTo>
                    <a:pt x="0" y="636"/>
                    <a:pt x="660" y="0"/>
                    <a:pt x="1947" y="0"/>
                  </a:cubicBezTo>
                  <a:lnTo>
                    <a:pt x="81190" y="0"/>
                  </a:lnTo>
                  <a:cubicBezTo>
                    <a:pt x="82483" y="0"/>
                    <a:pt x="83124" y="636"/>
                    <a:pt x="83124" y="1909"/>
                  </a:cubicBezTo>
                  <a:lnTo>
                    <a:pt x="83124" y="14012"/>
                  </a:lnTo>
                  <a:cubicBezTo>
                    <a:pt x="83124" y="15298"/>
                    <a:pt x="82483" y="15941"/>
                    <a:pt x="81190" y="15941"/>
                  </a:cubicBezTo>
                  <a:lnTo>
                    <a:pt x="18555" y="15941"/>
                  </a:lnTo>
                  <a:cubicBezTo>
                    <a:pt x="17782" y="15941"/>
                    <a:pt x="17406" y="16328"/>
                    <a:pt x="17406" y="17095"/>
                  </a:cubicBezTo>
                  <a:lnTo>
                    <a:pt x="17406" y="55505"/>
                  </a:lnTo>
                  <a:cubicBezTo>
                    <a:pt x="17406" y="56272"/>
                    <a:pt x="17782" y="56646"/>
                    <a:pt x="18555" y="56646"/>
                  </a:cubicBezTo>
                  <a:lnTo>
                    <a:pt x="71704" y="56646"/>
                  </a:lnTo>
                  <a:cubicBezTo>
                    <a:pt x="73005" y="56646"/>
                    <a:pt x="73658" y="57289"/>
                    <a:pt x="73658" y="58575"/>
                  </a:cubicBezTo>
                  <a:lnTo>
                    <a:pt x="73658" y="70678"/>
                  </a:lnTo>
                  <a:cubicBezTo>
                    <a:pt x="73658" y="71964"/>
                    <a:pt x="72998" y="72600"/>
                    <a:pt x="71704" y="72600"/>
                  </a:cubicBezTo>
                  <a:lnTo>
                    <a:pt x="18555" y="72600"/>
                  </a:lnTo>
                  <a:cubicBezTo>
                    <a:pt x="17782" y="72600"/>
                    <a:pt x="17406" y="72981"/>
                    <a:pt x="17406" y="73748"/>
                  </a:cubicBezTo>
                  <a:lnTo>
                    <a:pt x="17406" y="113509"/>
                  </a:lnTo>
                  <a:cubicBezTo>
                    <a:pt x="17406" y="114283"/>
                    <a:pt x="17782" y="114670"/>
                    <a:pt x="18555" y="114670"/>
                  </a:cubicBezTo>
                  <a:lnTo>
                    <a:pt x="81190" y="114670"/>
                  </a:lnTo>
                  <a:cubicBezTo>
                    <a:pt x="82483" y="114670"/>
                    <a:pt x="83124" y="115313"/>
                    <a:pt x="83124" y="116598"/>
                  </a:cubicBezTo>
                  <a:lnTo>
                    <a:pt x="83124" y="128682"/>
                  </a:lnTo>
                  <a:cubicBezTo>
                    <a:pt x="83124" y="129961"/>
                    <a:pt x="82483" y="130604"/>
                    <a:pt x="81190" y="130604"/>
                  </a:cubicBezTo>
                  <a:lnTo>
                    <a:pt x="1954" y="130604"/>
                  </a:lnTo>
                  <a:cubicBezTo>
                    <a:pt x="660" y="130604"/>
                    <a:pt x="0" y="129961"/>
                    <a:pt x="0" y="128682"/>
                  </a:cubicBezTo>
                  <a:lnTo>
                    <a:pt x="0" y="1909"/>
                  </a:lnTo>
                  <a:close/>
                </a:path>
              </a:pathLst>
            </a:custGeom>
            <a:solidFill>
              <a:srgbClr val="FFFFFF"/>
            </a:solidFill>
            <a:ln w="7" cap="flat">
              <a:noFill/>
              <a:prstDash val="solid"/>
              <a:miter/>
            </a:ln>
          </p:spPr>
          <p:txBody>
            <a:bodyPr rtlCol="0" anchor="ctr"/>
            <a:lstStyle/>
            <a:p>
              <a:endParaRPr lang="de-DE"/>
            </a:p>
          </p:txBody>
        </p:sp>
        <p:sp>
          <p:nvSpPr>
            <p:cNvPr id="17" name="Freeform: Shape 16">
              <a:extLst>
                <a:ext uri="{FF2B5EF4-FFF2-40B4-BE49-F238E27FC236}">
                  <a16:creationId xmlns:a16="http://schemas.microsoft.com/office/drawing/2014/main" id="{74B4EF86-439E-4066-8619-F1FFA99FCEAF}"/>
                </a:ext>
              </a:extLst>
            </p:cNvPr>
            <p:cNvSpPr/>
            <p:nvPr/>
          </p:nvSpPr>
          <p:spPr>
            <a:xfrm>
              <a:off x="1418786" y="593083"/>
              <a:ext cx="94851" cy="134835"/>
            </a:xfrm>
            <a:custGeom>
              <a:avLst/>
              <a:gdLst>
                <a:gd name="connsiteX0" fmla="*/ 46917 w 94851"/>
                <a:gd name="connsiteY0" fmla="*/ 134835 h 134835"/>
                <a:gd name="connsiteX1" fmla="*/ 33194 w 94851"/>
                <a:gd name="connsiteY1" fmla="*/ 133484 h 134835"/>
                <a:gd name="connsiteX2" fmla="*/ 20434 w 94851"/>
                <a:gd name="connsiteY2" fmla="*/ 129928 h 134835"/>
                <a:gd name="connsiteX3" fmla="*/ 9437 w 94851"/>
                <a:gd name="connsiteY3" fmla="*/ 124753 h 134835"/>
                <a:gd name="connsiteX4" fmla="*/ 724 w 94851"/>
                <a:gd name="connsiteY4" fmla="*/ 118507 h 134835"/>
                <a:gd name="connsiteX5" fmla="*/ 539 w 94851"/>
                <a:gd name="connsiteY5" fmla="*/ 115627 h 134835"/>
                <a:gd name="connsiteX6" fmla="*/ 9048 w 94851"/>
                <a:gd name="connsiteY6" fmla="*/ 105643 h 134835"/>
                <a:gd name="connsiteX7" fmla="*/ 11748 w 94851"/>
                <a:gd name="connsiteY7" fmla="*/ 105446 h 134835"/>
                <a:gd name="connsiteX8" fmla="*/ 27596 w 94851"/>
                <a:gd name="connsiteY8" fmla="*/ 114670 h 134835"/>
                <a:gd name="connsiteX9" fmla="*/ 48468 w 94851"/>
                <a:gd name="connsiteY9" fmla="*/ 118888 h 134835"/>
                <a:gd name="connsiteX10" fmla="*/ 69828 w 94851"/>
                <a:gd name="connsiteY10" fmla="*/ 112748 h 134835"/>
                <a:gd name="connsiteX11" fmla="*/ 77458 w 94851"/>
                <a:gd name="connsiteY11" fmla="*/ 96610 h 134835"/>
                <a:gd name="connsiteX12" fmla="*/ 76105 w 94851"/>
                <a:gd name="connsiteY12" fmla="*/ 88928 h 134835"/>
                <a:gd name="connsiteX13" fmla="*/ 71564 w 94851"/>
                <a:gd name="connsiteY13" fmla="*/ 82781 h 134835"/>
                <a:gd name="connsiteX14" fmla="*/ 63168 w 94851"/>
                <a:gd name="connsiteY14" fmla="*/ 78163 h 134835"/>
                <a:gd name="connsiteX15" fmla="*/ 50012 w 94851"/>
                <a:gd name="connsiteY15" fmla="*/ 75303 h 134835"/>
                <a:gd name="connsiteX16" fmla="*/ 43438 w 94851"/>
                <a:gd name="connsiteY16" fmla="*/ 74325 h 134835"/>
                <a:gd name="connsiteX17" fmla="*/ 4790 w 94851"/>
                <a:gd name="connsiteY17" fmla="*/ 38219 h 134835"/>
                <a:gd name="connsiteX18" fmla="*/ 7781 w 94851"/>
                <a:gd name="connsiteY18" fmla="*/ 22462 h 134835"/>
                <a:gd name="connsiteX19" fmla="*/ 16388 w 94851"/>
                <a:gd name="connsiteY19" fmla="*/ 10371 h 134835"/>
                <a:gd name="connsiteX20" fmla="*/ 29906 w 94851"/>
                <a:gd name="connsiteY20" fmla="*/ 2683 h 134835"/>
                <a:gd name="connsiteX21" fmla="*/ 47689 w 94851"/>
                <a:gd name="connsiteY21" fmla="*/ 0 h 134835"/>
                <a:gd name="connsiteX22" fmla="*/ 69828 w 94851"/>
                <a:gd name="connsiteY22" fmla="*/ 3352 h 134835"/>
                <a:gd name="connsiteX23" fmla="*/ 87703 w 94851"/>
                <a:gd name="connsiteY23" fmla="*/ 12097 h 134835"/>
                <a:gd name="connsiteX24" fmla="*/ 88086 w 94851"/>
                <a:gd name="connsiteY24" fmla="*/ 14786 h 134835"/>
                <a:gd name="connsiteX25" fmla="*/ 81518 w 94851"/>
                <a:gd name="connsiteY25" fmla="*/ 25348 h 134835"/>
                <a:gd name="connsiteX26" fmla="*/ 78811 w 94851"/>
                <a:gd name="connsiteY26" fmla="*/ 25729 h 134835"/>
                <a:gd name="connsiteX27" fmla="*/ 63168 w 94851"/>
                <a:gd name="connsiteY27" fmla="*/ 18329 h 134835"/>
                <a:gd name="connsiteX28" fmla="*/ 47115 w 94851"/>
                <a:gd name="connsiteY28" fmla="*/ 15941 h 134835"/>
                <a:gd name="connsiteX29" fmla="*/ 28553 w 94851"/>
                <a:gd name="connsiteY29" fmla="*/ 21792 h 134835"/>
                <a:gd name="connsiteX30" fmla="*/ 22177 w 94851"/>
                <a:gd name="connsiteY30" fmla="*/ 37064 h 134835"/>
                <a:gd name="connsiteX31" fmla="*/ 28362 w 94851"/>
                <a:gd name="connsiteY31" fmla="*/ 50611 h 134835"/>
                <a:gd name="connsiteX32" fmla="*/ 49821 w 94851"/>
                <a:gd name="connsiteY32" fmla="*/ 58004 h 134835"/>
                <a:gd name="connsiteX33" fmla="*/ 56197 w 94851"/>
                <a:gd name="connsiteY33" fmla="*/ 58968 h 134835"/>
                <a:gd name="connsiteX34" fmla="*/ 85201 w 94851"/>
                <a:gd name="connsiteY34" fmla="*/ 70488 h 134835"/>
                <a:gd name="connsiteX35" fmla="*/ 94851 w 94851"/>
                <a:gd name="connsiteY35" fmla="*/ 95468 h 134835"/>
                <a:gd name="connsiteX36" fmla="*/ 91855 w 94851"/>
                <a:gd name="connsiteY36" fmla="*/ 111311 h 134835"/>
                <a:gd name="connsiteX37" fmla="*/ 82772 w 94851"/>
                <a:gd name="connsiteY37" fmla="*/ 123696 h 134835"/>
                <a:gd name="connsiteX38" fmla="*/ 67702 w 94851"/>
                <a:gd name="connsiteY38" fmla="*/ 131850 h 134835"/>
                <a:gd name="connsiteX39" fmla="*/ 46917 w 94851"/>
                <a:gd name="connsiteY39" fmla="*/ 134835 h 134835"/>
                <a:gd name="connsiteX40" fmla="*/ 46917 w 94851"/>
                <a:gd name="connsiteY40" fmla="*/ 134835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4851" h="134835">
                  <a:moveTo>
                    <a:pt x="46917" y="134835"/>
                  </a:moveTo>
                  <a:cubicBezTo>
                    <a:pt x="42283" y="134835"/>
                    <a:pt x="37715" y="134376"/>
                    <a:pt x="33194" y="133484"/>
                  </a:cubicBezTo>
                  <a:cubicBezTo>
                    <a:pt x="28692" y="132592"/>
                    <a:pt x="24434" y="131404"/>
                    <a:pt x="20434" y="129928"/>
                  </a:cubicBezTo>
                  <a:cubicBezTo>
                    <a:pt x="16461" y="128465"/>
                    <a:pt x="12777" y="126734"/>
                    <a:pt x="9437" y="124753"/>
                  </a:cubicBezTo>
                  <a:cubicBezTo>
                    <a:pt x="6071" y="122771"/>
                    <a:pt x="3173" y="120685"/>
                    <a:pt x="724" y="118507"/>
                  </a:cubicBezTo>
                  <a:cubicBezTo>
                    <a:pt x="-180" y="117615"/>
                    <a:pt x="-233" y="116644"/>
                    <a:pt x="539" y="115627"/>
                  </a:cubicBezTo>
                  <a:lnTo>
                    <a:pt x="9048" y="105643"/>
                  </a:lnTo>
                  <a:cubicBezTo>
                    <a:pt x="9820" y="104738"/>
                    <a:pt x="10711" y="104672"/>
                    <a:pt x="11748" y="105446"/>
                  </a:cubicBezTo>
                  <a:cubicBezTo>
                    <a:pt x="15998" y="108785"/>
                    <a:pt x="21279" y="111855"/>
                    <a:pt x="27596" y="114670"/>
                  </a:cubicBezTo>
                  <a:cubicBezTo>
                    <a:pt x="33900" y="117491"/>
                    <a:pt x="40864" y="118888"/>
                    <a:pt x="48468" y="118888"/>
                  </a:cubicBezTo>
                  <a:cubicBezTo>
                    <a:pt x="57616" y="118888"/>
                    <a:pt x="64732" y="116848"/>
                    <a:pt x="69828" y="112748"/>
                  </a:cubicBezTo>
                  <a:cubicBezTo>
                    <a:pt x="74917" y="108654"/>
                    <a:pt x="77458" y="103275"/>
                    <a:pt x="77458" y="96610"/>
                  </a:cubicBezTo>
                  <a:cubicBezTo>
                    <a:pt x="77458" y="93796"/>
                    <a:pt x="77016" y="91237"/>
                    <a:pt x="76105" y="88928"/>
                  </a:cubicBezTo>
                  <a:cubicBezTo>
                    <a:pt x="75201" y="86625"/>
                    <a:pt x="73689" y="84572"/>
                    <a:pt x="71564" y="82781"/>
                  </a:cubicBezTo>
                  <a:cubicBezTo>
                    <a:pt x="69432" y="80984"/>
                    <a:pt x="66640" y="79449"/>
                    <a:pt x="63168" y="78163"/>
                  </a:cubicBezTo>
                  <a:cubicBezTo>
                    <a:pt x="59676" y="76897"/>
                    <a:pt x="55293" y="75933"/>
                    <a:pt x="50012" y="75303"/>
                  </a:cubicBezTo>
                  <a:lnTo>
                    <a:pt x="43438" y="74325"/>
                  </a:lnTo>
                  <a:cubicBezTo>
                    <a:pt x="17682" y="70868"/>
                    <a:pt x="4790" y="58831"/>
                    <a:pt x="4790" y="38219"/>
                  </a:cubicBezTo>
                  <a:cubicBezTo>
                    <a:pt x="4790" y="32446"/>
                    <a:pt x="5787" y="27198"/>
                    <a:pt x="7781" y="22462"/>
                  </a:cubicBezTo>
                  <a:cubicBezTo>
                    <a:pt x="9781" y="17732"/>
                    <a:pt x="12652" y="13697"/>
                    <a:pt x="16388" y="10371"/>
                  </a:cubicBezTo>
                  <a:cubicBezTo>
                    <a:pt x="20111" y="7039"/>
                    <a:pt x="24626" y="4487"/>
                    <a:pt x="29906" y="2683"/>
                  </a:cubicBezTo>
                  <a:cubicBezTo>
                    <a:pt x="35194" y="899"/>
                    <a:pt x="41128" y="0"/>
                    <a:pt x="47689" y="0"/>
                  </a:cubicBezTo>
                  <a:cubicBezTo>
                    <a:pt x="55418" y="0"/>
                    <a:pt x="62805" y="1122"/>
                    <a:pt x="69828" y="3352"/>
                  </a:cubicBezTo>
                  <a:cubicBezTo>
                    <a:pt x="76851" y="5596"/>
                    <a:pt x="82805" y="8522"/>
                    <a:pt x="87703" y="12097"/>
                  </a:cubicBezTo>
                  <a:cubicBezTo>
                    <a:pt x="88732" y="12858"/>
                    <a:pt x="88864" y="13756"/>
                    <a:pt x="88086" y="14786"/>
                  </a:cubicBezTo>
                  <a:lnTo>
                    <a:pt x="81518" y="25348"/>
                  </a:lnTo>
                  <a:cubicBezTo>
                    <a:pt x="80752" y="26247"/>
                    <a:pt x="79841" y="26371"/>
                    <a:pt x="78811" y="25729"/>
                  </a:cubicBezTo>
                  <a:cubicBezTo>
                    <a:pt x="73405" y="22403"/>
                    <a:pt x="68171" y="19936"/>
                    <a:pt x="63168" y="18329"/>
                  </a:cubicBezTo>
                  <a:cubicBezTo>
                    <a:pt x="58138" y="16741"/>
                    <a:pt x="52785" y="15941"/>
                    <a:pt x="47115" y="15941"/>
                  </a:cubicBezTo>
                  <a:cubicBezTo>
                    <a:pt x="39002" y="15941"/>
                    <a:pt x="32811" y="17889"/>
                    <a:pt x="28553" y="21792"/>
                  </a:cubicBezTo>
                  <a:cubicBezTo>
                    <a:pt x="24309" y="25702"/>
                    <a:pt x="22177" y="30806"/>
                    <a:pt x="22177" y="37064"/>
                  </a:cubicBezTo>
                  <a:cubicBezTo>
                    <a:pt x="22177" y="42568"/>
                    <a:pt x="24230" y="47081"/>
                    <a:pt x="28362" y="50611"/>
                  </a:cubicBezTo>
                  <a:cubicBezTo>
                    <a:pt x="32481" y="54134"/>
                    <a:pt x="39636" y="56587"/>
                    <a:pt x="49821" y="58004"/>
                  </a:cubicBezTo>
                  <a:lnTo>
                    <a:pt x="56197" y="58968"/>
                  </a:lnTo>
                  <a:cubicBezTo>
                    <a:pt x="69082" y="60759"/>
                    <a:pt x="78752" y="64597"/>
                    <a:pt x="85201" y="70488"/>
                  </a:cubicBezTo>
                  <a:cubicBezTo>
                    <a:pt x="91630" y="76385"/>
                    <a:pt x="94851" y="84703"/>
                    <a:pt x="94851" y="95468"/>
                  </a:cubicBezTo>
                  <a:cubicBezTo>
                    <a:pt x="94851" y="101215"/>
                    <a:pt x="93855" y="106502"/>
                    <a:pt x="91855" y="111311"/>
                  </a:cubicBezTo>
                  <a:cubicBezTo>
                    <a:pt x="89861" y="116113"/>
                    <a:pt x="86838" y="120233"/>
                    <a:pt x="82772" y="123696"/>
                  </a:cubicBezTo>
                  <a:cubicBezTo>
                    <a:pt x="78719" y="127147"/>
                    <a:pt x="73689" y="129876"/>
                    <a:pt x="67702" y="131850"/>
                  </a:cubicBezTo>
                  <a:cubicBezTo>
                    <a:pt x="61715" y="133838"/>
                    <a:pt x="54771" y="134835"/>
                    <a:pt x="46917" y="134835"/>
                  </a:cubicBezTo>
                  <a:lnTo>
                    <a:pt x="46917" y="134835"/>
                  </a:lnTo>
                  <a:close/>
                </a:path>
              </a:pathLst>
            </a:custGeom>
            <a:solidFill>
              <a:srgbClr val="FFFFFF"/>
            </a:solidFill>
            <a:ln w="7" cap="flat">
              <a:noFill/>
              <a:prstDash val="solid"/>
              <a:miter/>
            </a:ln>
          </p:spPr>
          <p:txBody>
            <a:bodyPr rtlCol="0" anchor="ctr"/>
            <a:lstStyle/>
            <a:p>
              <a:endParaRPr lang="de-DE"/>
            </a:p>
          </p:txBody>
        </p:sp>
        <p:sp>
          <p:nvSpPr>
            <p:cNvPr id="19" name="Freeform: Shape 18">
              <a:extLst>
                <a:ext uri="{FF2B5EF4-FFF2-40B4-BE49-F238E27FC236}">
                  <a16:creationId xmlns:a16="http://schemas.microsoft.com/office/drawing/2014/main" id="{E5A3AF23-C7DB-488F-8CD0-51627F3B6D7A}"/>
                </a:ext>
              </a:extLst>
            </p:cNvPr>
            <p:cNvSpPr/>
            <p:nvPr/>
          </p:nvSpPr>
          <p:spPr>
            <a:xfrm>
              <a:off x="1542047" y="595196"/>
              <a:ext cx="17386" cy="130604"/>
            </a:xfrm>
            <a:custGeom>
              <a:avLst/>
              <a:gdLst>
                <a:gd name="connsiteX0" fmla="*/ 0 w 17386"/>
                <a:gd name="connsiteY0" fmla="*/ 1916 h 130604"/>
                <a:gd name="connsiteX1" fmla="*/ 1954 w 17386"/>
                <a:gd name="connsiteY1" fmla="*/ 0 h 130604"/>
                <a:gd name="connsiteX2" fmla="*/ 15439 w 17386"/>
                <a:gd name="connsiteY2" fmla="*/ 0 h 130604"/>
                <a:gd name="connsiteX3" fmla="*/ 17386 w 17386"/>
                <a:gd name="connsiteY3" fmla="*/ 1916 h 130604"/>
                <a:gd name="connsiteX4" fmla="*/ 17386 w 17386"/>
                <a:gd name="connsiteY4" fmla="*/ 128682 h 130604"/>
                <a:gd name="connsiteX5" fmla="*/ 15439 w 17386"/>
                <a:gd name="connsiteY5" fmla="*/ 130604 h 130604"/>
                <a:gd name="connsiteX6" fmla="*/ 1954 w 17386"/>
                <a:gd name="connsiteY6" fmla="*/ 130604 h 130604"/>
                <a:gd name="connsiteX7" fmla="*/ 0 w 17386"/>
                <a:gd name="connsiteY7" fmla="*/ 128682 h 130604"/>
                <a:gd name="connsiteX8" fmla="*/ 0 w 17386"/>
                <a:gd name="connsiteY8"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6" h="130604">
                  <a:moveTo>
                    <a:pt x="0" y="1916"/>
                  </a:moveTo>
                  <a:cubicBezTo>
                    <a:pt x="0" y="636"/>
                    <a:pt x="653" y="0"/>
                    <a:pt x="1954" y="0"/>
                  </a:cubicBezTo>
                  <a:lnTo>
                    <a:pt x="15439" y="0"/>
                  </a:lnTo>
                  <a:cubicBezTo>
                    <a:pt x="16740" y="0"/>
                    <a:pt x="17386" y="636"/>
                    <a:pt x="17386" y="1916"/>
                  </a:cubicBezTo>
                  <a:lnTo>
                    <a:pt x="17386" y="128682"/>
                  </a:lnTo>
                  <a:cubicBezTo>
                    <a:pt x="17386" y="129961"/>
                    <a:pt x="16740" y="130604"/>
                    <a:pt x="15439" y="130604"/>
                  </a:cubicBezTo>
                  <a:lnTo>
                    <a:pt x="1954"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20" name="Freeform: Shape 19">
              <a:extLst>
                <a:ext uri="{FF2B5EF4-FFF2-40B4-BE49-F238E27FC236}">
                  <a16:creationId xmlns:a16="http://schemas.microsoft.com/office/drawing/2014/main" id="{8C582936-598C-4ED5-BCF3-2E4DCBB3FAFD}"/>
                </a:ext>
              </a:extLst>
            </p:cNvPr>
            <p:cNvSpPr/>
            <p:nvPr/>
          </p:nvSpPr>
          <p:spPr>
            <a:xfrm>
              <a:off x="1593645" y="595196"/>
              <a:ext cx="90641" cy="130604"/>
            </a:xfrm>
            <a:custGeom>
              <a:avLst/>
              <a:gdLst>
                <a:gd name="connsiteX0" fmla="*/ 0 w 90641"/>
                <a:gd name="connsiteY0" fmla="*/ 1916 h 130604"/>
                <a:gd name="connsiteX1" fmla="*/ 1941 w 90641"/>
                <a:gd name="connsiteY1" fmla="*/ 0 h 130604"/>
                <a:gd name="connsiteX2" fmla="*/ 48516 w 90641"/>
                <a:gd name="connsiteY2" fmla="*/ 0 h 130604"/>
                <a:gd name="connsiteX3" fmla="*/ 78272 w 90641"/>
                <a:gd name="connsiteY3" fmla="*/ 9315 h 130604"/>
                <a:gd name="connsiteX4" fmla="*/ 88134 w 90641"/>
                <a:gd name="connsiteY4" fmla="*/ 34375 h 130604"/>
                <a:gd name="connsiteX5" fmla="*/ 83203 w 90641"/>
                <a:gd name="connsiteY5" fmla="*/ 52815 h 130604"/>
                <a:gd name="connsiteX6" fmla="*/ 70549 w 90641"/>
                <a:gd name="connsiteY6" fmla="*/ 62806 h 130604"/>
                <a:gd name="connsiteX7" fmla="*/ 70549 w 90641"/>
                <a:gd name="connsiteY7" fmla="*/ 63193 h 130604"/>
                <a:gd name="connsiteX8" fmla="*/ 77401 w 90641"/>
                <a:gd name="connsiteY8" fmla="*/ 66552 h 130604"/>
                <a:gd name="connsiteX9" fmla="*/ 83876 w 90641"/>
                <a:gd name="connsiteY9" fmla="*/ 72698 h 130604"/>
                <a:gd name="connsiteX10" fmla="*/ 88721 w 90641"/>
                <a:gd name="connsiteY10" fmla="*/ 81633 h 130604"/>
                <a:gd name="connsiteX11" fmla="*/ 90642 w 90641"/>
                <a:gd name="connsiteY11" fmla="*/ 93356 h 130604"/>
                <a:gd name="connsiteX12" fmla="*/ 79500 w 90641"/>
                <a:gd name="connsiteY12" fmla="*/ 121204 h 130604"/>
                <a:gd name="connsiteX13" fmla="*/ 47644 w 90641"/>
                <a:gd name="connsiteY13" fmla="*/ 130604 h 130604"/>
                <a:gd name="connsiteX14" fmla="*/ 1941 w 90641"/>
                <a:gd name="connsiteY14" fmla="*/ 130604 h 130604"/>
                <a:gd name="connsiteX15" fmla="*/ 0 w 90641"/>
                <a:gd name="connsiteY15" fmla="*/ 128682 h 130604"/>
                <a:gd name="connsiteX16" fmla="*/ 0 w 90641"/>
                <a:gd name="connsiteY16" fmla="*/ 1916 h 130604"/>
                <a:gd name="connsiteX17" fmla="*/ 48212 w 90641"/>
                <a:gd name="connsiteY17" fmla="*/ 56462 h 130604"/>
                <a:gd name="connsiteX18" fmla="*/ 65150 w 90641"/>
                <a:gd name="connsiteY18" fmla="*/ 50899 h 130604"/>
                <a:gd name="connsiteX19" fmla="*/ 71130 w 90641"/>
                <a:gd name="connsiteY19" fmla="*/ 36113 h 130604"/>
                <a:gd name="connsiteX20" fmla="*/ 65150 w 90641"/>
                <a:gd name="connsiteY20" fmla="*/ 21123 h 130604"/>
                <a:gd name="connsiteX21" fmla="*/ 48212 w 90641"/>
                <a:gd name="connsiteY21" fmla="*/ 15554 h 130604"/>
                <a:gd name="connsiteX22" fmla="*/ 18555 w 90641"/>
                <a:gd name="connsiteY22" fmla="*/ 15554 h 130604"/>
                <a:gd name="connsiteX23" fmla="*/ 17393 w 90641"/>
                <a:gd name="connsiteY23" fmla="*/ 16708 h 130604"/>
                <a:gd name="connsiteX24" fmla="*/ 17393 w 90641"/>
                <a:gd name="connsiteY24" fmla="*/ 55308 h 130604"/>
                <a:gd name="connsiteX25" fmla="*/ 18555 w 90641"/>
                <a:gd name="connsiteY25" fmla="*/ 56462 h 130604"/>
                <a:gd name="connsiteX26" fmla="*/ 48212 w 90641"/>
                <a:gd name="connsiteY26" fmla="*/ 56462 h 130604"/>
                <a:gd name="connsiteX27" fmla="*/ 17393 w 90641"/>
                <a:gd name="connsiteY27" fmla="*/ 113902 h 130604"/>
                <a:gd name="connsiteX28" fmla="*/ 18555 w 90641"/>
                <a:gd name="connsiteY28" fmla="*/ 115050 h 130604"/>
                <a:gd name="connsiteX29" fmla="*/ 49182 w 90641"/>
                <a:gd name="connsiteY29" fmla="*/ 115050 h 130604"/>
                <a:gd name="connsiteX30" fmla="*/ 67090 w 90641"/>
                <a:gd name="connsiteY30" fmla="*/ 109199 h 130604"/>
                <a:gd name="connsiteX31" fmla="*/ 73255 w 90641"/>
                <a:gd name="connsiteY31" fmla="*/ 93540 h 130604"/>
                <a:gd name="connsiteX32" fmla="*/ 67090 w 90641"/>
                <a:gd name="connsiteY32" fmla="*/ 77881 h 130604"/>
                <a:gd name="connsiteX33" fmla="*/ 49182 w 90641"/>
                <a:gd name="connsiteY33" fmla="*/ 72029 h 130604"/>
                <a:gd name="connsiteX34" fmla="*/ 18555 w 90641"/>
                <a:gd name="connsiteY34" fmla="*/ 72029 h 130604"/>
                <a:gd name="connsiteX35" fmla="*/ 17393 w 90641"/>
                <a:gd name="connsiteY35" fmla="*/ 73190 h 130604"/>
                <a:gd name="connsiteX36" fmla="*/ 17393 w 90641"/>
                <a:gd name="connsiteY36" fmla="*/ 113902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0641" h="130604">
                  <a:moveTo>
                    <a:pt x="0" y="1916"/>
                  </a:moveTo>
                  <a:cubicBezTo>
                    <a:pt x="0" y="636"/>
                    <a:pt x="647" y="0"/>
                    <a:pt x="1941" y="0"/>
                  </a:cubicBezTo>
                  <a:lnTo>
                    <a:pt x="48516" y="0"/>
                  </a:lnTo>
                  <a:cubicBezTo>
                    <a:pt x="61783" y="0"/>
                    <a:pt x="71704" y="3109"/>
                    <a:pt x="78272" y="9315"/>
                  </a:cubicBezTo>
                  <a:cubicBezTo>
                    <a:pt x="84840" y="15528"/>
                    <a:pt x="88134" y="23879"/>
                    <a:pt x="88134" y="34375"/>
                  </a:cubicBezTo>
                  <a:cubicBezTo>
                    <a:pt x="88134" y="42056"/>
                    <a:pt x="86497" y="48210"/>
                    <a:pt x="83203" y="52815"/>
                  </a:cubicBezTo>
                  <a:cubicBezTo>
                    <a:pt x="79916" y="57420"/>
                    <a:pt x="75691" y="60759"/>
                    <a:pt x="70549" y="62806"/>
                  </a:cubicBezTo>
                  <a:lnTo>
                    <a:pt x="70549" y="63193"/>
                  </a:lnTo>
                  <a:cubicBezTo>
                    <a:pt x="72734" y="63829"/>
                    <a:pt x="75024" y="64945"/>
                    <a:pt x="77401" y="66552"/>
                  </a:cubicBezTo>
                  <a:cubicBezTo>
                    <a:pt x="79784" y="68159"/>
                    <a:pt x="81955" y="70199"/>
                    <a:pt x="83876" y="72698"/>
                  </a:cubicBezTo>
                  <a:cubicBezTo>
                    <a:pt x="85817" y="75198"/>
                    <a:pt x="87427" y="78183"/>
                    <a:pt x="88721" y="81633"/>
                  </a:cubicBezTo>
                  <a:cubicBezTo>
                    <a:pt x="90002" y="85090"/>
                    <a:pt x="90642" y="89000"/>
                    <a:pt x="90642" y="93356"/>
                  </a:cubicBezTo>
                  <a:cubicBezTo>
                    <a:pt x="90648" y="105650"/>
                    <a:pt x="86932" y="114919"/>
                    <a:pt x="79500" y="121204"/>
                  </a:cubicBezTo>
                  <a:cubicBezTo>
                    <a:pt x="72080" y="127468"/>
                    <a:pt x="61460" y="130604"/>
                    <a:pt x="47644" y="130604"/>
                  </a:cubicBezTo>
                  <a:lnTo>
                    <a:pt x="1941" y="130604"/>
                  </a:lnTo>
                  <a:cubicBezTo>
                    <a:pt x="647" y="130604"/>
                    <a:pt x="0" y="129961"/>
                    <a:pt x="0" y="128682"/>
                  </a:cubicBezTo>
                  <a:lnTo>
                    <a:pt x="0" y="1916"/>
                  </a:lnTo>
                  <a:close/>
                  <a:moveTo>
                    <a:pt x="48212" y="56462"/>
                  </a:moveTo>
                  <a:cubicBezTo>
                    <a:pt x="55526" y="56462"/>
                    <a:pt x="61163" y="54606"/>
                    <a:pt x="65150" y="50899"/>
                  </a:cubicBezTo>
                  <a:cubicBezTo>
                    <a:pt x="69143" y="47186"/>
                    <a:pt x="71130" y="42253"/>
                    <a:pt x="71130" y="36113"/>
                  </a:cubicBezTo>
                  <a:cubicBezTo>
                    <a:pt x="71130" y="29829"/>
                    <a:pt x="69143" y="24836"/>
                    <a:pt x="65150" y="21123"/>
                  </a:cubicBezTo>
                  <a:cubicBezTo>
                    <a:pt x="61163" y="17404"/>
                    <a:pt x="55526" y="15554"/>
                    <a:pt x="48212" y="15554"/>
                  </a:cubicBezTo>
                  <a:lnTo>
                    <a:pt x="18555" y="15554"/>
                  </a:lnTo>
                  <a:cubicBezTo>
                    <a:pt x="17782" y="15554"/>
                    <a:pt x="17393" y="15934"/>
                    <a:pt x="17393" y="16708"/>
                  </a:cubicBezTo>
                  <a:lnTo>
                    <a:pt x="17393" y="55308"/>
                  </a:lnTo>
                  <a:cubicBezTo>
                    <a:pt x="17393" y="56075"/>
                    <a:pt x="17782" y="56462"/>
                    <a:pt x="18555" y="56462"/>
                  </a:cubicBezTo>
                  <a:lnTo>
                    <a:pt x="48212" y="56462"/>
                  </a:lnTo>
                  <a:close/>
                  <a:moveTo>
                    <a:pt x="17393" y="113902"/>
                  </a:moveTo>
                  <a:cubicBezTo>
                    <a:pt x="17393" y="114670"/>
                    <a:pt x="17782" y="115050"/>
                    <a:pt x="18555" y="115050"/>
                  </a:cubicBezTo>
                  <a:lnTo>
                    <a:pt x="49182" y="115050"/>
                  </a:lnTo>
                  <a:cubicBezTo>
                    <a:pt x="57011" y="115050"/>
                    <a:pt x="62978" y="113102"/>
                    <a:pt x="67090" y="109199"/>
                  </a:cubicBezTo>
                  <a:cubicBezTo>
                    <a:pt x="71196" y="105289"/>
                    <a:pt x="73255" y="100067"/>
                    <a:pt x="73255" y="93540"/>
                  </a:cubicBezTo>
                  <a:cubicBezTo>
                    <a:pt x="73255" y="87006"/>
                    <a:pt x="71196" y="81784"/>
                    <a:pt x="67090" y="77881"/>
                  </a:cubicBezTo>
                  <a:cubicBezTo>
                    <a:pt x="62978" y="73984"/>
                    <a:pt x="57011" y="72029"/>
                    <a:pt x="49182" y="72029"/>
                  </a:cubicBezTo>
                  <a:lnTo>
                    <a:pt x="18555" y="72029"/>
                  </a:lnTo>
                  <a:cubicBezTo>
                    <a:pt x="17782" y="72029"/>
                    <a:pt x="17393" y="72416"/>
                    <a:pt x="17393" y="73190"/>
                  </a:cubicBezTo>
                  <a:lnTo>
                    <a:pt x="17393" y="113902"/>
                  </a:lnTo>
                  <a:close/>
                </a:path>
              </a:pathLst>
            </a:custGeom>
            <a:solidFill>
              <a:srgbClr val="FFFFFF"/>
            </a:solidFill>
            <a:ln w="7" cap="flat">
              <a:noFill/>
              <a:prstDash val="solid"/>
              <a:miter/>
            </a:ln>
          </p:spPr>
          <p:txBody>
            <a:bodyPr rtlCol="0" anchor="ctr"/>
            <a:lstStyle/>
            <a:p>
              <a:endParaRPr lang="de-DE"/>
            </a:p>
          </p:txBody>
        </p:sp>
        <p:sp>
          <p:nvSpPr>
            <p:cNvPr id="21" name="Freeform: Shape 20">
              <a:extLst>
                <a:ext uri="{FF2B5EF4-FFF2-40B4-BE49-F238E27FC236}">
                  <a16:creationId xmlns:a16="http://schemas.microsoft.com/office/drawing/2014/main" id="{6777D65D-70A2-4191-AA2A-9F7F44382AD5}"/>
                </a:ext>
              </a:extLst>
            </p:cNvPr>
            <p:cNvSpPr/>
            <p:nvPr/>
          </p:nvSpPr>
          <p:spPr>
            <a:xfrm>
              <a:off x="1712320" y="595196"/>
              <a:ext cx="83103" cy="130604"/>
            </a:xfrm>
            <a:custGeom>
              <a:avLst/>
              <a:gdLst>
                <a:gd name="connsiteX0" fmla="*/ 0 w 83103"/>
                <a:gd name="connsiteY0" fmla="*/ 1916 h 130604"/>
                <a:gd name="connsiteX1" fmla="*/ 1941 w 83103"/>
                <a:gd name="connsiteY1" fmla="*/ 0 h 130604"/>
                <a:gd name="connsiteX2" fmla="*/ 81170 w 83103"/>
                <a:gd name="connsiteY2" fmla="*/ 0 h 130604"/>
                <a:gd name="connsiteX3" fmla="*/ 83104 w 83103"/>
                <a:gd name="connsiteY3" fmla="*/ 1916 h 130604"/>
                <a:gd name="connsiteX4" fmla="*/ 83104 w 83103"/>
                <a:gd name="connsiteY4" fmla="*/ 14012 h 130604"/>
                <a:gd name="connsiteX5" fmla="*/ 81170 w 83103"/>
                <a:gd name="connsiteY5" fmla="*/ 15934 h 130604"/>
                <a:gd name="connsiteX6" fmla="*/ 18555 w 83103"/>
                <a:gd name="connsiteY6" fmla="*/ 15934 h 130604"/>
                <a:gd name="connsiteX7" fmla="*/ 17400 w 83103"/>
                <a:gd name="connsiteY7" fmla="*/ 17089 h 130604"/>
                <a:gd name="connsiteX8" fmla="*/ 17400 w 83103"/>
                <a:gd name="connsiteY8" fmla="*/ 55511 h 130604"/>
                <a:gd name="connsiteX9" fmla="*/ 18555 w 83103"/>
                <a:gd name="connsiteY9" fmla="*/ 56653 h 130604"/>
                <a:gd name="connsiteX10" fmla="*/ 71704 w 83103"/>
                <a:gd name="connsiteY10" fmla="*/ 56653 h 130604"/>
                <a:gd name="connsiteX11" fmla="*/ 73645 w 83103"/>
                <a:gd name="connsiteY11" fmla="*/ 58575 h 130604"/>
                <a:gd name="connsiteX12" fmla="*/ 73645 w 83103"/>
                <a:gd name="connsiteY12" fmla="*/ 70685 h 130604"/>
                <a:gd name="connsiteX13" fmla="*/ 71704 w 83103"/>
                <a:gd name="connsiteY13" fmla="*/ 72607 h 130604"/>
                <a:gd name="connsiteX14" fmla="*/ 18555 w 83103"/>
                <a:gd name="connsiteY14" fmla="*/ 72607 h 130604"/>
                <a:gd name="connsiteX15" fmla="*/ 17400 w 83103"/>
                <a:gd name="connsiteY15" fmla="*/ 73755 h 130604"/>
                <a:gd name="connsiteX16" fmla="*/ 17400 w 83103"/>
                <a:gd name="connsiteY16" fmla="*/ 113515 h 130604"/>
                <a:gd name="connsiteX17" fmla="*/ 18555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7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41" y="0"/>
                  </a:cubicBezTo>
                  <a:lnTo>
                    <a:pt x="81170" y="0"/>
                  </a:lnTo>
                  <a:cubicBezTo>
                    <a:pt x="82463" y="0"/>
                    <a:pt x="83104" y="636"/>
                    <a:pt x="83104" y="1916"/>
                  </a:cubicBezTo>
                  <a:lnTo>
                    <a:pt x="83104" y="14012"/>
                  </a:lnTo>
                  <a:cubicBezTo>
                    <a:pt x="83104" y="15291"/>
                    <a:pt x="82463" y="15934"/>
                    <a:pt x="81170" y="15934"/>
                  </a:cubicBezTo>
                  <a:lnTo>
                    <a:pt x="18555" y="15934"/>
                  </a:lnTo>
                  <a:cubicBezTo>
                    <a:pt x="17776" y="15934"/>
                    <a:pt x="17400" y="16321"/>
                    <a:pt x="17400" y="17089"/>
                  </a:cubicBezTo>
                  <a:lnTo>
                    <a:pt x="17400" y="55511"/>
                  </a:lnTo>
                  <a:cubicBezTo>
                    <a:pt x="17400" y="56279"/>
                    <a:pt x="17776" y="56653"/>
                    <a:pt x="18555" y="56653"/>
                  </a:cubicBezTo>
                  <a:lnTo>
                    <a:pt x="71704" y="56653"/>
                  </a:lnTo>
                  <a:cubicBezTo>
                    <a:pt x="72985" y="56653"/>
                    <a:pt x="73645" y="57295"/>
                    <a:pt x="73645" y="58575"/>
                  </a:cubicBezTo>
                  <a:lnTo>
                    <a:pt x="73645" y="70685"/>
                  </a:lnTo>
                  <a:cubicBezTo>
                    <a:pt x="73645" y="71970"/>
                    <a:pt x="72985" y="72607"/>
                    <a:pt x="71704" y="72607"/>
                  </a:cubicBezTo>
                  <a:lnTo>
                    <a:pt x="18555" y="72607"/>
                  </a:lnTo>
                  <a:cubicBezTo>
                    <a:pt x="17776" y="72607"/>
                    <a:pt x="17400" y="72987"/>
                    <a:pt x="17400" y="73755"/>
                  </a:cubicBezTo>
                  <a:lnTo>
                    <a:pt x="17400" y="113515"/>
                  </a:lnTo>
                  <a:cubicBezTo>
                    <a:pt x="17400" y="114283"/>
                    <a:pt x="17776" y="114670"/>
                    <a:pt x="18555" y="114670"/>
                  </a:cubicBezTo>
                  <a:lnTo>
                    <a:pt x="81170" y="114670"/>
                  </a:lnTo>
                  <a:cubicBezTo>
                    <a:pt x="82463" y="114670"/>
                    <a:pt x="83104" y="115306"/>
                    <a:pt x="83104" y="116592"/>
                  </a:cubicBezTo>
                  <a:lnTo>
                    <a:pt x="83104" y="128682"/>
                  </a:lnTo>
                  <a:cubicBezTo>
                    <a:pt x="83104" y="129961"/>
                    <a:pt x="82463" y="130604"/>
                    <a:pt x="81170" y="130604"/>
                  </a:cubicBezTo>
                  <a:lnTo>
                    <a:pt x="1947"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22" name="Freeform: Shape 21">
              <a:extLst>
                <a:ext uri="{FF2B5EF4-FFF2-40B4-BE49-F238E27FC236}">
                  <a16:creationId xmlns:a16="http://schemas.microsoft.com/office/drawing/2014/main" id="{CA03DA32-51D9-4A49-A811-6C44F4EC96FF}"/>
                </a:ext>
              </a:extLst>
            </p:cNvPr>
            <p:cNvSpPr/>
            <p:nvPr/>
          </p:nvSpPr>
          <p:spPr>
            <a:xfrm>
              <a:off x="1811074" y="595189"/>
              <a:ext cx="95486" cy="130617"/>
            </a:xfrm>
            <a:custGeom>
              <a:avLst/>
              <a:gdLst>
                <a:gd name="connsiteX0" fmla="*/ 40991 w 95486"/>
                <a:gd name="connsiteY0" fmla="*/ 130617 h 130617"/>
                <a:gd name="connsiteX1" fmla="*/ 39044 w 95486"/>
                <a:gd name="connsiteY1" fmla="*/ 128689 h 130617"/>
                <a:gd name="connsiteX2" fmla="*/ 39044 w 95486"/>
                <a:gd name="connsiteY2" fmla="*/ 17102 h 130617"/>
                <a:gd name="connsiteX3" fmla="*/ 37882 w 95486"/>
                <a:gd name="connsiteY3" fmla="*/ 15941 h 130617"/>
                <a:gd name="connsiteX4" fmla="*/ 1927 w 95486"/>
                <a:gd name="connsiteY4" fmla="*/ 15941 h 130617"/>
                <a:gd name="connsiteX5" fmla="*/ 0 w 95486"/>
                <a:gd name="connsiteY5" fmla="*/ 14025 h 130617"/>
                <a:gd name="connsiteX6" fmla="*/ 0 w 95486"/>
                <a:gd name="connsiteY6" fmla="*/ 1922 h 130617"/>
                <a:gd name="connsiteX7" fmla="*/ 1927 w 95486"/>
                <a:gd name="connsiteY7" fmla="*/ 0 h 130617"/>
                <a:gd name="connsiteX8" fmla="*/ 93540 w 95486"/>
                <a:gd name="connsiteY8" fmla="*/ 0 h 130617"/>
                <a:gd name="connsiteX9" fmla="*/ 95487 w 95486"/>
                <a:gd name="connsiteY9" fmla="*/ 1922 h 130617"/>
                <a:gd name="connsiteX10" fmla="*/ 95487 w 95486"/>
                <a:gd name="connsiteY10" fmla="*/ 14025 h 130617"/>
                <a:gd name="connsiteX11" fmla="*/ 93540 w 95486"/>
                <a:gd name="connsiteY11" fmla="*/ 15941 h 130617"/>
                <a:gd name="connsiteX12" fmla="*/ 57598 w 95486"/>
                <a:gd name="connsiteY12" fmla="*/ 15941 h 130617"/>
                <a:gd name="connsiteX13" fmla="*/ 56450 w 95486"/>
                <a:gd name="connsiteY13" fmla="*/ 17102 h 130617"/>
                <a:gd name="connsiteX14" fmla="*/ 56450 w 95486"/>
                <a:gd name="connsiteY14" fmla="*/ 128689 h 130617"/>
                <a:gd name="connsiteX15" fmla="*/ 54476 w 95486"/>
                <a:gd name="connsiteY15" fmla="*/ 130617 h 130617"/>
                <a:gd name="connsiteX16" fmla="*/ 40991 w 95486"/>
                <a:gd name="connsiteY16" fmla="*/ 130617 h 130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486" h="130617">
                  <a:moveTo>
                    <a:pt x="40991" y="130617"/>
                  </a:moveTo>
                  <a:cubicBezTo>
                    <a:pt x="39697" y="130617"/>
                    <a:pt x="39044" y="129968"/>
                    <a:pt x="39044" y="128689"/>
                  </a:cubicBezTo>
                  <a:lnTo>
                    <a:pt x="39044" y="17102"/>
                  </a:lnTo>
                  <a:cubicBezTo>
                    <a:pt x="39044" y="16335"/>
                    <a:pt x="38667" y="15941"/>
                    <a:pt x="37882" y="15941"/>
                  </a:cubicBezTo>
                  <a:lnTo>
                    <a:pt x="1927" y="15941"/>
                  </a:lnTo>
                  <a:cubicBezTo>
                    <a:pt x="640" y="15941"/>
                    <a:pt x="0" y="15298"/>
                    <a:pt x="0" y="14025"/>
                  </a:cubicBezTo>
                  <a:lnTo>
                    <a:pt x="0" y="1922"/>
                  </a:lnTo>
                  <a:cubicBezTo>
                    <a:pt x="0" y="643"/>
                    <a:pt x="640" y="0"/>
                    <a:pt x="1927" y="0"/>
                  </a:cubicBezTo>
                  <a:lnTo>
                    <a:pt x="93540" y="0"/>
                  </a:lnTo>
                  <a:cubicBezTo>
                    <a:pt x="94833" y="0"/>
                    <a:pt x="95487" y="643"/>
                    <a:pt x="95487" y="1922"/>
                  </a:cubicBezTo>
                  <a:lnTo>
                    <a:pt x="95487" y="14025"/>
                  </a:lnTo>
                  <a:cubicBezTo>
                    <a:pt x="95487" y="15298"/>
                    <a:pt x="94833" y="15941"/>
                    <a:pt x="93540" y="15941"/>
                  </a:cubicBezTo>
                  <a:lnTo>
                    <a:pt x="57598" y="15941"/>
                  </a:lnTo>
                  <a:cubicBezTo>
                    <a:pt x="56826" y="15941"/>
                    <a:pt x="56450" y="16335"/>
                    <a:pt x="56450" y="17102"/>
                  </a:cubicBezTo>
                  <a:lnTo>
                    <a:pt x="56450" y="128689"/>
                  </a:lnTo>
                  <a:cubicBezTo>
                    <a:pt x="56450" y="129968"/>
                    <a:pt x="55790" y="130617"/>
                    <a:pt x="54476" y="130617"/>
                  </a:cubicBezTo>
                  <a:lnTo>
                    <a:pt x="40991" y="130617"/>
                  </a:lnTo>
                  <a:close/>
                </a:path>
              </a:pathLst>
            </a:custGeom>
            <a:solidFill>
              <a:srgbClr val="FFFFFF"/>
            </a:solidFill>
            <a:ln w="7" cap="flat">
              <a:noFill/>
              <a:prstDash val="solid"/>
              <a:miter/>
            </a:ln>
          </p:spPr>
          <p:txBody>
            <a:bodyPr rtlCol="0" anchor="ctr"/>
            <a:lstStyle/>
            <a:p>
              <a:endParaRPr lang="de-DE"/>
            </a:p>
          </p:txBody>
        </p:sp>
        <p:sp>
          <p:nvSpPr>
            <p:cNvPr id="24" name="Freeform: Shape 23">
              <a:extLst>
                <a:ext uri="{FF2B5EF4-FFF2-40B4-BE49-F238E27FC236}">
                  <a16:creationId xmlns:a16="http://schemas.microsoft.com/office/drawing/2014/main" id="{843100FD-9AC6-4594-B9E7-9DB0601EBEC4}"/>
                </a:ext>
              </a:extLst>
            </p:cNvPr>
            <p:cNvSpPr/>
            <p:nvPr/>
          </p:nvSpPr>
          <p:spPr>
            <a:xfrm>
              <a:off x="1928773" y="595196"/>
              <a:ext cx="93929" cy="130604"/>
            </a:xfrm>
            <a:custGeom>
              <a:avLst/>
              <a:gdLst>
                <a:gd name="connsiteX0" fmla="*/ 0 w 93929"/>
                <a:gd name="connsiteY0" fmla="*/ 1916 h 130604"/>
                <a:gd name="connsiteX1" fmla="*/ 1947 w 93929"/>
                <a:gd name="connsiteY1" fmla="*/ 0 h 130604"/>
                <a:gd name="connsiteX2" fmla="*/ 15439 w 93929"/>
                <a:gd name="connsiteY2" fmla="*/ 0 h 130604"/>
                <a:gd name="connsiteX3" fmla="*/ 17406 w 93929"/>
                <a:gd name="connsiteY3" fmla="*/ 1916 h 130604"/>
                <a:gd name="connsiteX4" fmla="*/ 17406 w 93929"/>
                <a:gd name="connsiteY4" fmla="*/ 55511 h 130604"/>
                <a:gd name="connsiteX5" fmla="*/ 18548 w 93929"/>
                <a:gd name="connsiteY5" fmla="*/ 56653 h 130604"/>
                <a:gd name="connsiteX6" fmla="*/ 75381 w 93929"/>
                <a:gd name="connsiteY6" fmla="*/ 56653 h 130604"/>
                <a:gd name="connsiteX7" fmla="*/ 76536 w 93929"/>
                <a:gd name="connsiteY7" fmla="*/ 55511 h 130604"/>
                <a:gd name="connsiteX8" fmla="*/ 76536 w 93929"/>
                <a:gd name="connsiteY8" fmla="*/ 1916 h 130604"/>
                <a:gd name="connsiteX9" fmla="*/ 78496 w 93929"/>
                <a:gd name="connsiteY9" fmla="*/ 0 h 130604"/>
                <a:gd name="connsiteX10" fmla="*/ 91982 w 93929"/>
                <a:gd name="connsiteY10" fmla="*/ 0 h 130604"/>
                <a:gd name="connsiteX11" fmla="*/ 93929 w 93929"/>
                <a:gd name="connsiteY11" fmla="*/ 1916 h 130604"/>
                <a:gd name="connsiteX12" fmla="*/ 93929 w 93929"/>
                <a:gd name="connsiteY12" fmla="*/ 128682 h 130604"/>
                <a:gd name="connsiteX13" fmla="*/ 91982 w 93929"/>
                <a:gd name="connsiteY13" fmla="*/ 130604 h 130604"/>
                <a:gd name="connsiteX14" fmla="*/ 78496 w 93929"/>
                <a:gd name="connsiteY14" fmla="*/ 130604 h 130604"/>
                <a:gd name="connsiteX15" fmla="*/ 76536 w 93929"/>
                <a:gd name="connsiteY15" fmla="*/ 128682 h 130604"/>
                <a:gd name="connsiteX16" fmla="*/ 76536 w 93929"/>
                <a:gd name="connsiteY16" fmla="*/ 73755 h 130604"/>
                <a:gd name="connsiteX17" fmla="*/ 75381 w 93929"/>
                <a:gd name="connsiteY17" fmla="*/ 72607 h 130604"/>
                <a:gd name="connsiteX18" fmla="*/ 18548 w 93929"/>
                <a:gd name="connsiteY18" fmla="*/ 72607 h 130604"/>
                <a:gd name="connsiteX19" fmla="*/ 17406 w 93929"/>
                <a:gd name="connsiteY19" fmla="*/ 73755 h 130604"/>
                <a:gd name="connsiteX20" fmla="*/ 17406 w 93929"/>
                <a:gd name="connsiteY20" fmla="*/ 128682 h 130604"/>
                <a:gd name="connsiteX21" fmla="*/ 15439 w 93929"/>
                <a:gd name="connsiteY21" fmla="*/ 130604 h 130604"/>
                <a:gd name="connsiteX22" fmla="*/ 1947 w 93929"/>
                <a:gd name="connsiteY22" fmla="*/ 130604 h 130604"/>
                <a:gd name="connsiteX23" fmla="*/ 0 w 93929"/>
                <a:gd name="connsiteY23" fmla="*/ 128682 h 130604"/>
                <a:gd name="connsiteX24" fmla="*/ 0 w 93929"/>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3929" h="130604">
                  <a:moveTo>
                    <a:pt x="0" y="1916"/>
                  </a:moveTo>
                  <a:cubicBezTo>
                    <a:pt x="0" y="636"/>
                    <a:pt x="653" y="0"/>
                    <a:pt x="1947" y="0"/>
                  </a:cubicBezTo>
                  <a:lnTo>
                    <a:pt x="15439" y="0"/>
                  </a:lnTo>
                  <a:cubicBezTo>
                    <a:pt x="16746" y="0"/>
                    <a:pt x="17406" y="636"/>
                    <a:pt x="17406" y="1916"/>
                  </a:cubicBezTo>
                  <a:lnTo>
                    <a:pt x="17406" y="55511"/>
                  </a:lnTo>
                  <a:cubicBezTo>
                    <a:pt x="17406" y="56279"/>
                    <a:pt x="17776" y="56653"/>
                    <a:pt x="18548" y="56653"/>
                  </a:cubicBezTo>
                  <a:lnTo>
                    <a:pt x="75381" y="56653"/>
                  </a:lnTo>
                  <a:cubicBezTo>
                    <a:pt x="76160" y="56653"/>
                    <a:pt x="76536" y="56279"/>
                    <a:pt x="76536" y="55511"/>
                  </a:cubicBezTo>
                  <a:lnTo>
                    <a:pt x="76536" y="1916"/>
                  </a:lnTo>
                  <a:cubicBezTo>
                    <a:pt x="76536" y="636"/>
                    <a:pt x="77189" y="0"/>
                    <a:pt x="78496" y="0"/>
                  </a:cubicBezTo>
                  <a:lnTo>
                    <a:pt x="91982" y="0"/>
                  </a:lnTo>
                  <a:cubicBezTo>
                    <a:pt x="93276" y="0"/>
                    <a:pt x="93929" y="636"/>
                    <a:pt x="93929" y="1916"/>
                  </a:cubicBezTo>
                  <a:lnTo>
                    <a:pt x="93929" y="128682"/>
                  </a:lnTo>
                  <a:cubicBezTo>
                    <a:pt x="93929" y="129961"/>
                    <a:pt x="93276" y="130604"/>
                    <a:pt x="91982" y="130604"/>
                  </a:cubicBezTo>
                  <a:lnTo>
                    <a:pt x="78496" y="130604"/>
                  </a:lnTo>
                  <a:cubicBezTo>
                    <a:pt x="77189" y="130604"/>
                    <a:pt x="76536" y="129961"/>
                    <a:pt x="76536" y="128682"/>
                  </a:cubicBezTo>
                  <a:lnTo>
                    <a:pt x="76536" y="73755"/>
                  </a:lnTo>
                  <a:cubicBezTo>
                    <a:pt x="76536" y="72987"/>
                    <a:pt x="76160" y="72607"/>
                    <a:pt x="75381" y="72607"/>
                  </a:cubicBezTo>
                  <a:lnTo>
                    <a:pt x="18548" y="72607"/>
                  </a:lnTo>
                  <a:cubicBezTo>
                    <a:pt x="17776" y="72607"/>
                    <a:pt x="17406" y="72987"/>
                    <a:pt x="17406" y="73755"/>
                  </a:cubicBezTo>
                  <a:lnTo>
                    <a:pt x="17406" y="128682"/>
                  </a:lnTo>
                  <a:cubicBezTo>
                    <a:pt x="17406" y="129961"/>
                    <a:pt x="16746" y="130604"/>
                    <a:pt x="15439" y="130604"/>
                  </a:cubicBezTo>
                  <a:lnTo>
                    <a:pt x="1947"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25" name="Freeform: Shape 24">
              <a:extLst>
                <a:ext uri="{FF2B5EF4-FFF2-40B4-BE49-F238E27FC236}">
                  <a16:creationId xmlns:a16="http://schemas.microsoft.com/office/drawing/2014/main" id="{BFF7967E-492A-4C36-8CAD-0ABA555D0CC6}"/>
                </a:ext>
              </a:extLst>
            </p:cNvPr>
            <p:cNvSpPr/>
            <p:nvPr/>
          </p:nvSpPr>
          <p:spPr>
            <a:xfrm>
              <a:off x="1425893" y="801424"/>
              <a:ext cx="92582" cy="130604"/>
            </a:xfrm>
            <a:custGeom>
              <a:avLst/>
              <a:gdLst>
                <a:gd name="connsiteX0" fmla="*/ 0 w 92582"/>
                <a:gd name="connsiteY0" fmla="*/ 1916 h 130604"/>
                <a:gd name="connsiteX1" fmla="*/ 1941 w 92582"/>
                <a:gd name="connsiteY1" fmla="*/ 0 h 130604"/>
                <a:gd name="connsiteX2" fmla="*/ 46186 w 92582"/>
                <a:gd name="connsiteY2" fmla="*/ 0 h 130604"/>
                <a:gd name="connsiteX3" fmla="*/ 89104 w 92582"/>
                <a:gd name="connsiteY3" fmla="*/ 27841 h 130604"/>
                <a:gd name="connsiteX4" fmla="*/ 90549 w 92582"/>
                <a:gd name="connsiteY4" fmla="*/ 33410 h 130604"/>
                <a:gd name="connsiteX5" fmla="*/ 91705 w 92582"/>
                <a:gd name="connsiteY5" fmla="*/ 40515 h 130604"/>
                <a:gd name="connsiteX6" fmla="*/ 92378 w 92582"/>
                <a:gd name="connsiteY6" fmla="*/ 50703 h 130604"/>
                <a:gd name="connsiteX7" fmla="*/ 92582 w 92582"/>
                <a:gd name="connsiteY7" fmla="*/ 65305 h 130604"/>
                <a:gd name="connsiteX8" fmla="*/ 92378 w 92582"/>
                <a:gd name="connsiteY8" fmla="*/ 79908 h 130604"/>
                <a:gd name="connsiteX9" fmla="*/ 91705 w 92582"/>
                <a:gd name="connsiteY9" fmla="*/ 90083 h 130604"/>
                <a:gd name="connsiteX10" fmla="*/ 90549 w 92582"/>
                <a:gd name="connsiteY10" fmla="*/ 97194 h 130604"/>
                <a:gd name="connsiteX11" fmla="*/ 89104 w 92582"/>
                <a:gd name="connsiteY11" fmla="*/ 102763 h 130604"/>
                <a:gd name="connsiteX12" fmla="*/ 46186 w 92582"/>
                <a:gd name="connsiteY12" fmla="*/ 130604 h 130604"/>
                <a:gd name="connsiteX13" fmla="*/ 1941 w 92582"/>
                <a:gd name="connsiteY13" fmla="*/ 130604 h 130604"/>
                <a:gd name="connsiteX14" fmla="*/ 0 w 92582"/>
                <a:gd name="connsiteY14" fmla="*/ 128682 h 130604"/>
                <a:gd name="connsiteX15" fmla="*/ 0 w 92582"/>
                <a:gd name="connsiteY15" fmla="*/ 1916 h 130604"/>
                <a:gd name="connsiteX16" fmla="*/ 17380 w 92582"/>
                <a:gd name="connsiteY16" fmla="*/ 113509 h 130604"/>
                <a:gd name="connsiteX17" fmla="*/ 18548 w 92582"/>
                <a:gd name="connsiteY17" fmla="*/ 114670 h 130604"/>
                <a:gd name="connsiteX18" fmla="*/ 42634 w 92582"/>
                <a:gd name="connsiteY18" fmla="*/ 114670 h 130604"/>
                <a:gd name="connsiteX19" fmla="*/ 61895 w 92582"/>
                <a:gd name="connsiteY19" fmla="*/ 110530 h 130604"/>
                <a:gd name="connsiteX20" fmla="*/ 72490 w 92582"/>
                <a:gd name="connsiteY20" fmla="*/ 96813 h 130604"/>
                <a:gd name="connsiteX21" fmla="*/ 73638 w 92582"/>
                <a:gd name="connsiteY21" fmla="*/ 92772 h 130604"/>
                <a:gd name="connsiteX22" fmla="*/ 74510 w 92582"/>
                <a:gd name="connsiteY22" fmla="*/ 86914 h 130604"/>
                <a:gd name="connsiteX23" fmla="*/ 74991 w 92582"/>
                <a:gd name="connsiteY23" fmla="*/ 78183 h 130604"/>
                <a:gd name="connsiteX24" fmla="*/ 75183 w 92582"/>
                <a:gd name="connsiteY24" fmla="*/ 65305 h 130604"/>
                <a:gd name="connsiteX25" fmla="*/ 74991 w 92582"/>
                <a:gd name="connsiteY25" fmla="*/ 52428 h 130604"/>
                <a:gd name="connsiteX26" fmla="*/ 74510 w 92582"/>
                <a:gd name="connsiteY26" fmla="*/ 43690 h 130604"/>
                <a:gd name="connsiteX27" fmla="*/ 73638 w 92582"/>
                <a:gd name="connsiteY27" fmla="*/ 37832 h 130604"/>
                <a:gd name="connsiteX28" fmla="*/ 72490 w 92582"/>
                <a:gd name="connsiteY28" fmla="*/ 33791 h 130604"/>
                <a:gd name="connsiteX29" fmla="*/ 61895 w 92582"/>
                <a:gd name="connsiteY29" fmla="*/ 20067 h 130604"/>
                <a:gd name="connsiteX30" fmla="*/ 42634 w 92582"/>
                <a:gd name="connsiteY30" fmla="*/ 15934 h 130604"/>
                <a:gd name="connsiteX31" fmla="*/ 18548 w 92582"/>
                <a:gd name="connsiteY31" fmla="*/ 15934 h 130604"/>
                <a:gd name="connsiteX32" fmla="*/ 17380 w 92582"/>
                <a:gd name="connsiteY32" fmla="*/ 17089 h 130604"/>
                <a:gd name="connsiteX33" fmla="*/ 17380 w 92582"/>
                <a:gd name="connsiteY33" fmla="*/ 1135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2582" h="130604">
                  <a:moveTo>
                    <a:pt x="0" y="1916"/>
                  </a:moveTo>
                  <a:cubicBezTo>
                    <a:pt x="0" y="636"/>
                    <a:pt x="647" y="0"/>
                    <a:pt x="1941" y="0"/>
                  </a:cubicBezTo>
                  <a:lnTo>
                    <a:pt x="46186" y="0"/>
                  </a:lnTo>
                  <a:cubicBezTo>
                    <a:pt x="68734" y="0"/>
                    <a:pt x="83044" y="9269"/>
                    <a:pt x="89104" y="27841"/>
                  </a:cubicBezTo>
                  <a:cubicBezTo>
                    <a:pt x="89606" y="29645"/>
                    <a:pt x="90094" y="31488"/>
                    <a:pt x="90549" y="33410"/>
                  </a:cubicBezTo>
                  <a:cubicBezTo>
                    <a:pt x="91005" y="35332"/>
                    <a:pt x="91388" y="37707"/>
                    <a:pt x="91705" y="40515"/>
                  </a:cubicBezTo>
                  <a:cubicBezTo>
                    <a:pt x="92028" y="43342"/>
                    <a:pt x="92252" y="46734"/>
                    <a:pt x="92378" y="50703"/>
                  </a:cubicBezTo>
                  <a:cubicBezTo>
                    <a:pt x="92516" y="54665"/>
                    <a:pt x="92582" y="59539"/>
                    <a:pt x="92582" y="65305"/>
                  </a:cubicBezTo>
                  <a:cubicBezTo>
                    <a:pt x="92582" y="71072"/>
                    <a:pt x="92516" y="75939"/>
                    <a:pt x="92378" y="79908"/>
                  </a:cubicBezTo>
                  <a:cubicBezTo>
                    <a:pt x="92252" y="83870"/>
                    <a:pt x="92028" y="87268"/>
                    <a:pt x="91705" y="90083"/>
                  </a:cubicBezTo>
                  <a:cubicBezTo>
                    <a:pt x="91388" y="92897"/>
                    <a:pt x="91005" y="95265"/>
                    <a:pt x="90549" y="97194"/>
                  </a:cubicBezTo>
                  <a:cubicBezTo>
                    <a:pt x="90094" y="99116"/>
                    <a:pt x="89606" y="100959"/>
                    <a:pt x="89104" y="102763"/>
                  </a:cubicBezTo>
                  <a:cubicBezTo>
                    <a:pt x="83044" y="121335"/>
                    <a:pt x="68734" y="130604"/>
                    <a:pt x="46186" y="130604"/>
                  </a:cubicBezTo>
                  <a:lnTo>
                    <a:pt x="1941" y="130604"/>
                  </a:lnTo>
                  <a:cubicBezTo>
                    <a:pt x="647" y="130604"/>
                    <a:pt x="0" y="129961"/>
                    <a:pt x="0" y="128682"/>
                  </a:cubicBezTo>
                  <a:lnTo>
                    <a:pt x="0" y="1916"/>
                  </a:lnTo>
                  <a:close/>
                  <a:moveTo>
                    <a:pt x="17380" y="113509"/>
                  </a:moveTo>
                  <a:cubicBezTo>
                    <a:pt x="17380" y="114276"/>
                    <a:pt x="17776" y="114670"/>
                    <a:pt x="18548" y="114670"/>
                  </a:cubicBezTo>
                  <a:lnTo>
                    <a:pt x="42634" y="114670"/>
                  </a:lnTo>
                  <a:cubicBezTo>
                    <a:pt x="50595" y="114670"/>
                    <a:pt x="57024" y="113292"/>
                    <a:pt x="61895" y="110530"/>
                  </a:cubicBezTo>
                  <a:cubicBezTo>
                    <a:pt x="66773" y="107775"/>
                    <a:pt x="70298" y="103203"/>
                    <a:pt x="72490" y="96813"/>
                  </a:cubicBezTo>
                  <a:cubicBezTo>
                    <a:pt x="72879" y="95652"/>
                    <a:pt x="73255" y="94307"/>
                    <a:pt x="73638" y="92772"/>
                  </a:cubicBezTo>
                  <a:cubicBezTo>
                    <a:pt x="74028" y="91237"/>
                    <a:pt x="74312" y="89282"/>
                    <a:pt x="74510" y="86914"/>
                  </a:cubicBezTo>
                  <a:cubicBezTo>
                    <a:pt x="74701" y="84546"/>
                    <a:pt x="74866" y="81633"/>
                    <a:pt x="74991" y="78183"/>
                  </a:cubicBezTo>
                  <a:cubicBezTo>
                    <a:pt x="75117" y="74719"/>
                    <a:pt x="75183" y="70429"/>
                    <a:pt x="75183" y="65305"/>
                  </a:cubicBezTo>
                  <a:cubicBezTo>
                    <a:pt x="75183" y="60175"/>
                    <a:pt x="75117" y="55892"/>
                    <a:pt x="74991" y="52428"/>
                  </a:cubicBezTo>
                  <a:cubicBezTo>
                    <a:pt x="74866" y="48977"/>
                    <a:pt x="74701" y="46065"/>
                    <a:pt x="74510" y="43690"/>
                  </a:cubicBezTo>
                  <a:cubicBezTo>
                    <a:pt x="74312" y="41315"/>
                    <a:pt x="74028" y="39367"/>
                    <a:pt x="73638" y="37832"/>
                  </a:cubicBezTo>
                  <a:cubicBezTo>
                    <a:pt x="73255" y="36297"/>
                    <a:pt x="72879" y="34952"/>
                    <a:pt x="72490" y="33791"/>
                  </a:cubicBezTo>
                  <a:cubicBezTo>
                    <a:pt x="70298" y="27401"/>
                    <a:pt x="66773" y="22822"/>
                    <a:pt x="61895" y="20067"/>
                  </a:cubicBezTo>
                  <a:cubicBezTo>
                    <a:pt x="57024" y="17312"/>
                    <a:pt x="50595" y="15934"/>
                    <a:pt x="42634" y="15934"/>
                  </a:cubicBezTo>
                  <a:lnTo>
                    <a:pt x="18548" y="15934"/>
                  </a:lnTo>
                  <a:cubicBezTo>
                    <a:pt x="17776" y="15934"/>
                    <a:pt x="17380" y="16321"/>
                    <a:pt x="17380" y="17089"/>
                  </a:cubicBezTo>
                  <a:lnTo>
                    <a:pt x="17380" y="113509"/>
                  </a:lnTo>
                  <a:close/>
                </a:path>
              </a:pathLst>
            </a:custGeom>
            <a:solidFill>
              <a:srgbClr val="FFFFFF"/>
            </a:solidFill>
            <a:ln w="7" cap="flat">
              <a:noFill/>
              <a:prstDash val="solid"/>
              <a:miter/>
            </a:ln>
          </p:spPr>
          <p:txBody>
            <a:bodyPr rtlCol="0" anchor="ctr"/>
            <a:lstStyle/>
            <a:p>
              <a:endParaRPr lang="de-DE"/>
            </a:p>
          </p:txBody>
        </p:sp>
        <p:sp>
          <p:nvSpPr>
            <p:cNvPr id="27" name="Freeform: Shape 26">
              <a:extLst>
                <a:ext uri="{FF2B5EF4-FFF2-40B4-BE49-F238E27FC236}">
                  <a16:creationId xmlns:a16="http://schemas.microsoft.com/office/drawing/2014/main" id="{612FABC4-E3A6-4F46-8182-E500D44D90A0}"/>
                </a:ext>
              </a:extLst>
            </p:cNvPr>
            <p:cNvSpPr/>
            <p:nvPr/>
          </p:nvSpPr>
          <p:spPr>
            <a:xfrm>
              <a:off x="1533422" y="801424"/>
              <a:ext cx="108302" cy="130604"/>
            </a:xfrm>
            <a:custGeom>
              <a:avLst/>
              <a:gdLst>
                <a:gd name="connsiteX0" fmla="*/ 45740 w 108302"/>
                <a:gd name="connsiteY0" fmla="*/ 1916 h 130604"/>
                <a:gd name="connsiteX1" fmla="*/ 48057 w 108302"/>
                <a:gd name="connsiteY1" fmla="*/ 0 h 130604"/>
                <a:gd name="connsiteX2" fmla="*/ 60632 w 108302"/>
                <a:gd name="connsiteY2" fmla="*/ 0 h 130604"/>
                <a:gd name="connsiteX3" fmla="*/ 63140 w 108302"/>
                <a:gd name="connsiteY3" fmla="*/ 1916 h 130604"/>
                <a:gd name="connsiteX4" fmla="*/ 108171 w 108302"/>
                <a:gd name="connsiteY4" fmla="*/ 128682 h 130604"/>
                <a:gd name="connsiteX5" fmla="*/ 106817 w 108302"/>
                <a:gd name="connsiteY5" fmla="*/ 130604 h 130604"/>
                <a:gd name="connsiteX6" fmla="*/ 93292 w 108302"/>
                <a:gd name="connsiteY6" fmla="*/ 130604 h 130604"/>
                <a:gd name="connsiteX7" fmla="*/ 90784 w 108302"/>
                <a:gd name="connsiteY7" fmla="*/ 128682 h 130604"/>
                <a:gd name="connsiteX8" fmla="*/ 80731 w 108302"/>
                <a:gd name="connsiteY8" fmla="*/ 100257 h 130604"/>
                <a:gd name="connsiteX9" fmla="*/ 27575 w 108302"/>
                <a:gd name="connsiteY9" fmla="*/ 100257 h 130604"/>
                <a:gd name="connsiteX10" fmla="*/ 17522 w 108302"/>
                <a:gd name="connsiteY10" fmla="*/ 128682 h 130604"/>
                <a:gd name="connsiteX11" fmla="*/ 15014 w 108302"/>
                <a:gd name="connsiteY11" fmla="*/ 130604 h 130604"/>
                <a:gd name="connsiteX12" fmla="*/ 1482 w 108302"/>
                <a:gd name="connsiteY12" fmla="*/ 130604 h 130604"/>
                <a:gd name="connsiteX13" fmla="*/ 136 w 108302"/>
                <a:gd name="connsiteY13" fmla="*/ 128682 h 130604"/>
                <a:gd name="connsiteX14" fmla="*/ 45740 w 108302"/>
                <a:gd name="connsiteY14" fmla="*/ 1916 h 130604"/>
                <a:gd name="connsiteX15" fmla="*/ 75127 w 108302"/>
                <a:gd name="connsiteY15" fmla="*/ 84513 h 130604"/>
                <a:gd name="connsiteX16" fmla="*/ 54440 w 108302"/>
                <a:gd name="connsiteY16" fmla="*/ 25164 h 130604"/>
                <a:gd name="connsiteX17" fmla="*/ 54051 w 108302"/>
                <a:gd name="connsiteY17" fmla="*/ 25164 h 130604"/>
                <a:gd name="connsiteX18" fmla="*/ 33179 w 108302"/>
                <a:gd name="connsiteY18" fmla="*/ 84513 h 130604"/>
                <a:gd name="connsiteX19" fmla="*/ 75127 w 108302"/>
                <a:gd name="connsiteY19" fmla="*/ 84513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302" h="130604">
                  <a:moveTo>
                    <a:pt x="45740" y="1916"/>
                  </a:moveTo>
                  <a:cubicBezTo>
                    <a:pt x="46117" y="636"/>
                    <a:pt x="46896" y="0"/>
                    <a:pt x="48057" y="0"/>
                  </a:cubicBezTo>
                  <a:lnTo>
                    <a:pt x="60632" y="0"/>
                  </a:lnTo>
                  <a:cubicBezTo>
                    <a:pt x="61906" y="0"/>
                    <a:pt x="62757" y="636"/>
                    <a:pt x="63140" y="1916"/>
                  </a:cubicBezTo>
                  <a:lnTo>
                    <a:pt x="108171" y="128682"/>
                  </a:lnTo>
                  <a:cubicBezTo>
                    <a:pt x="108553" y="129961"/>
                    <a:pt x="108105" y="130604"/>
                    <a:pt x="106817" y="130604"/>
                  </a:cubicBezTo>
                  <a:lnTo>
                    <a:pt x="93292" y="130604"/>
                  </a:lnTo>
                  <a:cubicBezTo>
                    <a:pt x="91999" y="130604"/>
                    <a:pt x="91160" y="129961"/>
                    <a:pt x="90784" y="128682"/>
                  </a:cubicBezTo>
                  <a:lnTo>
                    <a:pt x="80731" y="100257"/>
                  </a:lnTo>
                  <a:lnTo>
                    <a:pt x="27575" y="100257"/>
                  </a:lnTo>
                  <a:lnTo>
                    <a:pt x="17522" y="128682"/>
                  </a:lnTo>
                  <a:cubicBezTo>
                    <a:pt x="17007" y="129961"/>
                    <a:pt x="16169" y="130604"/>
                    <a:pt x="15014" y="130604"/>
                  </a:cubicBezTo>
                  <a:lnTo>
                    <a:pt x="1482" y="130604"/>
                  </a:lnTo>
                  <a:cubicBezTo>
                    <a:pt x="195" y="130604"/>
                    <a:pt x="-254" y="129961"/>
                    <a:pt x="136" y="128682"/>
                  </a:cubicBezTo>
                  <a:lnTo>
                    <a:pt x="45740" y="1916"/>
                  </a:lnTo>
                  <a:close/>
                  <a:moveTo>
                    <a:pt x="75127" y="84513"/>
                  </a:moveTo>
                  <a:lnTo>
                    <a:pt x="54440" y="25164"/>
                  </a:lnTo>
                  <a:lnTo>
                    <a:pt x="54051" y="25164"/>
                  </a:lnTo>
                  <a:lnTo>
                    <a:pt x="33179" y="84513"/>
                  </a:lnTo>
                  <a:lnTo>
                    <a:pt x="75127" y="84513"/>
                  </a:lnTo>
                  <a:close/>
                </a:path>
              </a:pathLst>
            </a:custGeom>
            <a:solidFill>
              <a:srgbClr val="FFFFFF"/>
            </a:solidFill>
            <a:ln w="7" cap="flat">
              <a:noFill/>
              <a:prstDash val="solid"/>
              <a:miter/>
            </a:ln>
          </p:spPr>
          <p:txBody>
            <a:bodyPr rtlCol="0" anchor="ctr"/>
            <a:lstStyle/>
            <a:p>
              <a:endParaRPr lang="de-DE"/>
            </a:p>
          </p:txBody>
        </p:sp>
        <p:sp>
          <p:nvSpPr>
            <p:cNvPr id="28" name="Freeform: Shape 27">
              <a:extLst>
                <a:ext uri="{FF2B5EF4-FFF2-40B4-BE49-F238E27FC236}">
                  <a16:creationId xmlns:a16="http://schemas.microsoft.com/office/drawing/2014/main" id="{56BB7F13-5FBC-4849-B029-6C49833D9BE0}"/>
                </a:ext>
              </a:extLst>
            </p:cNvPr>
            <p:cNvSpPr/>
            <p:nvPr/>
          </p:nvSpPr>
          <p:spPr>
            <a:xfrm>
              <a:off x="1664392" y="801424"/>
              <a:ext cx="90655" cy="130604"/>
            </a:xfrm>
            <a:custGeom>
              <a:avLst/>
              <a:gdLst>
                <a:gd name="connsiteX0" fmla="*/ 0 w 90655"/>
                <a:gd name="connsiteY0" fmla="*/ 1916 h 130604"/>
                <a:gd name="connsiteX1" fmla="*/ 1941 w 90655"/>
                <a:gd name="connsiteY1" fmla="*/ 0 h 130604"/>
                <a:gd name="connsiteX2" fmla="*/ 48522 w 90655"/>
                <a:gd name="connsiteY2" fmla="*/ 0 h 130604"/>
                <a:gd name="connsiteX3" fmla="*/ 78272 w 90655"/>
                <a:gd name="connsiteY3" fmla="*/ 9309 h 130604"/>
                <a:gd name="connsiteX4" fmla="*/ 88127 w 90655"/>
                <a:gd name="connsiteY4" fmla="*/ 34375 h 130604"/>
                <a:gd name="connsiteX5" fmla="*/ 83203 w 90655"/>
                <a:gd name="connsiteY5" fmla="*/ 52815 h 130604"/>
                <a:gd name="connsiteX6" fmla="*/ 70556 w 90655"/>
                <a:gd name="connsiteY6" fmla="*/ 62806 h 130604"/>
                <a:gd name="connsiteX7" fmla="*/ 70556 w 90655"/>
                <a:gd name="connsiteY7" fmla="*/ 63193 h 130604"/>
                <a:gd name="connsiteX8" fmla="*/ 77401 w 90655"/>
                <a:gd name="connsiteY8" fmla="*/ 66552 h 130604"/>
                <a:gd name="connsiteX9" fmla="*/ 83883 w 90655"/>
                <a:gd name="connsiteY9" fmla="*/ 72698 h 130604"/>
                <a:gd name="connsiteX10" fmla="*/ 88708 w 90655"/>
                <a:gd name="connsiteY10" fmla="*/ 81633 h 130604"/>
                <a:gd name="connsiteX11" fmla="*/ 90655 w 90655"/>
                <a:gd name="connsiteY11" fmla="*/ 93356 h 130604"/>
                <a:gd name="connsiteX12" fmla="*/ 79506 w 90655"/>
                <a:gd name="connsiteY12" fmla="*/ 121204 h 130604"/>
                <a:gd name="connsiteX13" fmla="*/ 47644 w 90655"/>
                <a:gd name="connsiteY13" fmla="*/ 130604 h 130604"/>
                <a:gd name="connsiteX14" fmla="*/ 1941 w 90655"/>
                <a:gd name="connsiteY14" fmla="*/ 130604 h 130604"/>
                <a:gd name="connsiteX15" fmla="*/ 0 w 90655"/>
                <a:gd name="connsiteY15" fmla="*/ 128682 h 130604"/>
                <a:gd name="connsiteX16" fmla="*/ 0 w 90655"/>
                <a:gd name="connsiteY16" fmla="*/ 1916 h 130604"/>
                <a:gd name="connsiteX17" fmla="*/ 48205 w 90655"/>
                <a:gd name="connsiteY17" fmla="*/ 56462 h 130604"/>
                <a:gd name="connsiteX18" fmla="*/ 65176 w 90655"/>
                <a:gd name="connsiteY18" fmla="*/ 50906 h 130604"/>
                <a:gd name="connsiteX19" fmla="*/ 71137 w 90655"/>
                <a:gd name="connsiteY19" fmla="*/ 36113 h 130604"/>
                <a:gd name="connsiteX20" fmla="*/ 65176 w 90655"/>
                <a:gd name="connsiteY20" fmla="*/ 21123 h 130604"/>
                <a:gd name="connsiteX21" fmla="*/ 48205 w 90655"/>
                <a:gd name="connsiteY21" fmla="*/ 15554 h 130604"/>
                <a:gd name="connsiteX22" fmla="*/ 18555 w 90655"/>
                <a:gd name="connsiteY22" fmla="*/ 15554 h 130604"/>
                <a:gd name="connsiteX23" fmla="*/ 17393 w 90655"/>
                <a:gd name="connsiteY23" fmla="*/ 16702 h 130604"/>
                <a:gd name="connsiteX24" fmla="*/ 17393 w 90655"/>
                <a:gd name="connsiteY24" fmla="*/ 55308 h 130604"/>
                <a:gd name="connsiteX25" fmla="*/ 18555 w 90655"/>
                <a:gd name="connsiteY25" fmla="*/ 56462 h 130604"/>
                <a:gd name="connsiteX26" fmla="*/ 48205 w 90655"/>
                <a:gd name="connsiteY26" fmla="*/ 56462 h 130604"/>
                <a:gd name="connsiteX27" fmla="*/ 17393 w 90655"/>
                <a:gd name="connsiteY27" fmla="*/ 113896 h 130604"/>
                <a:gd name="connsiteX28" fmla="*/ 18555 w 90655"/>
                <a:gd name="connsiteY28" fmla="*/ 115044 h 130604"/>
                <a:gd name="connsiteX29" fmla="*/ 49196 w 90655"/>
                <a:gd name="connsiteY29" fmla="*/ 115044 h 130604"/>
                <a:gd name="connsiteX30" fmla="*/ 67097 w 90655"/>
                <a:gd name="connsiteY30" fmla="*/ 109199 h 130604"/>
                <a:gd name="connsiteX31" fmla="*/ 73262 w 90655"/>
                <a:gd name="connsiteY31" fmla="*/ 93540 h 130604"/>
                <a:gd name="connsiteX32" fmla="*/ 67097 w 90655"/>
                <a:gd name="connsiteY32" fmla="*/ 77881 h 130604"/>
                <a:gd name="connsiteX33" fmla="*/ 49196 w 90655"/>
                <a:gd name="connsiteY33" fmla="*/ 72029 h 130604"/>
                <a:gd name="connsiteX34" fmla="*/ 18555 w 90655"/>
                <a:gd name="connsiteY34" fmla="*/ 72029 h 130604"/>
                <a:gd name="connsiteX35" fmla="*/ 17393 w 90655"/>
                <a:gd name="connsiteY35" fmla="*/ 73190 h 130604"/>
                <a:gd name="connsiteX36" fmla="*/ 17393 w 90655"/>
                <a:gd name="connsiteY36" fmla="*/ 11389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0655" h="130604">
                  <a:moveTo>
                    <a:pt x="0" y="1916"/>
                  </a:moveTo>
                  <a:cubicBezTo>
                    <a:pt x="0" y="636"/>
                    <a:pt x="647" y="0"/>
                    <a:pt x="1941" y="0"/>
                  </a:cubicBezTo>
                  <a:lnTo>
                    <a:pt x="48522" y="0"/>
                  </a:lnTo>
                  <a:cubicBezTo>
                    <a:pt x="61790" y="0"/>
                    <a:pt x="71704" y="3109"/>
                    <a:pt x="78272" y="9309"/>
                  </a:cubicBezTo>
                  <a:cubicBezTo>
                    <a:pt x="84853" y="15521"/>
                    <a:pt x="88127" y="23879"/>
                    <a:pt x="88127" y="34375"/>
                  </a:cubicBezTo>
                  <a:cubicBezTo>
                    <a:pt x="88127" y="42056"/>
                    <a:pt x="86483" y="48210"/>
                    <a:pt x="83203" y="52815"/>
                  </a:cubicBezTo>
                  <a:cubicBezTo>
                    <a:pt x="79929" y="57420"/>
                    <a:pt x="75691" y="60759"/>
                    <a:pt x="70556" y="62806"/>
                  </a:cubicBezTo>
                  <a:lnTo>
                    <a:pt x="70556" y="63193"/>
                  </a:lnTo>
                  <a:cubicBezTo>
                    <a:pt x="72747" y="63829"/>
                    <a:pt x="75018" y="64945"/>
                    <a:pt x="77401" y="66552"/>
                  </a:cubicBezTo>
                  <a:cubicBezTo>
                    <a:pt x="79784" y="68159"/>
                    <a:pt x="81949" y="70199"/>
                    <a:pt x="83883" y="72698"/>
                  </a:cubicBezTo>
                  <a:cubicBezTo>
                    <a:pt x="85803" y="75198"/>
                    <a:pt x="87414" y="78183"/>
                    <a:pt x="88708" y="81633"/>
                  </a:cubicBezTo>
                  <a:cubicBezTo>
                    <a:pt x="90002" y="85090"/>
                    <a:pt x="90655" y="88994"/>
                    <a:pt x="90655" y="93356"/>
                  </a:cubicBezTo>
                  <a:cubicBezTo>
                    <a:pt x="90655" y="105650"/>
                    <a:pt x="86939" y="114919"/>
                    <a:pt x="79506" y="121204"/>
                  </a:cubicBezTo>
                  <a:cubicBezTo>
                    <a:pt x="72080" y="127462"/>
                    <a:pt x="61473" y="130604"/>
                    <a:pt x="47644" y="130604"/>
                  </a:cubicBezTo>
                  <a:lnTo>
                    <a:pt x="1941" y="130604"/>
                  </a:lnTo>
                  <a:cubicBezTo>
                    <a:pt x="647" y="130604"/>
                    <a:pt x="0" y="129961"/>
                    <a:pt x="0" y="128682"/>
                  </a:cubicBezTo>
                  <a:lnTo>
                    <a:pt x="0" y="1916"/>
                  </a:lnTo>
                  <a:close/>
                  <a:moveTo>
                    <a:pt x="48205" y="56462"/>
                  </a:moveTo>
                  <a:cubicBezTo>
                    <a:pt x="55539" y="56462"/>
                    <a:pt x="61176" y="54606"/>
                    <a:pt x="65176" y="50906"/>
                  </a:cubicBezTo>
                  <a:cubicBezTo>
                    <a:pt x="69143" y="47193"/>
                    <a:pt x="71137" y="42253"/>
                    <a:pt x="71137" y="36113"/>
                  </a:cubicBezTo>
                  <a:cubicBezTo>
                    <a:pt x="71137" y="29829"/>
                    <a:pt x="69143" y="24830"/>
                    <a:pt x="65176" y="21123"/>
                  </a:cubicBezTo>
                  <a:cubicBezTo>
                    <a:pt x="61176" y="17404"/>
                    <a:pt x="55539" y="15554"/>
                    <a:pt x="48205" y="15554"/>
                  </a:cubicBezTo>
                  <a:lnTo>
                    <a:pt x="18555" y="15554"/>
                  </a:lnTo>
                  <a:cubicBezTo>
                    <a:pt x="17782" y="15554"/>
                    <a:pt x="17393" y="15934"/>
                    <a:pt x="17393" y="16702"/>
                  </a:cubicBezTo>
                  <a:lnTo>
                    <a:pt x="17393" y="55308"/>
                  </a:lnTo>
                  <a:cubicBezTo>
                    <a:pt x="17393" y="56075"/>
                    <a:pt x="17782" y="56462"/>
                    <a:pt x="18555" y="56462"/>
                  </a:cubicBezTo>
                  <a:lnTo>
                    <a:pt x="48205" y="56462"/>
                  </a:lnTo>
                  <a:close/>
                  <a:moveTo>
                    <a:pt x="17393" y="113896"/>
                  </a:moveTo>
                  <a:cubicBezTo>
                    <a:pt x="17393" y="114670"/>
                    <a:pt x="17782" y="115044"/>
                    <a:pt x="18555" y="115044"/>
                  </a:cubicBezTo>
                  <a:lnTo>
                    <a:pt x="49196" y="115044"/>
                  </a:lnTo>
                  <a:cubicBezTo>
                    <a:pt x="57024" y="115044"/>
                    <a:pt x="62985" y="113089"/>
                    <a:pt x="67097" y="109199"/>
                  </a:cubicBezTo>
                  <a:cubicBezTo>
                    <a:pt x="71209" y="105289"/>
                    <a:pt x="73262" y="100067"/>
                    <a:pt x="73262" y="93540"/>
                  </a:cubicBezTo>
                  <a:cubicBezTo>
                    <a:pt x="73262" y="86999"/>
                    <a:pt x="71209" y="81791"/>
                    <a:pt x="67097" y="77881"/>
                  </a:cubicBezTo>
                  <a:cubicBezTo>
                    <a:pt x="62985" y="73984"/>
                    <a:pt x="57024" y="72029"/>
                    <a:pt x="49196" y="72029"/>
                  </a:cubicBezTo>
                  <a:lnTo>
                    <a:pt x="18555" y="72029"/>
                  </a:lnTo>
                  <a:cubicBezTo>
                    <a:pt x="17782" y="72029"/>
                    <a:pt x="17393" y="72416"/>
                    <a:pt x="17393" y="73190"/>
                  </a:cubicBezTo>
                  <a:lnTo>
                    <a:pt x="17393" y="113896"/>
                  </a:lnTo>
                  <a:close/>
                </a:path>
              </a:pathLst>
            </a:custGeom>
            <a:solidFill>
              <a:srgbClr val="FFFFFF"/>
            </a:solidFill>
            <a:ln w="7" cap="flat">
              <a:noFill/>
              <a:prstDash val="solid"/>
              <a:miter/>
            </a:ln>
          </p:spPr>
          <p:txBody>
            <a:bodyPr rtlCol="0" anchor="ctr"/>
            <a:lstStyle/>
            <a:p>
              <a:endParaRPr lang="de-DE"/>
            </a:p>
          </p:txBody>
        </p:sp>
        <p:sp>
          <p:nvSpPr>
            <p:cNvPr id="31" name="Freeform: Shape 30">
              <a:extLst>
                <a:ext uri="{FF2B5EF4-FFF2-40B4-BE49-F238E27FC236}">
                  <a16:creationId xmlns:a16="http://schemas.microsoft.com/office/drawing/2014/main" id="{5FBCD0FA-43EF-49BB-BAA5-FFE6030545CD}"/>
                </a:ext>
              </a:extLst>
            </p:cNvPr>
            <p:cNvSpPr/>
            <p:nvPr/>
          </p:nvSpPr>
          <p:spPr>
            <a:xfrm>
              <a:off x="1783067" y="801424"/>
              <a:ext cx="83103" cy="130604"/>
            </a:xfrm>
            <a:custGeom>
              <a:avLst/>
              <a:gdLst>
                <a:gd name="connsiteX0" fmla="*/ 0 w 83103"/>
                <a:gd name="connsiteY0" fmla="*/ 1916 h 130604"/>
                <a:gd name="connsiteX1" fmla="*/ 1934 w 83103"/>
                <a:gd name="connsiteY1" fmla="*/ 0 h 130604"/>
                <a:gd name="connsiteX2" fmla="*/ 81170 w 83103"/>
                <a:gd name="connsiteY2" fmla="*/ 0 h 130604"/>
                <a:gd name="connsiteX3" fmla="*/ 83104 w 83103"/>
                <a:gd name="connsiteY3" fmla="*/ 1916 h 130604"/>
                <a:gd name="connsiteX4" fmla="*/ 83104 w 83103"/>
                <a:gd name="connsiteY4" fmla="*/ 14006 h 130604"/>
                <a:gd name="connsiteX5" fmla="*/ 81170 w 83103"/>
                <a:gd name="connsiteY5" fmla="*/ 15934 h 130604"/>
                <a:gd name="connsiteX6" fmla="*/ 18555 w 83103"/>
                <a:gd name="connsiteY6" fmla="*/ 15934 h 130604"/>
                <a:gd name="connsiteX7" fmla="*/ 17406 w 83103"/>
                <a:gd name="connsiteY7" fmla="*/ 17089 h 130604"/>
                <a:gd name="connsiteX8" fmla="*/ 17406 w 83103"/>
                <a:gd name="connsiteY8" fmla="*/ 55505 h 130604"/>
                <a:gd name="connsiteX9" fmla="*/ 18555 w 83103"/>
                <a:gd name="connsiteY9" fmla="*/ 56653 h 130604"/>
                <a:gd name="connsiteX10" fmla="*/ 71691 w 83103"/>
                <a:gd name="connsiteY10" fmla="*/ 56653 h 130604"/>
                <a:gd name="connsiteX11" fmla="*/ 73638 w 83103"/>
                <a:gd name="connsiteY11" fmla="*/ 58575 h 130604"/>
                <a:gd name="connsiteX12" fmla="*/ 73638 w 83103"/>
                <a:gd name="connsiteY12" fmla="*/ 70678 h 130604"/>
                <a:gd name="connsiteX13" fmla="*/ 71691 w 83103"/>
                <a:gd name="connsiteY13" fmla="*/ 72607 h 130604"/>
                <a:gd name="connsiteX14" fmla="*/ 18555 w 83103"/>
                <a:gd name="connsiteY14" fmla="*/ 72607 h 130604"/>
                <a:gd name="connsiteX15" fmla="*/ 17406 w 83103"/>
                <a:gd name="connsiteY15" fmla="*/ 73755 h 130604"/>
                <a:gd name="connsiteX16" fmla="*/ 17406 w 83103"/>
                <a:gd name="connsiteY16" fmla="*/ 113509 h 130604"/>
                <a:gd name="connsiteX17" fmla="*/ 18555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1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34" y="0"/>
                  </a:cubicBezTo>
                  <a:lnTo>
                    <a:pt x="81170" y="0"/>
                  </a:lnTo>
                  <a:cubicBezTo>
                    <a:pt x="82463" y="0"/>
                    <a:pt x="83104" y="636"/>
                    <a:pt x="83104" y="1916"/>
                  </a:cubicBezTo>
                  <a:lnTo>
                    <a:pt x="83104" y="14006"/>
                  </a:lnTo>
                  <a:cubicBezTo>
                    <a:pt x="83104" y="15291"/>
                    <a:pt x="82463" y="15934"/>
                    <a:pt x="81170" y="15934"/>
                  </a:cubicBezTo>
                  <a:lnTo>
                    <a:pt x="18555" y="15934"/>
                  </a:lnTo>
                  <a:cubicBezTo>
                    <a:pt x="17782" y="15934"/>
                    <a:pt x="17406" y="16321"/>
                    <a:pt x="17406" y="17089"/>
                  </a:cubicBezTo>
                  <a:lnTo>
                    <a:pt x="17406" y="55505"/>
                  </a:lnTo>
                  <a:cubicBezTo>
                    <a:pt x="17406" y="56279"/>
                    <a:pt x="17782" y="56653"/>
                    <a:pt x="18555" y="56653"/>
                  </a:cubicBezTo>
                  <a:lnTo>
                    <a:pt x="71691" y="56653"/>
                  </a:lnTo>
                  <a:cubicBezTo>
                    <a:pt x="72985" y="56653"/>
                    <a:pt x="73638" y="57295"/>
                    <a:pt x="73638" y="58575"/>
                  </a:cubicBezTo>
                  <a:lnTo>
                    <a:pt x="73638" y="70678"/>
                  </a:lnTo>
                  <a:cubicBezTo>
                    <a:pt x="73638" y="71970"/>
                    <a:pt x="72985" y="72607"/>
                    <a:pt x="71691" y="72607"/>
                  </a:cubicBezTo>
                  <a:lnTo>
                    <a:pt x="18555" y="72607"/>
                  </a:lnTo>
                  <a:cubicBezTo>
                    <a:pt x="17782" y="72607"/>
                    <a:pt x="17406" y="72987"/>
                    <a:pt x="17406" y="73755"/>
                  </a:cubicBezTo>
                  <a:lnTo>
                    <a:pt x="17406" y="113509"/>
                  </a:lnTo>
                  <a:cubicBezTo>
                    <a:pt x="17406" y="114276"/>
                    <a:pt x="17782" y="114670"/>
                    <a:pt x="18555" y="114670"/>
                  </a:cubicBezTo>
                  <a:lnTo>
                    <a:pt x="81170" y="114670"/>
                  </a:lnTo>
                  <a:cubicBezTo>
                    <a:pt x="82463" y="114670"/>
                    <a:pt x="83104" y="115306"/>
                    <a:pt x="83104" y="116592"/>
                  </a:cubicBezTo>
                  <a:lnTo>
                    <a:pt x="83104" y="128682"/>
                  </a:lnTo>
                  <a:cubicBezTo>
                    <a:pt x="83104" y="129961"/>
                    <a:pt x="82463" y="130604"/>
                    <a:pt x="81170" y="130604"/>
                  </a:cubicBezTo>
                  <a:lnTo>
                    <a:pt x="1941"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33" name="Freeform: Shape 32">
              <a:extLst>
                <a:ext uri="{FF2B5EF4-FFF2-40B4-BE49-F238E27FC236}">
                  <a16:creationId xmlns:a16="http://schemas.microsoft.com/office/drawing/2014/main" id="{108C1FBE-1510-4E68-91C9-480EE5D8ABF6}"/>
                </a:ext>
              </a:extLst>
            </p:cNvPr>
            <p:cNvSpPr/>
            <p:nvPr/>
          </p:nvSpPr>
          <p:spPr>
            <a:xfrm>
              <a:off x="1893808" y="801424"/>
              <a:ext cx="83103" cy="130604"/>
            </a:xfrm>
            <a:custGeom>
              <a:avLst/>
              <a:gdLst>
                <a:gd name="connsiteX0" fmla="*/ 0 w 83103"/>
                <a:gd name="connsiteY0" fmla="*/ 1916 h 130604"/>
                <a:gd name="connsiteX1" fmla="*/ 1947 w 83103"/>
                <a:gd name="connsiteY1" fmla="*/ 0 h 130604"/>
                <a:gd name="connsiteX2" fmla="*/ 15433 w 83103"/>
                <a:gd name="connsiteY2" fmla="*/ 0 h 130604"/>
                <a:gd name="connsiteX3" fmla="*/ 17406 w 83103"/>
                <a:gd name="connsiteY3" fmla="*/ 1916 h 130604"/>
                <a:gd name="connsiteX4" fmla="*/ 17406 w 83103"/>
                <a:gd name="connsiteY4" fmla="*/ 113509 h 130604"/>
                <a:gd name="connsiteX5" fmla="*/ 18555 w 83103"/>
                <a:gd name="connsiteY5" fmla="*/ 114670 h 130604"/>
                <a:gd name="connsiteX6" fmla="*/ 81176 w 83103"/>
                <a:gd name="connsiteY6" fmla="*/ 114670 h 130604"/>
                <a:gd name="connsiteX7" fmla="*/ 83097 w 83103"/>
                <a:gd name="connsiteY7" fmla="*/ 116592 h 130604"/>
                <a:gd name="connsiteX8" fmla="*/ 83104 w 83103"/>
                <a:gd name="connsiteY8" fmla="*/ 128682 h 130604"/>
                <a:gd name="connsiteX9" fmla="*/ 81176 w 83103"/>
                <a:gd name="connsiteY9" fmla="*/ 130604 h 130604"/>
                <a:gd name="connsiteX10" fmla="*/ 1947 w 83103"/>
                <a:gd name="connsiteY10" fmla="*/ 130604 h 130604"/>
                <a:gd name="connsiteX11" fmla="*/ 0 w 83103"/>
                <a:gd name="connsiteY11" fmla="*/ 128682 h 130604"/>
                <a:gd name="connsiteX12" fmla="*/ 0 w 83103"/>
                <a:gd name="connsiteY12"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03" h="130604">
                  <a:moveTo>
                    <a:pt x="0" y="1916"/>
                  </a:moveTo>
                  <a:cubicBezTo>
                    <a:pt x="0" y="636"/>
                    <a:pt x="653" y="0"/>
                    <a:pt x="1947" y="0"/>
                  </a:cubicBezTo>
                  <a:lnTo>
                    <a:pt x="15433" y="0"/>
                  </a:lnTo>
                  <a:cubicBezTo>
                    <a:pt x="16753" y="0"/>
                    <a:pt x="17406" y="636"/>
                    <a:pt x="17406" y="1916"/>
                  </a:cubicBezTo>
                  <a:lnTo>
                    <a:pt x="17406" y="113509"/>
                  </a:lnTo>
                  <a:cubicBezTo>
                    <a:pt x="17406" y="114276"/>
                    <a:pt x="17776" y="114670"/>
                    <a:pt x="18555" y="114670"/>
                  </a:cubicBezTo>
                  <a:lnTo>
                    <a:pt x="81176" y="114670"/>
                  </a:lnTo>
                  <a:cubicBezTo>
                    <a:pt x="82463" y="114670"/>
                    <a:pt x="83097" y="115306"/>
                    <a:pt x="83097" y="116592"/>
                  </a:cubicBezTo>
                  <a:lnTo>
                    <a:pt x="83104" y="128682"/>
                  </a:lnTo>
                  <a:cubicBezTo>
                    <a:pt x="83104" y="129961"/>
                    <a:pt x="82463" y="130604"/>
                    <a:pt x="81176" y="130604"/>
                  </a:cubicBezTo>
                  <a:lnTo>
                    <a:pt x="1947"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34" name="Freeform: Shape 33">
              <a:extLst>
                <a:ext uri="{FF2B5EF4-FFF2-40B4-BE49-F238E27FC236}">
                  <a16:creationId xmlns:a16="http://schemas.microsoft.com/office/drawing/2014/main" id="{337F1A07-4EC4-43AA-8E73-A34B4C436C8F}"/>
                </a:ext>
              </a:extLst>
            </p:cNvPr>
            <p:cNvSpPr/>
            <p:nvPr/>
          </p:nvSpPr>
          <p:spPr>
            <a:xfrm>
              <a:off x="1992617" y="799312"/>
              <a:ext cx="94858" cy="134835"/>
            </a:xfrm>
            <a:custGeom>
              <a:avLst/>
              <a:gdLst>
                <a:gd name="connsiteX0" fmla="*/ 46910 w 94858"/>
                <a:gd name="connsiteY0" fmla="*/ 134835 h 134835"/>
                <a:gd name="connsiteX1" fmla="*/ 33187 w 94858"/>
                <a:gd name="connsiteY1" fmla="*/ 133490 h 134835"/>
                <a:gd name="connsiteX2" fmla="*/ 20434 w 94858"/>
                <a:gd name="connsiteY2" fmla="*/ 129928 h 134835"/>
                <a:gd name="connsiteX3" fmla="*/ 9431 w 94858"/>
                <a:gd name="connsiteY3" fmla="*/ 124753 h 134835"/>
                <a:gd name="connsiteX4" fmla="*/ 724 w 94858"/>
                <a:gd name="connsiteY4" fmla="*/ 118507 h 134835"/>
                <a:gd name="connsiteX5" fmla="*/ 526 w 94858"/>
                <a:gd name="connsiteY5" fmla="*/ 115621 h 134835"/>
                <a:gd name="connsiteX6" fmla="*/ 9028 w 94858"/>
                <a:gd name="connsiteY6" fmla="*/ 105643 h 134835"/>
                <a:gd name="connsiteX7" fmla="*/ 11748 w 94858"/>
                <a:gd name="connsiteY7" fmla="*/ 105446 h 134835"/>
                <a:gd name="connsiteX8" fmla="*/ 27583 w 94858"/>
                <a:gd name="connsiteY8" fmla="*/ 114663 h 134835"/>
                <a:gd name="connsiteX9" fmla="*/ 48461 w 94858"/>
                <a:gd name="connsiteY9" fmla="*/ 118894 h 134835"/>
                <a:gd name="connsiteX10" fmla="*/ 69821 w 94858"/>
                <a:gd name="connsiteY10" fmla="*/ 112748 h 134835"/>
                <a:gd name="connsiteX11" fmla="*/ 77452 w 94858"/>
                <a:gd name="connsiteY11" fmla="*/ 96610 h 134835"/>
                <a:gd name="connsiteX12" fmla="*/ 76099 w 94858"/>
                <a:gd name="connsiteY12" fmla="*/ 88928 h 134835"/>
                <a:gd name="connsiteX13" fmla="*/ 71551 w 94858"/>
                <a:gd name="connsiteY13" fmla="*/ 82781 h 134835"/>
                <a:gd name="connsiteX14" fmla="*/ 63148 w 94858"/>
                <a:gd name="connsiteY14" fmla="*/ 78170 h 134835"/>
                <a:gd name="connsiteX15" fmla="*/ 50019 w 94858"/>
                <a:gd name="connsiteY15" fmla="*/ 75303 h 134835"/>
                <a:gd name="connsiteX16" fmla="*/ 43445 w 94858"/>
                <a:gd name="connsiteY16" fmla="*/ 74332 h 134835"/>
                <a:gd name="connsiteX17" fmla="*/ 4777 w 94858"/>
                <a:gd name="connsiteY17" fmla="*/ 38219 h 134835"/>
                <a:gd name="connsiteX18" fmla="*/ 7774 w 94858"/>
                <a:gd name="connsiteY18" fmla="*/ 22468 h 134835"/>
                <a:gd name="connsiteX19" fmla="*/ 16388 w 94858"/>
                <a:gd name="connsiteY19" fmla="*/ 10365 h 134835"/>
                <a:gd name="connsiteX20" fmla="*/ 29913 w 94858"/>
                <a:gd name="connsiteY20" fmla="*/ 2683 h 134835"/>
                <a:gd name="connsiteX21" fmla="*/ 47682 w 94858"/>
                <a:gd name="connsiteY21" fmla="*/ 0 h 134835"/>
                <a:gd name="connsiteX22" fmla="*/ 69821 w 94858"/>
                <a:gd name="connsiteY22" fmla="*/ 3359 h 134835"/>
                <a:gd name="connsiteX23" fmla="*/ 87703 w 94858"/>
                <a:gd name="connsiteY23" fmla="*/ 12090 h 134835"/>
                <a:gd name="connsiteX24" fmla="*/ 88086 w 94858"/>
                <a:gd name="connsiteY24" fmla="*/ 14780 h 134835"/>
                <a:gd name="connsiteX25" fmla="*/ 81505 w 94858"/>
                <a:gd name="connsiteY25" fmla="*/ 25348 h 134835"/>
                <a:gd name="connsiteX26" fmla="*/ 78805 w 94858"/>
                <a:gd name="connsiteY26" fmla="*/ 25729 h 134835"/>
                <a:gd name="connsiteX27" fmla="*/ 63148 w 94858"/>
                <a:gd name="connsiteY27" fmla="*/ 18329 h 134835"/>
                <a:gd name="connsiteX28" fmla="*/ 47115 w 94858"/>
                <a:gd name="connsiteY28" fmla="*/ 15934 h 134835"/>
                <a:gd name="connsiteX29" fmla="*/ 28560 w 94858"/>
                <a:gd name="connsiteY29" fmla="*/ 21792 h 134835"/>
                <a:gd name="connsiteX30" fmla="*/ 22190 w 94858"/>
                <a:gd name="connsiteY30" fmla="*/ 37064 h 134835"/>
                <a:gd name="connsiteX31" fmla="*/ 28362 w 94858"/>
                <a:gd name="connsiteY31" fmla="*/ 50611 h 134835"/>
                <a:gd name="connsiteX32" fmla="*/ 49814 w 94858"/>
                <a:gd name="connsiteY32" fmla="*/ 58004 h 134835"/>
                <a:gd name="connsiteX33" fmla="*/ 56197 w 94858"/>
                <a:gd name="connsiteY33" fmla="*/ 58962 h 134835"/>
                <a:gd name="connsiteX34" fmla="*/ 85175 w 94858"/>
                <a:gd name="connsiteY34" fmla="*/ 70488 h 134835"/>
                <a:gd name="connsiteX35" fmla="*/ 94858 w 94858"/>
                <a:gd name="connsiteY35" fmla="*/ 95468 h 134835"/>
                <a:gd name="connsiteX36" fmla="*/ 91861 w 94858"/>
                <a:gd name="connsiteY36" fmla="*/ 111311 h 134835"/>
                <a:gd name="connsiteX37" fmla="*/ 82785 w 94858"/>
                <a:gd name="connsiteY37" fmla="*/ 123696 h 134835"/>
                <a:gd name="connsiteX38" fmla="*/ 67703 w 94858"/>
                <a:gd name="connsiteY38" fmla="*/ 131850 h 134835"/>
                <a:gd name="connsiteX39" fmla="*/ 46910 w 94858"/>
                <a:gd name="connsiteY39" fmla="*/ 134835 h 134835"/>
                <a:gd name="connsiteX40" fmla="*/ 46910 w 94858"/>
                <a:gd name="connsiteY40" fmla="*/ 134835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4858" h="134835">
                  <a:moveTo>
                    <a:pt x="46910" y="134835"/>
                  </a:moveTo>
                  <a:cubicBezTo>
                    <a:pt x="42296" y="134835"/>
                    <a:pt x="37709" y="134376"/>
                    <a:pt x="33187" y="133490"/>
                  </a:cubicBezTo>
                  <a:cubicBezTo>
                    <a:pt x="28679" y="132592"/>
                    <a:pt x="24428" y="131398"/>
                    <a:pt x="20434" y="129928"/>
                  </a:cubicBezTo>
                  <a:cubicBezTo>
                    <a:pt x="16441" y="128465"/>
                    <a:pt x="12764" y="126734"/>
                    <a:pt x="9431" y="124753"/>
                  </a:cubicBezTo>
                  <a:cubicBezTo>
                    <a:pt x="6071" y="122771"/>
                    <a:pt x="3167" y="120685"/>
                    <a:pt x="724" y="118507"/>
                  </a:cubicBezTo>
                  <a:cubicBezTo>
                    <a:pt x="-167" y="117615"/>
                    <a:pt x="-239" y="116644"/>
                    <a:pt x="526" y="115621"/>
                  </a:cubicBezTo>
                  <a:lnTo>
                    <a:pt x="9028" y="105643"/>
                  </a:lnTo>
                  <a:cubicBezTo>
                    <a:pt x="9807" y="104738"/>
                    <a:pt x="10725" y="104672"/>
                    <a:pt x="11748" y="105446"/>
                  </a:cubicBezTo>
                  <a:cubicBezTo>
                    <a:pt x="16005" y="108785"/>
                    <a:pt x="21273" y="111849"/>
                    <a:pt x="27583" y="114663"/>
                  </a:cubicBezTo>
                  <a:cubicBezTo>
                    <a:pt x="33913" y="117491"/>
                    <a:pt x="40864" y="118894"/>
                    <a:pt x="48461" y="118894"/>
                  </a:cubicBezTo>
                  <a:cubicBezTo>
                    <a:pt x="57603" y="118894"/>
                    <a:pt x="64739" y="116848"/>
                    <a:pt x="69821" y="112748"/>
                  </a:cubicBezTo>
                  <a:cubicBezTo>
                    <a:pt x="74911" y="108654"/>
                    <a:pt x="77452" y="103268"/>
                    <a:pt x="77452" y="96610"/>
                  </a:cubicBezTo>
                  <a:cubicBezTo>
                    <a:pt x="77452" y="93802"/>
                    <a:pt x="76990" y="91237"/>
                    <a:pt x="76099" y="88928"/>
                  </a:cubicBezTo>
                  <a:cubicBezTo>
                    <a:pt x="75214" y="86625"/>
                    <a:pt x="73676" y="84572"/>
                    <a:pt x="71551" y="82781"/>
                  </a:cubicBezTo>
                  <a:cubicBezTo>
                    <a:pt x="69425" y="80984"/>
                    <a:pt x="66627" y="79449"/>
                    <a:pt x="63148" y="78170"/>
                  </a:cubicBezTo>
                  <a:cubicBezTo>
                    <a:pt x="59669" y="76897"/>
                    <a:pt x="55300" y="75933"/>
                    <a:pt x="50019" y="75303"/>
                  </a:cubicBezTo>
                  <a:lnTo>
                    <a:pt x="43445" y="74332"/>
                  </a:lnTo>
                  <a:cubicBezTo>
                    <a:pt x="17675" y="70875"/>
                    <a:pt x="4777" y="58831"/>
                    <a:pt x="4777" y="38219"/>
                  </a:cubicBezTo>
                  <a:cubicBezTo>
                    <a:pt x="4777" y="32453"/>
                    <a:pt x="5787" y="27198"/>
                    <a:pt x="7774" y="22468"/>
                  </a:cubicBezTo>
                  <a:cubicBezTo>
                    <a:pt x="9781" y="17732"/>
                    <a:pt x="12645" y="13691"/>
                    <a:pt x="16388" y="10365"/>
                  </a:cubicBezTo>
                  <a:cubicBezTo>
                    <a:pt x="20118" y="7039"/>
                    <a:pt x="24626" y="4487"/>
                    <a:pt x="29913" y="2683"/>
                  </a:cubicBezTo>
                  <a:cubicBezTo>
                    <a:pt x="35200" y="899"/>
                    <a:pt x="41121" y="0"/>
                    <a:pt x="47682" y="0"/>
                  </a:cubicBezTo>
                  <a:cubicBezTo>
                    <a:pt x="55418" y="0"/>
                    <a:pt x="62792" y="1122"/>
                    <a:pt x="69821" y="3359"/>
                  </a:cubicBezTo>
                  <a:cubicBezTo>
                    <a:pt x="76838" y="5596"/>
                    <a:pt x="82798" y="8522"/>
                    <a:pt x="87703" y="12090"/>
                  </a:cubicBezTo>
                  <a:cubicBezTo>
                    <a:pt x="88746" y="12851"/>
                    <a:pt x="88865" y="13750"/>
                    <a:pt x="88086" y="14780"/>
                  </a:cubicBezTo>
                  <a:lnTo>
                    <a:pt x="81505" y="25348"/>
                  </a:lnTo>
                  <a:cubicBezTo>
                    <a:pt x="80752" y="26247"/>
                    <a:pt x="79835" y="26371"/>
                    <a:pt x="78805" y="25729"/>
                  </a:cubicBezTo>
                  <a:cubicBezTo>
                    <a:pt x="73399" y="22403"/>
                    <a:pt x="68184" y="19936"/>
                    <a:pt x="63148" y="18329"/>
                  </a:cubicBezTo>
                  <a:cubicBezTo>
                    <a:pt x="58118" y="16735"/>
                    <a:pt x="52778" y="15934"/>
                    <a:pt x="47115" y="15934"/>
                  </a:cubicBezTo>
                  <a:cubicBezTo>
                    <a:pt x="38996" y="15934"/>
                    <a:pt x="32811" y="17889"/>
                    <a:pt x="28560" y="21792"/>
                  </a:cubicBezTo>
                  <a:cubicBezTo>
                    <a:pt x="24309" y="25702"/>
                    <a:pt x="22190" y="30806"/>
                    <a:pt x="22190" y="37064"/>
                  </a:cubicBezTo>
                  <a:cubicBezTo>
                    <a:pt x="22190" y="42568"/>
                    <a:pt x="24250" y="47081"/>
                    <a:pt x="28362" y="50611"/>
                  </a:cubicBezTo>
                  <a:cubicBezTo>
                    <a:pt x="32501" y="54134"/>
                    <a:pt x="39656" y="56587"/>
                    <a:pt x="49814" y="58004"/>
                  </a:cubicBezTo>
                  <a:lnTo>
                    <a:pt x="56197" y="58962"/>
                  </a:lnTo>
                  <a:cubicBezTo>
                    <a:pt x="69075" y="60759"/>
                    <a:pt x="78746" y="64597"/>
                    <a:pt x="85175" y="70488"/>
                  </a:cubicBezTo>
                  <a:cubicBezTo>
                    <a:pt x="91624" y="76385"/>
                    <a:pt x="94858" y="84703"/>
                    <a:pt x="94858" y="95468"/>
                  </a:cubicBezTo>
                  <a:cubicBezTo>
                    <a:pt x="94858" y="101222"/>
                    <a:pt x="93842" y="106509"/>
                    <a:pt x="91861" y="111311"/>
                  </a:cubicBezTo>
                  <a:cubicBezTo>
                    <a:pt x="89855" y="116106"/>
                    <a:pt x="86832" y="120233"/>
                    <a:pt x="82785" y="123696"/>
                  </a:cubicBezTo>
                  <a:cubicBezTo>
                    <a:pt x="78706" y="127153"/>
                    <a:pt x="73676" y="129876"/>
                    <a:pt x="67703" y="131850"/>
                  </a:cubicBezTo>
                  <a:cubicBezTo>
                    <a:pt x="61696" y="133838"/>
                    <a:pt x="54785" y="134835"/>
                    <a:pt x="46910" y="134835"/>
                  </a:cubicBezTo>
                  <a:lnTo>
                    <a:pt x="46910" y="134835"/>
                  </a:lnTo>
                  <a:close/>
                </a:path>
              </a:pathLst>
            </a:custGeom>
            <a:solidFill>
              <a:srgbClr val="FFFFFF"/>
            </a:solidFill>
            <a:ln w="7" cap="flat">
              <a:noFill/>
              <a:prstDash val="solid"/>
              <a:miter/>
            </a:ln>
          </p:spPr>
          <p:txBody>
            <a:bodyPr rtlCol="0" anchor="ctr"/>
            <a:lstStyle/>
            <a:p>
              <a:endParaRPr lang="de-DE"/>
            </a:p>
          </p:txBody>
        </p:sp>
        <p:sp>
          <p:nvSpPr>
            <p:cNvPr id="35" name="Freeform: Shape 34">
              <a:extLst>
                <a:ext uri="{FF2B5EF4-FFF2-40B4-BE49-F238E27FC236}">
                  <a16:creationId xmlns:a16="http://schemas.microsoft.com/office/drawing/2014/main" id="{2D2BCC7D-9E2E-44C6-A34D-31D125D10BDB}"/>
                </a:ext>
              </a:extLst>
            </p:cNvPr>
            <p:cNvSpPr/>
            <p:nvPr/>
          </p:nvSpPr>
          <p:spPr>
            <a:xfrm>
              <a:off x="2101601" y="801424"/>
              <a:ext cx="95486" cy="130610"/>
            </a:xfrm>
            <a:custGeom>
              <a:avLst/>
              <a:gdLst>
                <a:gd name="connsiteX0" fmla="*/ 40984 w 95486"/>
                <a:gd name="connsiteY0" fmla="*/ 130611 h 130610"/>
                <a:gd name="connsiteX1" fmla="*/ 39037 w 95486"/>
                <a:gd name="connsiteY1" fmla="*/ 128682 h 130610"/>
                <a:gd name="connsiteX2" fmla="*/ 39037 w 95486"/>
                <a:gd name="connsiteY2" fmla="*/ 17095 h 130610"/>
                <a:gd name="connsiteX3" fmla="*/ 37882 w 95486"/>
                <a:gd name="connsiteY3" fmla="*/ 15934 h 130610"/>
                <a:gd name="connsiteX4" fmla="*/ 1934 w 95486"/>
                <a:gd name="connsiteY4" fmla="*/ 15934 h 130610"/>
                <a:gd name="connsiteX5" fmla="*/ 0 w 95486"/>
                <a:gd name="connsiteY5" fmla="*/ 14012 h 130610"/>
                <a:gd name="connsiteX6" fmla="*/ 0 w 95486"/>
                <a:gd name="connsiteY6" fmla="*/ 1916 h 130610"/>
                <a:gd name="connsiteX7" fmla="*/ 1934 w 95486"/>
                <a:gd name="connsiteY7" fmla="*/ 0 h 130610"/>
                <a:gd name="connsiteX8" fmla="*/ 93546 w 95486"/>
                <a:gd name="connsiteY8" fmla="*/ 0 h 130610"/>
                <a:gd name="connsiteX9" fmla="*/ 95487 w 95486"/>
                <a:gd name="connsiteY9" fmla="*/ 1916 h 130610"/>
                <a:gd name="connsiteX10" fmla="*/ 95487 w 95486"/>
                <a:gd name="connsiteY10" fmla="*/ 14012 h 130610"/>
                <a:gd name="connsiteX11" fmla="*/ 93540 w 95486"/>
                <a:gd name="connsiteY11" fmla="*/ 15934 h 130610"/>
                <a:gd name="connsiteX12" fmla="*/ 57598 w 95486"/>
                <a:gd name="connsiteY12" fmla="*/ 15934 h 130610"/>
                <a:gd name="connsiteX13" fmla="*/ 56437 w 95486"/>
                <a:gd name="connsiteY13" fmla="*/ 17095 h 130610"/>
                <a:gd name="connsiteX14" fmla="*/ 56437 w 95486"/>
                <a:gd name="connsiteY14" fmla="*/ 128682 h 130610"/>
                <a:gd name="connsiteX15" fmla="*/ 54476 w 95486"/>
                <a:gd name="connsiteY15" fmla="*/ 130611 h 130610"/>
                <a:gd name="connsiteX16" fmla="*/ 40984 w 95486"/>
                <a:gd name="connsiteY16" fmla="*/ 130611 h 13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486" h="130610">
                  <a:moveTo>
                    <a:pt x="40984" y="130611"/>
                  </a:moveTo>
                  <a:cubicBezTo>
                    <a:pt x="39690" y="130611"/>
                    <a:pt x="39037" y="129961"/>
                    <a:pt x="39037" y="128682"/>
                  </a:cubicBezTo>
                  <a:lnTo>
                    <a:pt x="39037" y="17095"/>
                  </a:lnTo>
                  <a:cubicBezTo>
                    <a:pt x="39037" y="16328"/>
                    <a:pt x="38661" y="15934"/>
                    <a:pt x="37882" y="15934"/>
                  </a:cubicBezTo>
                  <a:lnTo>
                    <a:pt x="1934" y="15934"/>
                  </a:lnTo>
                  <a:cubicBezTo>
                    <a:pt x="640" y="15934"/>
                    <a:pt x="0" y="15291"/>
                    <a:pt x="0" y="14012"/>
                  </a:cubicBezTo>
                  <a:lnTo>
                    <a:pt x="0" y="1916"/>
                  </a:lnTo>
                  <a:cubicBezTo>
                    <a:pt x="0" y="636"/>
                    <a:pt x="640" y="0"/>
                    <a:pt x="1934" y="0"/>
                  </a:cubicBezTo>
                  <a:lnTo>
                    <a:pt x="93546" y="0"/>
                  </a:lnTo>
                  <a:cubicBezTo>
                    <a:pt x="94833" y="0"/>
                    <a:pt x="95487" y="636"/>
                    <a:pt x="95487" y="1916"/>
                  </a:cubicBezTo>
                  <a:lnTo>
                    <a:pt x="95487" y="14012"/>
                  </a:lnTo>
                  <a:cubicBezTo>
                    <a:pt x="95487" y="15291"/>
                    <a:pt x="94833" y="15934"/>
                    <a:pt x="93540" y="15934"/>
                  </a:cubicBezTo>
                  <a:lnTo>
                    <a:pt x="57598" y="15934"/>
                  </a:lnTo>
                  <a:cubicBezTo>
                    <a:pt x="56819" y="15934"/>
                    <a:pt x="56437" y="16328"/>
                    <a:pt x="56437" y="17095"/>
                  </a:cubicBezTo>
                  <a:lnTo>
                    <a:pt x="56437" y="128682"/>
                  </a:lnTo>
                  <a:cubicBezTo>
                    <a:pt x="56437" y="129961"/>
                    <a:pt x="55783" y="130611"/>
                    <a:pt x="54476" y="130611"/>
                  </a:cubicBezTo>
                  <a:lnTo>
                    <a:pt x="40984" y="130611"/>
                  </a:lnTo>
                  <a:close/>
                </a:path>
              </a:pathLst>
            </a:custGeom>
            <a:solidFill>
              <a:srgbClr val="FFFFFF"/>
            </a:solidFill>
            <a:ln w="7" cap="flat">
              <a:noFill/>
              <a:prstDash val="solid"/>
              <a:miter/>
            </a:ln>
          </p:spPr>
          <p:txBody>
            <a:bodyPr rtlCol="0" anchor="ctr"/>
            <a:lstStyle/>
            <a:p>
              <a:endParaRPr lang="de-DE"/>
            </a:p>
          </p:txBody>
        </p:sp>
        <p:sp>
          <p:nvSpPr>
            <p:cNvPr id="36" name="Freeform: Shape 35">
              <a:extLst>
                <a:ext uri="{FF2B5EF4-FFF2-40B4-BE49-F238E27FC236}">
                  <a16:creationId xmlns:a16="http://schemas.microsoft.com/office/drawing/2014/main" id="{51B11AD1-16F2-4F5D-9BCE-0373D7A34C6E}"/>
                </a:ext>
              </a:extLst>
            </p:cNvPr>
            <p:cNvSpPr/>
            <p:nvPr/>
          </p:nvSpPr>
          <p:spPr>
            <a:xfrm>
              <a:off x="2219306" y="801424"/>
              <a:ext cx="83103" cy="130604"/>
            </a:xfrm>
            <a:custGeom>
              <a:avLst/>
              <a:gdLst>
                <a:gd name="connsiteX0" fmla="*/ 0 w 83103"/>
                <a:gd name="connsiteY0" fmla="*/ 1916 h 130604"/>
                <a:gd name="connsiteX1" fmla="*/ 1941 w 83103"/>
                <a:gd name="connsiteY1" fmla="*/ 0 h 130604"/>
                <a:gd name="connsiteX2" fmla="*/ 81170 w 83103"/>
                <a:gd name="connsiteY2" fmla="*/ 0 h 130604"/>
                <a:gd name="connsiteX3" fmla="*/ 83104 w 83103"/>
                <a:gd name="connsiteY3" fmla="*/ 1916 h 130604"/>
                <a:gd name="connsiteX4" fmla="*/ 83104 w 83103"/>
                <a:gd name="connsiteY4" fmla="*/ 14006 h 130604"/>
                <a:gd name="connsiteX5" fmla="*/ 81170 w 83103"/>
                <a:gd name="connsiteY5" fmla="*/ 15934 h 130604"/>
                <a:gd name="connsiteX6" fmla="*/ 18548 w 83103"/>
                <a:gd name="connsiteY6" fmla="*/ 15934 h 130604"/>
                <a:gd name="connsiteX7" fmla="*/ 17406 w 83103"/>
                <a:gd name="connsiteY7" fmla="*/ 17089 h 130604"/>
                <a:gd name="connsiteX8" fmla="*/ 17406 w 83103"/>
                <a:gd name="connsiteY8" fmla="*/ 55505 h 130604"/>
                <a:gd name="connsiteX9" fmla="*/ 18548 w 83103"/>
                <a:gd name="connsiteY9" fmla="*/ 56653 h 130604"/>
                <a:gd name="connsiteX10" fmla="*/ 71698 w 83103"/>
                <a:gd name="connsiteY10" fmla="*/ 56653 h 130604"/>
                <a:gd name="connsiteX11" fmla="*/ 73638 w 83103"/>
                <a:gd name="connsiteY11" fmla="*/ 58575 h 130604"/>
                <a:gd name="connsiteX12" fmla="*/ 73638 w 83103"/>
                <a:gd name="connsiteY12" fmla="*/ 70678 h 130604"/>
                <a:gd name="connsiteX13" fmla="*/ 71698 w 83103"/>
                <a:gd name="connsiteY13" fmla="*/ 72607 h 130604"/>
                <a:gd name="connsiteX14" fmla="*/ 18548 w 83103"/>
                <a:gd name="connsiteY14" fmla="*/ 72607 h 130604"/>
                <a:gd name="connsiteX15" fmla="*/ 17406 w 83103"/>
                <a:gd name="connsiteY15" fmla="*/ 73755 h 130604"/>
                <a:gd name="connsiteX16" fmla="*/ 17406 w 83103"/>
                <a:gd name="connsiteY16" fmla="*/ 113509 h 130604"/>
                <a:gd name="connsiteX17" fmla="*/ 18548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7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41" y="0"/>
                  </a:cubicBezTo>
                  <a:lnTo>
                    <a:pt x="81170" y="0"/>
                  </a:lnTo>
                  <a:cubicBezTo>
                    <a:pt x="82463" y="0"/>
                    <a:pt x="83104" y="636"/>
                    <a:pt x="83104" y="1916"/>
                  </a:cubicBezTo>
                  <a:lnTo>
                    <a:pt x="83104" y="14006"/>
                  </a:lnTo>
                  <a:cubicBezTo>
                    <a:pt x="83104" y="15291"/>
                    <a:pt x="82463" y="15934"/>
                    <a:pt x="81170" y="15934"/>
                  </a:cubicBezTo>
                  <a:lnTo>
                    <a:pt x="18548" y="15934"/>
                  </a:lnTo>
                  <a:cubicBezTo>
                    <a:pt x="17776" y="15934"/>
                    <a:pt x="17406" y="16321"/>
                    <a:pt x="17406" y="17089"/>
                  </a:cubicBezTo>
                  <a:lnTo>
                    <a:pt x="17406" y="55505"/>
                  </a:lnTo>
                  <a:cubicBezTo>
                    <a:pt x="17406" y="56279"/>
                    <a:pt x="17776" y="56653"/>
                    <a:pt x="18548" y="56653"/>
                  </a:cubicBezTo>
                  <a:lnTo>
                    <a:pt x="71698" y="56653"/>
                  </a:lnTo>
                  <a:cubicBezTo>
                    <a:pt x="72991" y="56653"/>
                    <a:pt x="73638" y="57295"/>
                    <a:pt x="73638" y="58575"/>
                  </a:cubicBezTo>
                  <a:lnTo>
                    <a:pt x="73638" y="70678"/>
                  </a:lnTo>
                  <a:cubicBezTo>
                    <a:pt x="73638" y="71970"/>
                    <a:pt x="72991" y="72607"/>
                    <a:pt x="71698" y="72607"/>
                  </a:cubicBezTo>
                  <a:lnTo>
                    <a:pt x="18548" y="72607"/>
                  </a:lnTo>
                  <a:cubicBezTo>
                    <a:pt x="17776" y="72607"/>
                    <a:pt x="17406" y="72987"/>
                    <a:pt x="17406" y="73755"/>
                  </a:cubicBezTo>
                  <a:lnTo>
                    <a:pt x="17406" y="113509"/>
                  </a:lnTo>
                  <a:cubicBezTo>
                    <a:pt x="17406" y="114276"/>
                    <a:pt x="17776" y="114670"/>
                    <a:pt x="18548" y="114670"/>
                  </a:cubicBezTo>
                  <a:lnTo>
                    <a:pt x="81170" y="114670"/>
                  </a:lnTo>
                  <a:cubicBezTo>
                    <a:pt x="82463" y="114670"/>
                    <a:pt x="83104" y="115306"/>
                    <a:pt x="83104" y="116592"/>
                  </a:cubicBezTo>
                  <a:lnTo>
                    <a:pt x="83104" y="128682"/>
                  </a:lnTo>
                  <a:cubicBezTo>
                    <a:pt x="83104" y="129961"/>
                    <a:pt x="82463" y="130604"/>
                    <a:pt x="81170" y="130604"/>
                  </a:cubicBezTo>
                  <a:lnTo>
                    <a:pt x="1947"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37" name="Freeform: Shape 36">
              <a:extLst>
                <a:ext uri="{FF2B5EF4-FFF2-40B4-BE49-F238E27FC236}">
                  <a16:creationId xmlns:a16="http://schemas.microsoft.com/office/drawing/2014/main" id="{D199A934-2EAB-42DE-8AE4-51276E955E12}"/>
                </a:ext>
              </a:extLst>
            </p:cNvPr>
            <p:cNvSpPr/>
            <p:nvPr/>
          </p:nvSpPr>
          <p:spPr>
            <a:xfrm>
              <a:off x="2330047" y="801424"/>
              <a:ext cx="17393" cy="130604"/>
            </a:xfrm>
            <a:custGeom>
              <a:avLst/>
              <a:gdLst>
                <a:gd name="connsiteX0" fmla="*/ 0 w 17393"/>
                <a:gd name="connsiteY0" fmla="*/ 1916 h 130604"/>
                <a:gd name="connsiteX1" fmla="*/ 1941 w 17393"/>
                <a:gd name="connsiteY1" fmla="*/ 0 h 130604"/>
                <a:gd name="connsiteX2" fmla="*/ 15426 w 17393"/>
                <a:gd name="connsiteY2" fmla="*/ 0 h 130604"/>
                <a:gd name="connsiteX3" fmla="*/ 17393 w 17393"/>
                <a:gd name="connsiteY3" fmla="*/ 1916 h 130604"/>
                <a:gd name="connsiteX4" fmla="*/ 17393 w 17393"/>
                <a:gd name="connsiteY4" fmla="*/ 128682 h 130604"/>
                <a:gd name="connsiteX5" fmla="*/ 15426 w 17393"/>
                <a:gd name="connsiteY5" fmla="*/ 130604 h 130604"/>
                <a:gd name="connsiteX6" fmla="*/ 1947 w 17393"/>
                <a:gd name="connsiteY6" fmla="*/ 130604 h 130604"/>
                <a:gd name="connsiteX7" fmla="*/ 0 w 17393"/>
                <a:gd name="connsiteY7" fmla="*/ 128682 h 130604"/>
                <a:gd name="connsiteX8" fmla="*/ 0 w 17393"/>
                <a:gd name="connsiteY8"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93" h="130604">
                  <a:moveTo>
                    <a:pt x="0" y="1916"/>
                  </a:moveTo>
                  <a:cubicBezTo>
                    <a:pt x="0" y="636"/>
                    <a:pt x="653" y="0"/>
                    <a:pt x="1941" y="0"/>
                  </a:cubicBezTo>
                  <a:lnTo>
                    <a:pt x="15426" y="0"/>
                  </a:lnTo>
                  <a:cubicBezTo>
                    <a:pt x="16746" y="0"/>
                    <a:pt x="17393" y="636"/>
                    <a:pt x="17393" y="1916"/>
                  </a:cubicBezTo>
                  <a:lnTo>
                    <a:pt x="17393" y="128682"/>
                  </a:lnTo>
                  <a:cubicBezTo>
                    <a:pt x="17393" y="129961"/>
                    <a:pt x="16740" y="130604"/>
                    <a:pt x="15426" y="130604"/>
                  </a:cubicBezTo>
                  <a:lnTo>
                    <a:pt x="1947"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38" name="Freeform: Shape 37">
              <a:extLst>
                <a:ext uri="{FF2B5EF4-FFF2-40B4-BE49-F238E27FC236}">
                  <a16:creationId xmlns:a16="http://schemas.microsoft.com/office/drawing/2014/main" id="{A2DE89DE-1A5D-46DE-8A3F-EF40512C05AC}"/>
                </a:ext>
              </a:extLst>
            </p:cNvPr>
            <p:cNvSpPr/>
            <p:nvPr/>
          </p:nvSpPr>
          <p:spPr>
            <a:xfrm>
              <a:off x="2381658" y="801424"/>
              <a:ext cx="93929" cy="130604"/>
            </a:xfrm>
            <a:custGeom>
              <a:avLst/>
              <a:gdLst>
                <a:gd name="connsiteX0" fmla="*/ 0 w 93929"/>
                <a:gd name="connsiteY0" fmla="*/ 1916 h 130604"/>
                <a:gd name="connsiteX1" fmla="*/ 1934 w 93929"/>
                <a:gd name="connsiteY1" fmla="*/ 0 h 130604"/>
                <a:gd name="connsiteX2" fmla="*/ 14310 w 93929"/>
                <a:gd name="connsiteY2" fmla="*/ 0 h 130604"/>
                <a:gd name="connsiteX3" fmla="*/ 17584 w 93929"/>
                <a:gd name="connsiteY3" fmla="*/ 1916 h 130604"/>
                <a:gd name="connsiteX4" fmla="*/ 77117 w 93929"/>
                <a:gd name="connsiteY4" fmla="*/ 99877 h 130604"/>
                <a:gd name="connsiteX5" fmla="*/ 77896 w 93929"/>
                <a:gd name="connsiteY5" fmla="*/ 99877 h 130604"/>
                <a:gd name="connsiteX6" fmla="*/ 77896 w 93929"/>
                <a:gd name="connsiteY6" fmla="*/ 1916 h 130604"/>
                <a:gd name="connsiteX7" fmla="*/ 79823 w 93929"/>
                <a:gd name="connsiteY7" fmla="*/ 0 h 130604"/>
                <a:gd name="connsiteX8" fmla="*/ 92008 w 93929"/>
                <a:gd name="connsiteY8" fmla="*/ 0 h 130604"/>
                <a:gd name="connsiteX9" fmla="*/ 93929 w 93929"/>
                <a:gd name="connsiteY9" fmla="*/ 1916 h 130604"/>
                <a:gd name="connsiteX10" fmla="*/ 93929 w 93929"/>
                <a:gd name="connsiteY10" fmla="*/ 128682 h 130604"/>
                <a:gd name="connsiteX11" fmla="*/ 92008 w 93929"/>
                <a:gd name="connsiteY11" fmla="*/ 130604 h 130604"/>
                <a:gd name="connsiteX12" fmla="*/ 79625 w 93929"/>
                <a:gd name="connsiteY12" fmla="*/ 130604 h 130604"/>
                <a:gd name="connsiteX13" fmla="*/ 76345 w 93929"/>
                <a:gd name="connsiteY13" fmla="*/ 128682 h 130604"/>
                <a:gd name="connsiteX14" fmla="*/ 16634 w 93929"/>
                <a:gd name="connsiteY14" fmla="*/ 31108 h 130604"/>
                <a:gd name="connsiteX15" fmla="*/ 16053 w 93929"/>
                <a:gd name="connsiteY15" fmla="*/ 31108 h 130604"/>
                <a:gd name="connsiteX16" fmla="*/ 16053 w 93929"/>
                <a:gd name="connsiteY16" fmla="*/ 128682 h 130604"/>
                <a:gd name="connsiteX17" fmla="*/ 14106 w 93929"/>
                <a:gd name="connsiteY17" fmla="*/ 130604 h 130604"/>
                <a:gd name="connsiteX18" fmla="*/ 1934 w 93929"/>
                <a:gd name="connsiteY18" fmla="*/ 130604 h 130604"/>
                <a:gd name="connsiteX19" fmla="*/ 0 w 93929"/>
                <a:gd name="connsiteY19" fmla="*/ 128682 h 130604"/>
                <a:gd name="connsiteX20" fmla="*/ 0 w 93929"/>
                <a:gd name="connsiteY20"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29" h="130604">
                  <a:moveTo>
                    <a:pt x="0" y="1916"/>
                  </a:moveTo>
                  <a:cubicBezTo>
                    <a:pt x="0" y="636"/>
                    <a:pt x="653" y="0"/>
                    <a:pt x="1934" y="0"/>
                  </a:cubicBezTo>
                  <a:lnTo>
                    <a:pt x="14310" y="0"/>
                  </a:lnTo>
                  <a:cubicBezTo>
                    <a:pt x="15855" y="0"/>
                    <a:pt x="16944" y="636"/>
                    <a:pt x="17584" y="1916"/>
                  </a:cubicBezTo>
                  <a:lnTo>
                    <a:pt x="77117" y="99877"/>
                  </a:lnTo>
                  <a:lnTo>
                    <a:pt x="77896" y="99877"/>
                  </a:lnTo>
                  <a:lnTo>
                    <a:pt x="77896" y="1916"/>
                  </a:lnTo>
                  <a:cubicBezTo>
                    <a:pt x="77896" y="636"/>
                    <a:pt x="78536" y="0"/>
                    <a:pt x="79823" y="0"/>
                  </a:cubicBezTo>
                  <a:lnTo>
                    <a:pt x="92008" y="0"/>
                  </a:lnTo>
                  <a:cubicBezTo>
                    <a:pt x="93276" y="0"/>
                    <a:pt x="93929" y="636"/>
                    <a:pt x="93929" y="1916"/>
                  </a:cubicBezTo>
                  <a:lnTo>
                    <a:pt x="93929" y="128682"/>
                  </a:lnTo>
                  <a:cubicBezTo>
                    <a:pt x="93929" y="129961"/>
                    <a:pt x="93276" y="130604"/>
                    <a:pt x="92008" y="130604"/>
                  </a:cubicBezTo>
                  <a:lnTo>
                    <a:pt x="79625" y="130604"/>
                  </a:lnTo>
                  <a:cubicBezTo>
                    <a:pt x="78074" y="130604"/>
                    <a:pt x="76985" y="129961"/>
                    <a:pt x="76345" y="128682"/>
                  </a:cubicBezTo>
                  <a:lnTo>
                    <a:pt x="16634" y="31108"/>
                  </a:lnTo>
                  <a:lnTo>
                    <a:pt x="16053" y="31108"/>
                  </a:lnTo>
                  <a:lnTo>
                    <a:pt x="16053" y="128682"/>
                  </a:lnTo>
                  <a:cubicBezTo>
                    <a:pt x="16053" y="129961"/>
                    <a:pt x="15400" y="130604"/>
                    <a:pt x="14106" y="130604"/>
                  </a:cubicBezTo>
                  <a:lnTo>
                    <a:pt x="1934"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grpSp>
      <p:grpSp>
        <p:nvGrpSpPr>
          <p:cNvPr id="39" name="Graphic 17">
            <a:extLst>
              <a:ext uri="{FF2B5EF4-FFF2-40B4-BE49-F238E27FC236}">
                <a16:creationId xmlns:a16="http://schemas.microsoft.com/office/drawing/2014/main" id="{3EE387EB-B7AE-4489-A7D4-733F515F8A9A}"/>
              </a:ext>
            </a:extLst>
          </p:cNvPr>
          <p:cNvGrpSpPr/>
          <p:nvPr/>
        </p:nvGrpSpPr>
        <p:grpSpPr>
          <a:xfrm>
            <a:off x="9426813" y="561452"/>
            <a:ext cx="2029688" cy="316256"/>
            <a:chOff x="9426813" y="561452"/>
            <a:chExt cx="2029688" cy="316256"/>
          </a:xfrm>
          <a:solidFill>
            <a:schemeClr val="bg1"/>
          </a:solidFill>
        </p:grpSpPr>
        <p:grpSp>
          <p:nvGrpSpPr>
            <p:cNvPr id="40" name="Graphic 17">
              <a:extLst>
                <a:ext uri="{FF2B5EF4-FFF2-40B4-BE49-F238E27FC236}">
                  <a16:creationId xmlns:a16="http://schemas.microsoft.com/office/drawing/2014/main" id="{0F1E0D50-FF0A-4649-AE24-C0ED72F3A151}"/>
                </a:ext>
              </a:extLst>
            </p:cNvPr>
            <p:cNvGrpSpPr/>
            <p:nvPr/>
          </p:nvGrpSpPr>
          <p:grpSpPr>
            <a:xfrm>
              <a:off x="9426813" y="561452"/>
              <a:ext cx="747774" cy="316256"/>
              <a:chOff x="9426813" y="561452"/>
              <a:chExt cx="747774" cy="316256"/>
            </a:xfrm>
            <a:solidFill>
              <a:schemeClr val="bg1"/>
            </a:solidFill>
          </p:grpSpPr>
          <p:sp>
            <p:nvSpPr>
              <p:cNvPr id="41" name="Freeform: Shape 40">
                <a:extLst>
                  <a:ext uri="{FF2B5EF4-FFF2-40B4-BE49-F238E27FC236}">
                    <a16:creationId xmlns:a16="http://schemas.microsoft.com/office/drawing/2014/main" id="{CD314778-936D-42A0-83C6-84F5F958A036}"/>
                  </a:ext>
                </a:extLst>
              </p:cNvPr>
              <p:cNvSpPr/>
              <p:nvPr/>
            </p:nvSpPr>
            <p:spPr>
              <a:xfrm>
                <a:off x="9426813" y="593115"/>
                <a:ext cx="209869" cy="252930"/>
              </a:xfrm>
              <a:custGeom>
                <a:avLst/>
                <a:gdLst>
                  <a:gd name="connsiteX0" fmla="*/ 145594 w 209869"/>
                  <a:gd name="connsiteY0" fmla="*/ 163695 h 252930"/>
                  <a:gd name="connsiteX1" fmla="*/ 105519 w 209869"/>
                  <a:gd name="connsiteY1" fmla="*/ 48779 h 252930"/>
                  <a:gd name="connsiteX2" fmla="*/ 104747 w 209869"/>
                  <a:gd name="connsiteY2" fmla="*/ 48779 h 252930"/>
                  <a:gd name="connsiteX3" fmla="*/ 64333 w 209869"/>
                  <a:gd name="connsiteY3" fmla="*/ 163695 h 252930"/>
                  <a:gd name="connsiteX4" fmla="*/ 88659 w 209869"/>
                  <a:gd name="connsiteY4" fmla="*/ 3752 h 252930"/>
                  <a:gd name="connsiteX5" fmla="*/ 93166 w 209869"/>
                  <a:gd name="connsiteY5" fmla="*/ 37 h 252930"/>
                  <a:gd name="connsiteX6" fmla="*/ 117493 w 209869"/>
                  <a:gd name="connsiteY6" fmla="*/ 37 h 252930"/>
                  <a:gd name="connsiteX7" fmla="*/ 122373 w 209869"/>
                  <a:gd name="connsiteY7" fmla="*/ 3752 h 252930"/>
                  <a:gd name="connsiteX8" fmla="*/ 209621 w 209869"/>
                  <a:gd name="connsiteY8" fmla="*/ 249211 h 252930"/>
                  <a:gd name="connsiteX9" fmla="*/ 207003 w 209869"/>
                  <a:gd name="connsiteY9" fmla="*/ 252953 h 252930"/>
                  <a:gd name="connsiteX10" fmla="*/ 180788 w 209869"/>
                  <a:gd name="connsiteY10" fmla="*/ 252953 h 252930"/>
                  <a:gd name="connsiteX11" fmla="*/ 175925 w 209869"/>
                  <a:gd name="connsiteY11" fmla="*/ 249211 h 252930"/>
                  <a:gd name="connsiteX12" fmla="*/ 156432 w 209869"/>
                  <a:gd name="connsiteY12" fmla="*/ 194187 h 252930"/>
                  <a:gd name="connsiteX13" fmla="*/ 53465 w 209869"/>
                  <a:gd name="connsiteY13" fmla="*/ 194187 h 252930"/>
                  <a:gd name="connsiteX14" fmla="*/ 33984 w 209869"/>
                  <a:gd name="connsiteY14" fmla="*/ 249211 h 252930"/>
                  <a:gd name="connsiteX15" fmla="*/ 29103 w 209869"/>
                  <a:gd name="connsiteY15" fmla="*/ 252953 h 252930"/>
                  <a:gd name="connsiteX16" fmla="*/ 2889 w 209869"/>
                  <a:gd name="connsiteY16" fmla="*/ 252953 h 252930"/>
                  <a:gd name="connsiteX17" fmla="*/ 270 w 209869"/>
                  <a:gd name="connsiteY17" fmla="*/ 249211 h 25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9869" h="252930">
                    <a:moveTo>
                      <a:pt x="145594" y="163695"/>
                    </a:moveTo>
                    <a:lnTo>
                      <a:pt x="105519" y="48779"/>
                    </a:lnTo>
                    <a:lnTo>
                      <a:pt x="104747" y="48779"/>
                    </a:lnTo>
                    <a:lnTo>
                      <a:pt x="64333" y="163695"/>
                    </a:lnTo>
                    <a:close/>
                    <a:moveTo>
                      <a:pt x="88659" y="3752"/>
                    </a:moveTo>
                    <a:cubicBezTo>
                      <a:pt x="89038" y="1571"/>
                      <a:pt x="90952" y="-8"/>
                      <a:pt x="93166" y="37"/>
                    </a:cubicBezTo>
                    <a:lnTo>
                      <a:pt x="117493" y="37"/>
                    </a:lnTo>
                    <a:cubicBezTo>
                      <a:pt x="119807" y="-79"/>
                      <a:pt x="121869" y="1490"/>
                      <a:pt x="122373" y="3752"/>
                    </a:cubicBezTo>
                    <a:lnTo>
                      <a:pt x="209621" y="249211"/>
                    </a:lnTo>
                    <a:cubicBezTo>
                      <a:pt x="210385" y="251693"/>
                      <a:pt x="209494" y="252953"/>
                      <a:pt x="207003" y="252953"/>
                    </a:cubicBezTo>
                    <a:lnTo>
                      <a:pt x="180788" y="252953"/>
                    </a:lnTo>
                    <a:cubicBezTo>
                      <a:pt x="178462" y="253091"/>
                      <a:pt x="176388" y="251495"/>
                      <a:pt x="175925" y="249211"/>
                    </a:cubicBezTo>
                    <a:lnTo>
                      <a:pt x="156432" y="194187"/>
                    </a:lnTo>
                    <a:lnTo>
                      <a:pt x="53465" y="194187"/>
                    </a:lnTo>
                    <a:lnTo>
                      <a:pt x="33984" y="249211"/>
                    </a:lnTo>
                    <a:cubicBezTo>
                      <a:pt x="33377" y="251410"/>
                      <a:pt x="31384" y="252938"/>
                      <a:pt x="29103" y="252953"/>
                    </a:cubicBezTo>
                    <a:lnTo>
                      <a:pt x="2889" y="252953"/>
                    </a:lnTo>
                    <a:cubicBezTo>
                      <a:pt x="389" y="252953"/>
                      <a:pt x="-461" y="251696"/>
                      <a:pt x="270" y="249211"/>
                    </a:cubicBezTo>
                    <a:close/>
                  </a:path>
                </a:pathLst>
              </a:custGeom>
              <a:solidFill>
                <a:schemeClr val="bg1"/>
              </a:solidFill>
              <a:ln w="2965" cap="flat">
                <a:noFill/>
                <a:prstDash val="solid"/>
                <a:miter/>
              </a:ln>
            </p:spPr>
            <p:txBody>
              <a:bodyPr rtlCol="0" anchor="ctr"/>
              <a:lstStyle/>
              <a:p>
                <a:endParaRPr lang="de-DE"/>
              </a:p>
            </p:txBody>
          </p:sp>
          <p:sp>
            <p:nvSpPr>
              <p:cNvPr id="42" name="Freeform: Shape 41">
                <a:extLst>
                  <a:ext uri="{FF2B5EF4-FFF2-40B4-BE49-F238E27FC236}">
                    <a16:creationId xmlns:a16="http://schemas.microsoft.com/office/drawing/2014/main" id="{02D04EDB-7404-47D3-9A1A-B97396102D6D}"/>
                  </a:ext>
                </a:extLst>
              </p:cNvPr>
              <p:cNvSpPr/>
              <p:nvPr/>
            </p:nvSpPr>
            <p:spPr>
              <a:xfrm>
                <a:off x="9663092" y="589054"/>
                <a:ext cx="183802" cy="261084"/>
              </a:xfrm>
              <a:custGeom>
                <a:avLst/>
                <a:gdLst>
                  <a:gd name="connsiteX0" fmla="*/ 91025 w 183802"/>
                  <a:gd name="connsiteY0" fmla="*/ 261108 h 261084"/>
                  <a:gd name="connsiteX1" fmla="*/ 64419 w 183802"/>
                  <a:gd name="connsiteY1" fmla="*/ 258507 h 261084"/>
                  <a:gd name="connsiteX2" fmla="*/ 39717 w 183802"/>
                  <a:gd name="connsiteY2" fmla="*/ 251638 h 261084"/>
                  <a:gd name="connsiteX3" fmla="*/ 18393 w 183802"/>
                  <a:gd name="connsiteY3" fmla="*/ 241588 h 261084"/>
                  <a:gd name="connsiteX4" fmla="*/ 1515 w 183802"/>
                  <a:gd name="connsiteY4" fmla="*/ 229496 h 261084"/>
                  <a:gd name="connsiteX5" fmla="*/ 922 w 183802"/>
                  <a:gd name="connsiteY5" fmla="*/ 224161 h 261084"/>
                  <a:gd name="connsiteX6" fmla="*/ 1141 w 183802"/>
                  <a:gd name="connsiteY6" fmla="*/ 223911 h 261084"/>
                  <a:gd name="connsiteX7" fmla="*/ 17602 w 183802"/>
                  <a:gd name="connsiteY7" fmla="*/ 204590 h 261084"/>
                  <a:gd name="connsiteX8" fmla="*/ 22373 w 183802"/>
                  <a:gd name="connsiteY8" fmla="*/ 203811 h 261084"/>
                  <a:gd name="connsiteX9" fmla="*/ 22840 w 183802"/>
                  <a:gd name="connsiteY9" fmla="*/ 204215 h 261084"/>
                  <a:gd name="connsiteX10" fmla="*/ 53569 w 183802"/>
                  <a:gd name="connsiteY10" fmla="*/ 222050 h 261084"/>
                  <a:gd name="connsiteX11" fmla="*/ 93998 w 183802"/>
                  <a:gd name="connsiteY11" fmla="*/ 230233 h 261084"/>
                  <a:gd name="connsiteX12" fmla="*/ 135390 w 183802"/>
                  <a:gd name="connsiteY12" fmla="*/ 218343 h 261084"/>
                  <a:gd name="connsiteX13" fmla="*/ 150178 w 183802"/>
                  <a:gd name="connsiteY13" fmla="*/ 187100 h 261084"/>
                  <a:gd name="connsiteX14" fmla="*/ 147577 w 183802"/>
                  <a:gd name="connsiteY14" fmla="*/ 172219 h 261084"/>
                  <a:gd name="connsiteX15" fmla="*/ 138760 w 183802"/>
                  <a:gd name="connsiteY15" fmla="*/ 160329 h 261084"/>
                  <a:gd name="connsiteX16" fmla="*/ 122468 w 183802"/>
                  <a:gd name="connsiteY16" fmla="*/ 151412 h 261084"/>
                  <a:gd name="connsiteX17" fmla="*/ 97018 w 183802"/>
                  <a:gd name="connsiteY17" fmla="*/ 145850 h 261084"/>
                  <a:gd name="connsiteX18" fmla="*/ 84281 w 183802"/>
                  <a:gd name="connsiteY18" fmla="*/ 143972 h 261084"/>
                  <a:gd name="connsiteX19" fmla="*/ 9362 w 183802"/>
                  <a:gd name="connsiteY19" fmla="*/ 74065 h 261084"/>
                  <a:gd name="connsiteX20" fmla="*/ 15180 w 183802"/>
                  <a:gd name="connsiteY20" fmla="*/ 43553 h 261084"/>
                  <a:gd name="connsiteX21" fmla="*/ 31855 w 183802"/>
                  <a:gd name="connsiteY21" fmla="*/ 20127 h 261084"/>
                  <a:gd name="connsiteX22" fmla="*/ 58069 w 183802"/>
                  <a:gd name="connsiteY22" fmla="*/ 5237 h 261084"/>
                  <a:gd name="connsiteX23" fmla="*/ 92512 w 183802"/>
                  <a:gd name="connsiteY23" fmla="*/ 50 h 261084"/>
                  <a:gd name="connsiteX24" fmla="*/ 135401 w 183802"/>
                  <a:gd name="connsiteY24" fmla="*/ 6545 h 261084"/>
                  <a:gd name="connsiteX25" fmla="*/ 170007 w 183802"/>
                  <a:gd name="connsiteY25" fmla="*/ 23488 h 261084"/>
                  <a:gd name="connsiteX26" fmla="*/ 171352 w 183802"/>
                  <a:gd name="connsiteY26" fmla="*/ 27913 h 261084"/>
                  <a:gd name="connsiteX27" fmla="*/ 170780 w 183802"/>
                  <a:gd name="connsiteY27" fmla="*/ 28684 h 261084"/>
                  <a:gd name="connsiteX28" fmla="*/ 158034 w 183802"/>
                  <a:gd name="connsiteY28" fmla="*/ 49135 h 261084"/>
                  <a:gd name="connsiteX29" fmla="*/ 152936 w 183802"/>
                  <a:gd name="connsiteY29" fmla="*/ 49997 h 261084"/>
                  <a:gd name="connsiteX30" fmla="*/ 152796 w 183802"/>
                  <a:gd name="connsiteY30" fmla="*/ 49893 h 261084"/>
                  <a:gd name="connsiteX31" fmla="*/ 122477 w 183802"/>
                  <a:gd name="connsiteY31" fmla="*/ 35575 h 261084"/>
                  <a:gd name="connsiteX32" fmla="*/ 91415 w 183802"/>
                  <a:gd name="connsiteY32" fmla="*/ 30932 h 261084"/>
                  <a:gd name="connsiteX33" fmla="*/ 55448 w 183802"/>
                  <a:gd name="connsiteY33" fmla="*/ 42266 h 261084"/>
                  <a:gd name="connsiteX34" fmla="*/ 43085 w 183802"/>
                  <a:gd name="connsiteY34" fmla="*/ 71815 h 261084"/>
                  <a:gd name="connsiteX35" fmla="*/ 55058 w 183802"/>
                  <a:gd name="connsiteY35" fmla="*/ 98047 h 261084"/>
                  <a:gd name="connsiteX36" fmla="*/ 96628 w 183802"/>
                  <a:gd name="connsiteY36" fmla="*/ 112366 h 261084"/>
                  <a:gd name="connsiteX37" fmla="*/ 109000 w 183802"/>
                  <a:gd name="connsiteY37" fmla="*/ 114211 h 261084"/>
                  <a:gd name="connsiteX38" fmla="*/ 165162 w 183802"/>
                  <a:gd name="connsiteY38" fmla="*/ 136505 h 261084"/>
                  <a:gd name="connsiteX39" fmla="*/ 183888 w 183802"/>
                  <a:gd name="connsiteY39" fmla="*/ 184870 h 261084"/>
                  <a:gd name="connsiteX40" fmla="*/ 178095 w 183802"/>
                  <a:gd name="connsiteY40" fmla="*/ 215555 h 261084"/>
                  <a:gd name="connsiteX41" fmla="*/ 160468 w 183802"/>
                  <a:gd name="connsiteY41" fmla="*/ 239543 h 261084"/>
                  <a:gd name="connsiteX42" fmla="*/ 131287 w 183802"/>
                  <a:gd name="connsiteY42" fmla="*/ 255324 h 261084"/>
                  <a:gd name="connsiteX43" fmla="*/ 91025 w 183802"/>
                  <a:gd name="connsiteY43" fmla="*/ 261108 h 26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3802" h="261084">
                    <a:moveTo>
                      <a:pt x="91025" y="261108"/>
                    </a:moveTo>
                    <a:cubicBezTo>
                      <a:pt x="82093" y="261111"/>
                      <a:pt x="73181" y="260239"/>
                      <a:pt x="64419" y="258507"/>
                    </a:cubicBezTo>
                    <a:cubicBezTo>
                      <a:pt x="56021" y="256856"/>
                      <a:pt x="47762" y="254559"/>
                      <a:pt x="39717" y="251638"/>
                    </a:cubicBezTo>
                    <a:cubicBezTo>
                      <a:pt x="32314" y="248954"/>
                      <a:pt x="25175" y="245589"/>
                      <a:pt x="18393" y="241588"/>
                    </a:cubicBezTo>
                    <a:cubicBezTo>
                      <a:pt x="12384" y="238121"/>
                      <a:pt x="6731" y="234071"/>
                      <a:pt x="1515" y="229496"/>
                    </a:cubicBezTo>
                    <a:cubicBezTo>
                      <a:pt x="-122" y="228186"/>
                      <a:pt x="-388" y="225798"/>
                      <a:pt x="922" y="224161"/>
                    </a:cubicBezTo>
                    <a:cubicBezTo>
                      <a:pt x="991" y="224074"/>
                      <a:pt x="1064" y="223991"/>
                      <a:pt x="1141" y="223911"/>
                    </a:cubicBezTo>
                    <a:lnTo>
                      <a:pt x="17602" y="204590"/>
                    </a:lnTo>
                    <a:cubicBezTo>
                      <a:pt x="18705" y="203057"/>
                      <a:pt x="20841" y="202708"/>
                      <a:pt x="22373" y="203811"/>
                    </a:cubicBezTo>
                    <a:cubicBezTo>
                      <a:pt x="22541" y="203931"/>
                      <a:pt x="22697" y="204066"/>
                      <a:pt x="22840" y="204215"/>
                    </a:cubicBezTo>
                    <a:cubicBezTo>
                      <a:pt x="32319" y="211389"/>
                      <a:pt x="42638" y="217378"/>
                      <a:pt x="53569" y="222050"/>
                    </a:cubicBezTo>
                    <a:cubicBezTo>
                      <a:pt x="66312" y="227614"/>
                      <a:pt x="80094" y="230403"/>
                      <a:pt x="93998" y="230233"/>
                    </a:cubicBezTo>
                    <a:cubicBezTo>
                      <a:pt x="111710" y="230233"/>
                      <a:pt x="125507" y="226270"/>
                      <a:pt x="135390" y="218343"/>
                    </a:cubicBezTo>
                    <a:cubicBezTo>
                      <a:pt x="145024" y="210886"/>
                      <a:pt x="150519" y="199278"/>
                      <a:pt x="150178" y="187100"/>
                    </a:cubicBezTo>
                    <a:cubicBezTo>
                      <a:pt x="150238" y="182021"/>
                      <a:pt x="149356" y="176976"/>
                      <a:pt x="147577" y="172219"/>
                    </a:cubicBezTo>
                    <a:cubicBezTo>
                      <a:pt x="145662" y="167591"/>
                      <a:pt x="142633" y="163506"/>
                      <a:pt x="138760" y="160329"/>
                    </a:cubicBezTo>
                    <a:cubicBezTo>
                      <a:pt x="133876" y="156453"/>
                      <a:pt x="128366" y="153437"/>
                      <a:pt x="122468" y="151412"/>
                    </a:cubicBezTo>
                    <a:cubicBezTo>
                      <a:pt x="114221" y="148605"/>
                      <a:pt x="105684" y="146740"/>
                      <a:pt x="97018" y="145850"/>
                    </a:cubicBezTo>
                    <a:lnTo>
                      <a:pt x="84281" y="143972"/>
                    </a:lnTo>
                    <a:cubicBezTo>
                      <a:pt x="34353" y="137276"/>
                      <a:pt x="9380" y="113974"/>
                      <a:pt x="9362" y="74065"/>
                    </a:cubicBezTo>
                    <a:cubicBezTo>
                      <a:pt x="9220" y="63606"/>
                      <a:pt x="11199" y="53226"/>
                      <a:pt x="15180" y="43553"/>
                    </a:cubicBezTo>
                    <a:cubicBezTo>
                      <a:pt x="18901" y="34587"/>
                      <a:pt x="24602" y="26578"/>
                      <a:pt x="31855" y="20127"/>
                    </a:cubicBezTo>
                    <a:cubicBezTo>
                      <a:pt x="39496" y="13442"/>
                      <a:pt x="48414" y="8377"/>
                      <a:pt x="58069" y="5237"/>
                    </a:cubicBezTo>
                    <a:cubicBezTo>
                      <a:pt x="69191" y="1646"/>
                      <a:pt x="80825" y="-106"/>
                      <a:pt x="92512" y="50"/>
                    </a:cubicBezTo>
                    <a:cubicBezTo>
                      <a:pt x="107058" y="-10"/>
                      <a:pt x="121525" y="2181"/>
                      <a:pt x="135401" y="6545"/>
                    </a:cubicBezTo>
                    <a:cubicBezTo>
                      <a:pt x="147774" y="10291"/>
                      <a:pt x="159460" y="16013"/>
                      <a:pt x="170007" y="23488"/>
                    </a:cubicBezTo>
                    <a:cubicBezTo>
                      <a:pt x="171600" y="24339"/>
                      <a:pt x="172202" y="26320"/>
                      <a:pt x="171352" y="27913"/>
                    </a:cubicBezTo>
                    <a:cubicBezTo>
                      <a:pt x="171200" y="28197"/>
                      <a:pt x="171007" y="28457"/>
                      <a:pt x="170780" y="28684"/>
                    </a:cubicBezTo>
                    <a:lnTo>
                      <a:pt x="158034" y="49135"/>
                    </a:lnTo>
                    <a:cubicBezTo>
                      <a:pt x="156864" y="50781"/>
                      <a:pt x="154582" y="51167"/>
                      <a:pt x="152936" y="49997"/>
                    </a:cubicBezTo>
                    <a:cubicBezTo>
                      <a:pt x="152888" y="49963"/>
                      <a:pt x="152842" y="49929"/>
                      <a:pt x="152796" y="49893"/>
                    </a:cubicBezTo>
                    <a:cubicBezTo>
                      <a:pt x="143314" y="43897"/>
                      <a:pt x="133131" y="39089"/>
                      <a:pt x="122477" y="35575"/>
                    </a:cubicBezTo>
                    <a:cubicBezTo>
                      <a:pt x="112425" y="32433"/>
                      <a:pt x="101946" y="30867"/>
                      <a:pt x="91415" y="30932"/>
                    </a:cubicBezTo>
                    <a:cubicBezTo>
                      <a:pt x="75658" y="30932"/>
                      <a:pt x="63670" y="34710"/>
                      <a:pt x="55448" y="42266"/>
                    </a:cubicBezTo>
                    <a:cubicBezTo>
                      <a:pt x="47206" y="49835"/>
                      <a:pt x="42689" y="60632"/>
                      <a:pt x="43085" y="71815"/>
                    </a:cubicBezTo>
                    <a:cubicBezTo>
                      <a:pt x="42826" y="81936"/>
                      <a:pt x="47243" y="91612"/>
                      <a:pt x="55058" y="98047"/>
                    </a:cubicBezTo>
                    <a:cubicBezTo>
                      <a:pt x="63034" y="104848"/>
                      <a:pt x="76891" y="109621"/>
                      <a:pt x="96628" y="112366"/>
                    </a:cubicBezTo>
                    <a:lnTo>
                      <a:pt x="109000" y="114211"/>
                    </a:lnTo>
                    <a:cubicBezTo>
                      <a:pt x="133939" y="117681"/>
                      <a:pt x="152660" y="125112"/>
                      <a:pt x="165162" y="136505"/>
                    </a:cubicBezTo>
                    <a:cubicBezTo>
                      <a:pt x="177664" y="147898"/>
                      <a:pt x="183906" y="164019"/>
                      <a:pt x="183888" y="184870"/>
                    </a:cubicBezTo>
                    <a:cubicBezTo>
                      <a:pt x="184003" y="195381"/>
                      <a:pt x="182034" y="205810"/>
                      <a:pt x="178095" y="215555"/>
                    </a:cubicBezTo>
                    <a:cubicBezTo>
                      <a:pt x="174222" y="224845"/>
                      <a:pt x="168177" y="233071"/>
                      <a:pt x="160468" y="239543"/>
                    </a:cubicBezTo>
                    <a:cubicBezTo>
                      <a:pt x="151855" y="246643"/>
                      <a:pt x="141944" y="252002"/>
                      <a:pt x="131287" y="255324"/>
                    </a:cubicBezTo>
                    <a:cubicBezTo>
                      <a:pt x="118260" y="259380"/>
                      <a:pt x="104668" y="261333"/>
                      <a:pt x="91025" y="261108"/>
                    </a:cubicBezTo>
                  </a:path>
                </a:pathLst>
              </a:custGeom>
              <a:solidFill>
                <a:schemeClr val="bg1"/>
              </a:solidFill>
              <a:ln w="2965" cap="flat">
                <a:noFill/>
                <a:prstDash val="solid"/>
                <a:miter/>
              </a:ln>
            </p:spPr>
            <p:txBody>
              <a:bodyPr rtlCol="0" anchor="ctr"/>
              <a:lstStyle/>
              <a:p>
                <a:endParaRPr lang="de-DE"/>
              </a:p>
            </p:txBody>
          </p:sp>
          <p:sp>
            <p:nvSpPr>
              <p:cNvPr id="43" name="Freeform: Shape 42">
                <a:extLst>
                  <a:ext uri="{FF2B5EF4-FFF2-40B4-BE49-F238E27FC236}">
                    <a16:creationId xmlns:a16="http://schemas.microsoft.com/office/drawing/2014/main" id="{EB1AB598-8BAE-431A-9F6F-DBE492D2018D}"/>
                  </a:ext>
                </a:extLst>
              </p:cNvPr>
              <p:cNvSpPr/>
              <p:nvPr/>
            </p:nvSpPr>
            <p:spPr>
              <a:xfrm>
                <a:off x="9898160" y="593103"/>
                <a:ext cx="179430" cy="252966"/>
              </a:xfrm>
              <a:custGeom>
                <a:avLst/>
                <a:gdLst>
                  <a:gd name="connsiteX0" fmla="*/ 33876 w 179430"/>
                  <a:gd name="connsiteY0" fmla="*/ 219859 h 252966"/>
                  <a:gd name="connsiteX1" fmla="*/ 35607 w 179430"/>
                  <a:gd name="connsiteY1" fmla="*/ 222107 h 252966"/>
                  <a:gd name="connsiteX2" fmla="*/ 36156 w 179430"/>
                  <a:gd name="connsiteY2" fmla="*/ 222103 h 252966"/>
                  <a:gd name="connsiteX3" fmla="*/ 82824 w 179430"/>
                  <a:gd name="connsiteY3" fmla="*/ 222103 h 252966"/>
                  <a:gd name="connsiteX4" fmla="*/ 120134 w 179430"/>
                  <a:gd name="connsiteY4" fmla="*/ 214110 h 252966"/>
                  <a:gd name="connsiteX5" fmla="*/ 140644 w 179430"/>
                  <a:gd name="connsiteY5" fmla="*/ 187512 h 252966"/>
                  <a:gd name="connsiteX6" fmla="*/ 142871 w 179430"/>
                  <a:gd name="connsiteY6" fmla="*/ 179698 h 252966"/>
                  <a:gd name="connsiteX7" fmla="*/ 144571 w 179430"/>
                  <a:gd name="connsiteY7" fmla="*/ 168355 h 252966"/>
                  <a:gd name="connsiteX8" fmla="*/ 145489 w 179430"/>
                  <a:gd name="connsiteY8" fmla="*/ 151441 h 252966"/>
                  <a:gd name="connsiteX9" fmla="*/ 145882 w 179430"/>
                  <a:gd name="connsiteY9" fmla="*/ 126529 h 252966"/>
                  <a:gd name="connsiteX10" fmla="*/ 145489 w 179430"/>
                  <a:gd name="connsiteY10" fmla="*/ 101599 h 252966"/>
                  <a:gd name="connsiteX11" fmla="*/ 144571 w 179430"/>
                  <a:gd name="connsiteY11" fmla="*/ 84676 h 252966"/>
                  <a:gd name="connsiteX12" fmla="*/ 142865 w 179430"/>
                  <a:gd name="connsiteY12" fmla="*/ 73339 h 252966"/>
                  <a:gd name="connsiteX13" fmla="*/ 140638 w 179430"/>
                  <a:gd name="connsiteY13" fmla="*/ 65525 h 252966"/>
                  <a:gd name="connsiteX14" fmla="*/ 120128 w 179430"/>
                  <a:gd name="connsiteY14" fmla="*/ 38927 h 252966"/>
                  <a:gd name="connsiteX15" fmla="*/ 82818 w 179430"/>
                  <a:gd name="connsiteY15" fmla="*/ 30934 h 252966"/>
                  <a:gd name="connsiteX16" fmla="*/ 36153 w 179430"/>
                  <a:gd name="connsiteY16" fmla="*/ 30934 h 252966"/>
                  <a:gd name="connsiteX17" fmla="*/ 33877 w 179430"/>
                  <a:gd name="connsiteY17" fmla="*/ 32636 h 252966"/>
                  <a:gd name="connsiteX18" fmla="*/ 33873 w 179430"/>
                  <a:gd name="connsiteY18" fmla="*/ 33178 h 252966"/>
                  <a:gd name="connsiteX19" fmla="*/ 195 w 179430"/>
                  <a:gd name="connsiteY19" fmla="*/ 3783 h 252966"/>
                  <a:gd name="connsiteX20" fmla="*/ 2998 w 179430"/>
                  <a:gd name="connsiteY20" fmla="*/ 69 h 252966"/>
                  <a:gd name="connsiteX21" fmla="*/ 3943 w 179430"/>
                  <a:gd name="connsiteY21" fmla="*/ 74 h 252966"/>
                  <a:gd name="connsiteX22" fmla="*/ 89705 w 179430"/>
                  <a:gd name="connsiteY22" fmla="*/ 74 h 252966"/>
                  <a:gd name="connsiteX23" fmla="*/ 172821 w 179430"/>
                  <a:gd name="connsiteY23" fmla="*/ 54001 h 252966"/>
                  <a:gd name="connsiteX24" fmla="*/ 175669 w 179430"/>
                  <a:gd name="connsiteY24" fmla="*/ 64782 h 252966"/>
                  <a:gd name="connsiteX25" fmla="*/ 177889 w 179430"/>
                  <a:gd name="connsiteY25" fmla="*/ 78538 h 252966"/>
                  <a:gd name="connsiteX26" fmla="*/ 179200 w 179430"/>
                  <a:gd name="connsiteY26" fmla="*/ 98249 h 252966"/>
                  <a:gd name="connsiteX27" fmla="*/ 179593 w 179430"/>
                  <a:gd name="connsiteY27" fmla="*/ 126529 h 252966"/>
                  <a:gd name="connsiteX28" fmla="*/ 179200 w 179430"/>
                  <a:gd name="connsiteY28" fmla="*/ 154794 h 252966"/>
                  <a:gd name="connsiteX29" fmla="*/ 177889 w 179430"/>
                  <a:gd name="connsiteY29" fmla="*/ 174505 h 252966"/>
                  <a:gd name="connsiteX30" fmla="*/ 175669 w 179430"/>
                  <a:gd name="connsiteY30" fmla="*/ 188270 h 252966"/>
                  <a:gd name="connsiteX31" fmla="*/ 172821 w 179430"/>
                  <a:gd name="connsiteY31" fmla="*/ 199043 h 252966"/>
                  <a:gd name="connsiteX32" fmla="*/ 89705 w 179430"/>
                  <a:gd name="connsiteY32" fmla="*/ 252969 h 252966"/>
                  <a:gd name="connsiteX33" fmla="*/ 3943 w 179430"/>
                  <a:gd name="connsiteY33" fmla="*/ 252969 h 252966"/>
                  <a:gd name="connsiteX34" fmla="*/ 201 w 179430"/>
                  <a:gd name="connsiteY34" fmla="*/ 250175 h 252966"/>
                  <a:gd name="connsiteX35" fmla="*/ 201 w 179430"/>
                  <a:gd name="connsiteY35" fmla="*/ 249227 h 25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79430" h="252966">
                    <a:moveTo>
                      <a:pt x="33876" y="219859"/>
                    </a:moveTo>
                    <a:cubicBezTo>
                      <a:pt x="33733" y="220958"/>
                      <a:pt x="34508" y="221965"/>
                      <a:pt x="35607" y="222107"/>
                    </a:cubicBezTo>
                    <a:cubicBezTo>
                      <a:pt x="35789" y="222131"/>
                      <a:pt x="35974" y="222129"/>
                      <a:pt x="36156" y="222103"/>
                    </a:cubicBezTo>
                    <a:lnTo>
                      <a:pt x="82824" y="222103"/>
                    </a:lnTo>
                    <a:cubicBezTo>
                      <a:pt x="98221" y="222103"/>
                      <a:pt x="110697" y="219428"/>
                      <a:pt x="120134" y="214110"/>
                    </a:cubicBezTo>
                    <a:cubicBezTo>
                      <a:pt x="129572" y="208792"/>
                      <a:pt x="136408" y="199911"/>
                      <a:pt x="140644" y="187512"/>
                    </a:cubicBezTo>
                    <a:cubicBezTo>
                      <a:pt x="141408" y="185277"/>
                      <a:pt x="142098" y="182682"/>
                      <a:pt x="142871" y="179698"/>
                    </a:cubicBezTo>
                    <a:cubicBezTo>
                      <a:pt x="143742" y="175969"/>
                      <a:pt x="144310" y="172175"/>
                      <a:pt x="144571" y="168355"/>
                    </a:cubicBezTo>
                    <a:cubicBezTo>
                      <a:pt x="144945" y="163781"/>
                      <a:pt x="145252" y="158143"/>
                      <a:pt x="145489" y="151441"/>
                    </a:cubicBezTo>
                    <a:cubicBezTo>
                      <a:pt x="145718" y="144732"/>
                      <a:pt x="145882" y="136433"/>
                      <a:pt x="145882" y="126529"/>
                    </a:cubicBezTo>
                    <a:cubicBezTo>
                      <a:pt x="145882" y="116625"/>
                      <a:pt x="145721" y="108308"/>
                      <a:pt x="145489" y="101599"/>
                    </a:cubicBezTo>
                    <a:cubicBezTo>
                      <a:pt x="145258" y="94890"/>
                      <a:pt x="144945" y="89269"/>
                      <a:pt x="144571" y="84676"/>
                    </a:cubicBezTo>
                    <a:cubicBezTo>
                      <a:pt x="144308" y="80858"/>
                      <a:pt x="143737" y="77066"/>
                      <a:pt x="142865" y="73339"/>
                    </a:cubicBezTo>
                    <a:cubicBezTo>
                      <a:pt x="142092" y="70367"/>
                      <a:pt x="141402" y="67760"/>
                      <a:pt x="140638" y="65525"/>
                    </a:cubicBezTo>
                    <a:cubicBezTo>
                      <a:pt x="136396" y="53128"/>
                      <a:pt x="129559" y="44262"/>
                      <a:pt x="120128" y="38927"/>
                    </a:cubicBezTo>
                    <a:cubicBezTo>
                      <a:pt x="110691" y="33594"/>
                      <a:pt x="98215" y="30934"/>
                      <a:pt x="82818" y="30934"/>
                    </a:cubicBezTo>
                    <a:lnTo>
                      <a:pt x="36153" y="30934"/>
                    </a:lnTo>
                    <a:cubicBezTo>
                      <a:pt x="35054" y="30776"/>
                      <a:pt x="34035" y="31538"/>
                      <a:pt x="33877" y="32636"/>
                    </a:cubicBezTo>
                    <a:cubicBezTo>
                      <a:pt x="33851" y="32816"/>
                      <a:pt x="33850" y="32998"/>
                      <a:pt x="33873" y="33178"/>
                    </a:cubicBezTo>
                    <a:close/>
                    <a:moveTo>
                      <a:pt x="195" y="3783"/>
                    </a:moveTo>
                    <a:cubicBezTo>
                      <a:pt x="-57" y="1984"/>
                      <a:pt x="1198" y="321"/>
                      <a:pt x="2998" y="69"/>
                    </a:cubicBezTo>
                    <a:cubicBezTo>
                      <a:pt x="3311" y="25"/>
                      <a:pt x="3630" y="27"/>
                      <a:pt x="3943" y="74"/>
                    </a:cubicBezTo>
                    <a:lnTo>
                      <a:pt x="89705" y="74"/>
                    </a:lnTo>
                    <a:cubicBezTo>
                      <a:pt x="133402" y="74"/>
                      <a:pt x="161108" y="18049"/>
                      <a:pt x="172821" y="54001"/>
                    </a:cubicBezTo>
                    <a:cubicBezTo>
                      <a:pt x="173817" y="57478"/>
                      <a:pt x="174736" y="61075"/>
                      <a:pt x="175669" y="64782"/>
                    </a:cubicBezTo>
                    <a:cubicBezTo>
                      <a:pt x="176665" y="69322"/>
                      <a:pt x="177406" y="73915"/>
                      <a:pt x="177889" y="78538"/>
                    </a:cubicBezTo>
                    <a:cubicBezTo>
                      <a:pt x="178511" y="84005"/>
                      <a:pt x="178968" y="90571"/>
                      <a:pt x="179200" y="98249"/>
                    </a:cubicBezTo>
                    <a:cubicBezTo>
                      <a:pt x="179432" y="105927"/>
                      <a:pt x="179593" y="115349"/>
                      <a:pt x="179593" y="126529"/>
                    </a:cubicBezTo>
                    <a:cubicBezTo>
                      <a:pt x="179593" y="137708"/>
                      <a:pt x="179432" y="147113"/>
                      <a:pt x="179200" y="154794"/>
                    </a:cubicBezTo>
                    <a:cubicBezTo>
                      <a:pt x="178968" y="162475"/>
                      <a:pt x="178511" y="169062"/>
                      <a:pt x="177889" y="174505"/>
                    </a:cubicBezTo>
                    <a:cubicBezTo>
                      <a:pt x="177405" y="179131"/>
                      <a:pt x="176664" y="183727"/>
                      <a:pt x="175669" y="188270"/>
                    </a:cubicBezTo>
                    <a:cubicBezTo>
                      <a:pt x="174733" y="191968"/>
                      <a:pt x="173814" y="195559"/>
                      <a:pt x="172821" y="199043"/>
                    </a:cubicBezTo>
                    <a:cubicBezTo>
                      <a:pt x="161114" y="235001"/>
                      <a:pt x="133408" y="252977"/>
                      <a:pt x="89705" y="252969"/>
                    </a:cubicBezTo>
                    <a:lnTo>
                      <a:pt x="3943" y="252969"/>
                    </a:lnTo>
                    <a:cubicBezTo>
                      <a:pt x="2138" y="253231"/>
                      <a:pt x="462" y="251980"/>
                      <a:pt x="201" y="250175"/>
                    </a:cubicBezTo>
                    <a:cubicBezTo>
                      <a:pt x="155" y="249861"/>
                      <a:pt x="155" y="249541"/>
                      <a:pt x="201" y="249227"/>
                    </a:cubicBezTo>
                    <a:close/>
                  </a:path>
                </a:pathLst>
              </a:custGeom>
              <a:solidFill>
                <a:schemeClr val="bg1"/>
              </a:solidFill>
              <a:ln w="2965" cap="flat">
                <a:noFill/>
                <a:prstDash val="solid"/>
                <a:miter/>
              </a:ln>
            </p:spPr>
            <p:txBody>
              <a:bodyPr rtlCol="0" anchor="ctr"/>
              <a:lstStyle/>
              <a:p>
                <a:endParaRPr lang="de-DE"/>
              </a:p>
            </p:txBody>
          </p:sp>
          <p:sp>
            <p:nvSpPr>
              <p:cNvPr id="44" name="Freeform: Shape 43">
                <a:extLst>
                  <a:ext uri="{FF2B5EF4-FFF2-40B4-BE49-F238E27FC236}">
                    <a16:creationId xmlns:a16="http://schemas.microsoft.com/office/drawing/2014/main" id="{630C1ABF-F155-458B-95E8-77D39043B3C0}"/>
                  </a:ext>
                </a:extLst>
              </p:cNvPr>
              <p:cNvSpPr/>
              <p:nvPr/>
            </p:nvSpPr>
            <p:spPr>
              <a:xfrm>
                <a:off x="10158685" y="561452"/>
                <a:ext cx="15902" cy="316256"/>
              </a:xfrm>
              <a:custGeom>
                <a:avLst/>
                <a:gdLst>
                  <a:gd name="connsiteX0" fmla="*/ 8199 w 15902"/>
                  <a:gd name="connsiteY0" fmla="*/ 316295 h 316256"/>
                  <a:gd name="connsiteX1" fmla="*/ 247 w 15902"/>
                  <a:gd name="connsiteY1" fmla="*/ 308355 h 316256"/>
                  <a:gd name="connsiteX2" fmla="*/ 247 w 15902"/>
                  <a:gd name="connsiteY2" fmla="*/ 7980 h 316256"/>
                  <a:gd name="connsiteX3" fmla="*/ 8199 w 15902"/>
                  <a:gd name="connsiteY3" fmla="*/ 38 h 316256"/>
                  <a:gd name="connsiteX4" fmla="*/ 16150 w 15902"/>
                  <a:gd name="connsiteY4" fmla="*/ 7980 h 316256"/>
                  <a:gd name="connsiteX5" fmla="*/ 16150 w 15902"/>
                  <a:gd name="connsiteY5" fmla="*/ 308355 h 316256"/>
                  <a:gd name="connsiteX6" fmla="*/ 8199 w 15902"/>
                  <a:gd name="connsiteY6" fmla="*/ 316295 h 31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02" h="316256">
                    <a:moveTo>
                      <a:pt x="8199" y="316295"/>
                    </a:moveTo>
                    <a:cubicBezTo>
                      <a:pt x="3812" y="316293"/>
                      <a:pt x="255" y="312741"/>
                      <a:pt x="247" y="308355"/>
                    </a:cubicBezTo>
                    <a:lnTo>
                      <a:pt x="247" y="7980"/>
                    </a:lnTo>
                    <a:cubicBezTo>
                      <a:pt x="250" y="3592"/>
                      <a:pt x="3810" y="36"/>
                      <a:pt x="8199" y="38"/>
                    </a:cubicBezTo>
                    <a:cubicBezTo>
                      <a:pt x="12587" y="36"/>
                      <a:pt x="16147" y="3592"/>
                      <a:pt x="16150" y="7980"/>
                    </a:cubicBezTo>
                    <a:lnTo>
                      <a:pt x="16150" y="308355"/>
                    </a:lnTo>
                    <a:cubicBezTo>
                      <a:pt x="16142" y="312741"/>
                      <a:pt x="12585" y="316293"/>
                      <a:pt x="8199" y="316295"/>
                    </a:cubicBezTo>
                  </a:path>
                </a:pathLst>
              </a:custGeom>
              <a:solidFill>
                <a:schemeClr val="bg1"/>
              </a:solidFill>
              <a:ln w="2965" cap="flat">
                <a:noFill/>
                <a:prstDash val="solid"/>
                <a:miter/>
              </a:ln>
            </p:spPr>
            <p:txBody>
              <a:bodyPr rtlCol="0" anchor="ctr"/>
              <a:lstStyle/>
              <a:p>
                <a:endParaRPr lang="de-DE"/>
              </a:p>
            </p:txBody>
          </p:sp>
        </p:grpSp>
        <p:sp>
          <p:nvSpPr>
            <p:cNvPr id="45" name="Freeform: Shape 44">
              <a:extLst>
                <a:ext uri="{FF2B5EF4-FFF2-40B4-BE49-F238E27FC236}">
                  <a16:creationId xmlns:a16="http://schemas.microsoft.com/office/drawing/2014/main" id="{B9E27D54-E248-465C-B887-D5888BE07116}"/>
                </a:ext>
              </a:extLst>
            </p:cNvPr>
            <p:cNvSpPr/>
            <p:nvPr/>
          </p:nvSpPr>
          <p:spPr>
            <a:xfrm>
              <a:off x="10262628" y="590880"/>
              <a:ext cx="1075613" cy="93936"/>
            </a:xfrm>
            <a:custGeom>
              <a:avLst/>
              <a:gdLst>
                <a:gd name="connsiteX0" fmla="*/ 28649 w 1075613"/>
                <a:gd name="connsiteY0" fmla="*/ 92452 h 93936"/>
                <a:gd name="connsiteX1" fmla="*/ 27311 w 1075613"/>
                <a:gd name="connsiteY1" fmla="*/ 91433 h 93936"/>
                <a:gd name="connsiteX2" fmla="*/ 27311 w 1075613"/>
                <a:gd name="connsiteY2" fmla="*/ 91114 h 93936"/>
                <a:gd name="connsiteX3" fmla="*/ 27311 w 1075613"/>
                <a:gd name="connsiteY3" fmla="*/ 13384 h 93936"/>
                <a:gd name="connsiteX4" fmla="*/ 26706 w 1075613"/>
                <a:gd name="connsiteY4" fmla="*/ 12581 h 93936"/>
                <a:gd name="connsiteX5" fmla="*/ 26508 w 1075613"/>
                <a:gd name="connsiteY5" fmla="*/ 12581 h 93936"/>
                <a:gd name="connsiteX6" fmla="*/ 1629 w 1075613"/>
                <a:gd name="connsiteY6" fmla="*/ 12581 h 93936"/>
                <a:gd name="connsiteX7" fmla="*/ 291 w 1075613"/>
                <a:gd name="connsiteY7" fmla="*/ 11563 h 93936"/>
                <a:gd name="connsiteX8" fmla="*/ 291 w 1075613"/>
                <a:gd name="connsiteY8" fmla="*/ 11244 h 93936"/>
                <a:gd name="connsiteX9" fmla="*/ 291 w 1075613"/>
                <a:gd name="connsiteY9" fmla="*/ 2832 h 93936"/>
                <a:gd name="connsiteX10" fmla="*/ 1310 w 1075613"/>
                <a:gd name="connsiteY10" fmla="*/ 1494 h 93936"/>
                <a:gd name="connsiteX11" fmla="*/ 1629 w 1075613"/>
                <a:gd name="connsiteY11" fmla="*/ 1494 h 93936"/>
                <a:gd name="connsiteX12" fmla="*/ 64898 w 1075613"/>
                <a:gd name="connsiteY12" fmla="*/ 1494 h 93936"/>
                <a:gd name="connsiteX13" fmla="*/ 66235 w 1075613"/>
                <a:gd name="connsiteY13" fmla="*/ 2513 h 93936"/>
                <a:gd name="connsiteX14" fmla="*/ 66235 w 1075613"/>
                <a:gd name="connsiteY14" fmla="*/ 2832 h 93936"/>
                <a:gd name="connsiteX15" fmla="*/ 66235 w 1075613"/>
                <a:gd name="connsiteY15" fmla="*/ 11259 h 93936"/>
                <a:gd name="connsiteX16" fmla="*/ 65217 w 1075613"/>
                <a:gd name="connsiteY16" fmla="*/ 12596 h 93936"/>
                <a:gd name="connsiteX17" fmla="*/ 64898 w 1075613"/>
                <a:gd name="connsiteY17" fmla="*/ 12596 h 93936"/>
                <a:gd name="connsiteX18" fmla="*/ 40018 w 1075613"/>
                <a:gd name="connsiteY18" fmla="*/ 12596 h 93936"/>
                <a:gd name="connsiteX19" fmla="*/ 39216 w 1075613"/>
                <a:gd name="connsiteY19" fmla="*/ 13201 h 93936"/>
                <a:gd name="connsiteX20" fmla="*/ 39216 w 1075613"/>
                <a:gd name="connsiteY20" fmla="*/ 13399 h 93936"/>
                <a:gd name="connsiteX21" fmla="*/ 39216 w 1075613"/>
                <a:gd name="connsiteY21" fmla="*/ 91114 h 93936"/>
                <a:gd name="connsiteX22" fmla="*/ 38197 w 1075613"/>
                <a:gd name="connsiteY22" fmla="*/ 92452 h 93936"/>
                <a:gd name="connsiteX23" fmla="*/ 37878 w 1075613"/>
                <a:gd name="connsiteY23" fmla="*/ 92452 h 93936"/>
                <a:gd name="connsiteX24" fmla="*/ 133116 w 1075613"/>
                <a:gd name="connsiteY24" fmla="*/ 92452 h 93936"/>
                <a:gd name="connsiteX25" fmla="*/ 131377 w 1075613"/>
                <a:gd name="connsiteY25" fmla="*/ 91114 h 93936"/>
                <a:gd name="connsiteX26" fmla="*/ 113186 w 1075613"/>
                <a:gd name="connsiteY26" fmla="*/ 53929 h 93936"/>
                <a:gd name="connsiteX27" fmla="*/ 93122 w 1075613"/>
                <a:gd name="connsiteY27" fmla="*/ 53929 h 93936"/>
                <a:gd name="connsiteX28" fmla="*/ 92319 w 1075613"/>
                <a:gd name="connsiteY28" fmla="*/ 54533 h 93936"/>
                <a:gd name="connsiteX29" fmla="*/ 92319 w 1075613"/>
                <a:gd name="connsiteY29" fmla="*/ 54731 h 93936"/>
                <a:gd name="connsiteX30" fmla="*/ 92319 w 1075613"/>
                <a:gd name="connsiteY30" fmla="*/ 91114 h 93936"/>
                <a:gd name="connsiteX31" fmla="*/ 91300 w 1075613"/>
                <a:gd name="connsiteY31" fmla="*/ 92452 h 93936"/>
                <a:gd name="connsiteX32" fmla="*/ 90981 w 1075613"/>
                <a:gd name="connsiteY32" fmla="*/ 92452 h 93936"/>
                <a:gd name="connsiteX33" fmla="*/ 81767 w 1075613"/>
                <a:gd name="connsiteY33" fmla="*/ 92452 h 93936"/>
                <a:gd name="connsiteX34" fmla="*/ 80429 w 1075613"/>
                <a:gd name="connsiteY34" fmla="*/ 91433 h 93936"/>
                <a:gd name="connsiteX35" fmla="*/ 80429 w 1075613"/>
                <a:gd name="connsiteY35" fmla="*/ 91114 h 93936"/>
                <a:gd name="connsiteX36" fmla="*/ 80429 w 1075613"/>
                <a:gd name="connsiteY36" fmla="*/ 2832 h 93936"/>
                <a:gd name="connsiteX37" fmla="*/ 81448 w 1075613"/>
                <a:gd name="connsiteY37" fmla="*/ 1494 h 93936"/>
                <a:gd name="connsiteX38" fmla="*/ 81767 w 1075613"/>
                <a:gd name="connsiteY38" fmla="*/ 1494 h 93936"/>
                <a:gd name="connsiteX39" fmla="*/ 114672 w 1075613"/>
                <a:gd name="connsiteY39" fmla="*/ 1494 h 93936"/>
                <a:gd name="connsiteX40" fmla="*/ 126309 w 1075613"/>
                <a:gd name="connsiteY40" fmla="*/ 3367 h 93936"/>
                <a:gd name="connsiteX41" fmla="*/ 135271 w 1075613"/>
                <a:gd name="connsiteY41" fmla="*/ 8649 h 93936"/>
                <a:gd name="connsiteX42" fmla="*/ 141077 w 1075613"/>
                <a:gd name="connsiteY42" fmla="*/ 16951 h 93936"/>
                <a:gd name="connsiteX43" fmla="*/ 143157 w 1075613"/>
                <a:gd name="connsiteY43" fmla="*/ 27717 h 93936"/>
                <a:gd name="connsiteX44" fmla="*/ 138342 w 1075613"/>
                <a:gd name="connsiteY44" fmla="*/ 43367 h 93936"/>
                <a:gd name="connsiteX45" fmla="*/ 125233 w 1075613"/>
                <a:gd name="connsiteY45" fmla="*/ 52463 h 93936"/>
                <a:gd name="connsiteX46" fmla="*/ 144620 w 1075613"/>
                <a:gd name="connsiteY46" fmla="*/ 90847 h 93936"/>
                <a:gd name="connsiteX47" fmla="*/ 144753 w 1075613"/>
                <a:gd name="connsiteY47" fmla="*/ 91982 h 93936"/>
                <a:gd name="connsiteX48" fmla="*/ 143817 w 1075613"/>
                <a:gd name="connsiteY48" fmla="*/ 92452 h 93936"/>
                <a:gd name="connsiteX49" fmla="*/ 114390 w 1075613"/>
                <a:gd name="connsiteY49" fmla="*/ 42826 h 93936"/>
                <a:gd name="connsiteX50" fmla="*/ 126829 w 1075613"/>
                <a:gd name="connsiteY50" fmla="*/ 38882 h 93936"/>
                <a:gd name="connsiteX51" fmla="*/ 131244 w 1075613"/>
                <a:gd name="connsiteY51" fmla="*/ 27711 h 93936"/>
                <a:gd name="connsiteX52" fmla="*/ 126829 w 1075613"/>
                <a:gd name="connsiteY52" fmla="*/ 16541 h 93936"/>
                <a:gd name="connsiteX53" fmla="*/ 114390 w 1075613"/>
                <a:gd name="connsiteY53" fmla="*/ 12596 h 93936"/>
                <a:gd name="connsiteX54" fmla="*/ 93122 w 1075613"/>
                <a:gd name="connsiteY54" fmla="*/ 12596 h 93936"/>
                <a:gd name="connsiteX55" fmla="*/ 92319 w 1075613"/>
                <a:gd name="connsiteY55" fmla="*/ 13201 h 93936"/>
                <a:gd name="connsiteX56" fmla="*/ 92319 w 1075613"/>
                <a:gd name="connsiteY56" fmla="*/ 13399 h 93936"/>
                <a:gd name="connsiteX57" fmla="*/ 92319 w 1075613"/>
                <a:gd name="connsiteY57" fmla="*/ 42024 h 93936"/>
                <a:gd name="connsiteX58" fmla="*/ 92923 w 1075613"/>
                <a:gd name="connsiteY58" fmla="*/ 42826 h 93936"/>
                <a:gd name="connsiteX59" fmla="*/ 93122 w 1075613"/>
                <a:gd name="connsiteY59" fmla="*/ 42826 h 93936"/>
                <a:gd name="connsiteX60" fmla="*/ 186487 w 1075613"/>
                <a:gd name="connsiteY60" fmla="*/ 2832 h 93936"/>
                <a:gd name="connsiteX61" fmla="*/ 188092 w 1075613"/>
                <a:gd name="connsiteY61" fmla="*/ 1494 h 93936"/>
                <a:gd name="connsiteX62" fmla="*/ 196802 w 1075613"/>
                <a:gd name="connsiteY62" fmla="*/ 1494 h 93936"/>
                <a:gd name="connsiteX63" fmla="*/ 198540 w 1075613"/>
                <a:gd name="connsiteY63" fmla="*/ 2832 h 93936"/>
                <a:gd name="connsiteX64" fmla="*/ 229707 w 1075613"/>
                <a:gd name="connsiteY64" fmla="*/ 91114 h 93936"/>
                <a:gd name="connsiteX65" fmla="*/ 228771 w 1075613"/>
                <a:gd name="connsiteY65" fmla="*/ 92452 h 93936"/>
                <a:gd name="connsiteX66" fmla="*/ 219392 w 1075613"/>
                <a:gd name="connsiteY66" fmla="*/ 92452 h 93936"/>
                <a:gd name="connsiteX67" fmla="*/ 217654 w 1075613"/>
                <a:gd name="connsiteY67" fmla="*/ 91114 h 93936"/>
                <a:gd name="connsiteX68" fmla="*/ 210698 w 1075613"/>
                <a:gd name="connsiteY68" fmla="*/ 71318 h 93936"/>
                <a:gd name="connsiteX69" fmla="*/ 173914 w 1075613"/>
                <a:gd name="connsiteY69" fmla="*/ 71318 h 93936"/>
                <a:gd name="connsiteX70" fmla="*/ 166958 w 1075613"/>
                <a:gd name="connsiteY70" fmla="*/ 91114 h 93936"/>
                <a:gd name="connsiteX71" fmla="*/ 165219 w 1075613"/>
                <a:gd name="connsiteY71" fmla="*/ 92452 h 93936"/>
                <a:gd name="connsiteX72" fmla="*/ 155856 w 1075613"/>
                <a:gd name="connsiteY72" fmla="*/ 92452 h 93936"/>
                <a:gd name="connsiteX73" fmla="*/ 154919 w 1075613"/>
                <a:gd name="connsiteY73" fmla="*/ 91114 h 93936"/>
                <a:gd name="connsiteX74" fmla="*/ 206819 w 1075613"/>
                <a:gd name="connsiteY74" fmla="*/ 60349 h 93936"/>
                <a:gd name="connsiteX75" fmla="*/ 192506 w 1075613"/>
                <a:gd name="connsiteY75" fmla="*/ 19017 h 93936"/>
                <a:gd name="connsiteX76" fmla="*/ 192239 w 1075613"/>
                <a:gd name="connsiteY76" fmla="*/ 19017 h 93936"/>
                <a:gd name="connsiteX77" fmla="*/ 177793 w 1075613"/>
                <a:gd name="connsiteY77" fmla="*/ 60349 h 93936"/>
                <a:gd name="connsiteX78" fmla="*/ 244138 w 1075613"/>
                <a:gd name="connsiteY78" fmla="*/ 2832 h 93936"/>
                <a:gd name="connsiteX79" fmla="*/ 245157 w 1075613"/>
                <a:gd name="connsiteY79" fmla="*/ 1494 h 93936"/>
                <a:gd name="connsiteX80" fmla="*/ 245476 w 1075613"/>
                <a:gd name="connsiteY80" fmla="*/ 1494 h 93936"/>
                <a:gd name="connsiteX81" fmla="*/ 254037 w 1075613"/>
                <a:gd name="connsiteY81" fmla="*/ 1494 h 93936"/>
                <a:gd name="connsiteX82" fmla="*/ 256311 w 1075613"/>
                <a:gd name="connsiteY82" fmla="*/ 2832 h 93936"/>
                <a:gd name="connsiteX83" fmla="*/ 297509 w 1075613"/>
                <a:gd name="connsiteY83" fmla="*/ 71050 h 93936"/>
                <a:gd name="connsiteX84" fmla="*/ 298044 w 1075613"/>
                <a:gd name="connsiteY84" fmla="*/ 71050 h 93936"/>
                <a:gd name="connsiteX85" fmla="*/ 298044 w 1075613"/>
                <a:gd name="connsiteY85" fmla="*/ 2832 h 93936"/>
                <a:gd name="connsiteX86" fmla="*/ 299064 w 1075613"/>
                <a:gd name="connsiteY86" fmla="*/ 1494 h 93936"/>
                <a:gd name="connsiteX87" fmla="*/ 299382 w 1075613"/>
                <a:gd name="connsiteY87" fmla="*/ 1494 h 93936"/>
                <a:gd name="connsiteX88" fmla="*/ 307809 w 1075613"/>
                <a:gd name="connsiteY88" fmla="*/ 1494 h 93936"/>
                <a:gd name="connsiteX89" fmla="*/ 309146 w 1075613"/>
                <a:gd name="connsiteY89" fmla="*/ 2513 h 93936"/>
                <a:gd name="connsiteX90" fmla="*/ 309146 w 1075613"/>
                <a:gd name="connsiteY90" fmla="*/ 2832 h 93936"/>
                <a:gd name="connsiteX91" fmla="*/ 309146 w 1075613"/>
                <a:gd name="connsiteY91" fmla="*/ 91114 h 93936"/>
                <a:gd name="connsiteX92" fmla="*/ 308127 w 1075613"/>
                <a:gd name="connsiteY92" fmla="*/ 92452 h 93936"/>
                <a:gd name="connsiteX93" fmla="*/ 307809 w 1075613"/>
                <a:gd name="connsiteY93" fmla="*/ 92452 h 93936"/>
                <a:gd name="connsiteX94" fmla="*/ 299248 w 1075613"/>
                <a:gd name="connsiteY94" fmla="*/ 92452 h 93936"/>
                <a:gd name="connsiteX95" fmla="*/ 296974 w 1075613"/>
                <a:gd name="connsiteY95" fmla="*/ 91114 h 93936"/>
                <a:gd name="connsiteX96" fmla="*/ 255657 w 1075613"/>
                <a:gd name="connsiteY96" fmla="*/ 23164 h 93936"/>
                <a:gd name="connsiteX97" fmla="*/ 255240 w 1075613"/>
                <a:gd name="connsiteY97" fmla="*/ 23164 h 93936"/>
                <a:gd name="connsiteX98" fmla="*/ 255240 w 1075613"/>
                <a:gd name="connsiteY98" fmla="*/ 91114 h 93936"/>
                <a:gd name="connsiteX99" fmla="*/ 254222 w 1075613"/>
                <a:gd name="connsiteY99" fmla="*/ 92452 h 93936"/>
                <a:gd name="connsiteX100" fmla="*/ 253903 w 1075613"/>
                <a:gd name="connsiteY100" fmla="*/ 92452 h 93936"/>
                <a:gd name="connsiteX101" fmla="*/ 245476 w 1075613"/>
                <a:gd name="connsiteY101" fmla="*/ 92452 h 93936"/>
                <a:gd name="connsiteX102" fmla="*/ 244138 w 1075613"/>
                <a:gd name="connsiteY102" fmla="*/ 91433 h 93936"/>
                <a:gd name="connsiteX103" fmla="*/ 244138 w 1075613"/>
                <a:gd name="connsiteY103" fmla="*/ 91114 h 93936"/>
                <a:gd name="connsiteX104" fmla="*/ 359173 w 1075613"/>
                <a:gd name="connsiteY104" fmla="*/ 93923 h 93936"/>
                <a:gd name="connsiteX105" fmla="*/ 349661 w 1075613"/>
                <a:gd name="connsiteY105" fmla="*/ 92987 h 93936"/>
                <a:gd name="connsiteX106" fmla="*/ 340833 w 1075613"/>
                <a:gd name="connsiteY106" fmla="*/ 90511 h 93936"/>
                <a:gd name="connsiteX107" fmla="*/ 333238 w 1075613"/>
                <a:gd name="connsiteY107" fmla="*/ 86899 h 93936"/>
                <a:gd name="connsiteX108" fmla="*/ 327219 w 1075613"/>
                <a:gd name="connsiteY108" fmla="*/ 82554 h 93936"/>
                <a:gd name="connsiteX109" fmla="*/ 327023 w 1075613"/>
                <a:gd name="connsiteY109" fmla="*/ 80617 h 93936"/>
                <a:gd name="connsiteX110" fmla="*/ 327085 w 1075613"/>
                <a:gd name="connsiteY110" fmla="*/ 80547 h 93936"/>
                <a:gd name="connsiteX111" fmla="*/ 332971 w 1075613"/>
                <a:gd name="connsiteY111" fmla="*/ 73592 h 93936"/>
                <a:gd name="connsiteX112" fmla="*/ 334680 w 1075613"/>
                <a:gd name="connsiteY112" fmla="*/ 73317 h 93936"/>
                <a:gd name="connsiteX113" fmla="*/ 334843 w 1075613"/>
                <a:gd name="connsiteY113" fmla="*/ 73458 h 93936"/>
                <a:gd name="connsiteX114" fmla="*/ 345812 w 1075613"/>
                <a:gd name="connsiteY114" fmla="*/ 79878 h 93936"/>
                <a:gd name="connsiteX115" fmla="*/ 360258 w 1075613"/>
                <a:gd name="connsiteY115" fmla="*/ 82821 h 93936"/>
                <a:gd name="connsiteX116" fmla="*/ 375037 w 1075613"/>
                <a:gd name="connsiteY116" fmla="*/ 78541 h 93936"/>
                <a:gd name="connsiteX117" fmla="*/ 380322 w 1075613"/>
                <a:gd name="connsiteY117" fmla="*/ 67305 h 93936"/>
                <a:gd name="connsiteX118" fmla="*/ 379386 w 1075613"/>
                <a:gd name="connsiteY118" fmla="*/ 61954 h 93936"/>
                <a:gd name="connsiteX119" fmla="*/ 376241 w 1075613"/>
                <a:gd name="connsiteY119" fmla="*/ 57674 h 93936"/>
                <a:gd name="connsiteX120" fmla="*/ 370424 w 1075613"/>
                <a:gd name="connsiteY120" fmla="*/ 54464 h 93936"/>
                <a:gd name="connsiteX121" fmla="*/ 361328 w 1075613"/>
                <a:gd name="connsiteY121" fmla="*/ 52457 h 93936"/>
                <a:gd name="connsiteX122" fmla="*/ 356780 w 1075613"/>
                <a:gd name="connsiteY122" fmla="*/ 51788 h 93936"/>
                <a:gd name="connsiteX123" fmla="*/ 330028 w 1075613"/>
                <a:gd name="connsiteY123" fmla="*/ 26641 h 93936"/>
                <a:gd name="connsiteX124" fmla="*/ 332109 w 1075613"/>
                <a:gd name="connsiteY124" fmla="*/ 15673 h 93936"/>
                <a:gd name="connsiteX125" fmla="*/ 338054 w 1075613"/>
                <a:gd name="connsiteY125" fmla="*/ 7246 h 93936"/>
                <a:gd name="connsiteX126" fmla="*/ 347417 w 1075613"/>
                <a:gd name="connsiteY126" fmla="*/ 1895 h 93936"/>
                <a:gd name="connsiteX127" fmla="*/ 359723 w 1075613"/>
                <a:gd name="connsiteY127" fmla="*/ 23 h 93936"/>
                <a:gd name="connsiteX128" fmla="*/ 375040 w 1075613"/>
                <a:gd name="connsiteY128" fmla="*/ 2362 h 93936"/>
                <a:gd name="connsiteX129" fmla="*/ 387397 w 1075613"/>
                <a:gd name="connsiteY129" fmla="*/ 8450 h 93936"/>
                <a:gd name="connsiteX130" fmla="*/ 387855 w 1075613"/>
                <a:gd name="connsiteY130" fmla="*/ 10067 h 93936"/>
                <a:gd name="connsiteX131" fmla="*/ 387664 w 1075613"/>
                <a:gd name="connsiteY131" fmla="*/ 10322 h 93936"/>
                <a:gd name="connsiteX132" fmla="*/ 383116 w 1075613"/>
                <a:gd name="connsiteY132" fmla="*/ 17679 h 93936"/>
                <a:gd name="connsiteX133" fmla="*/ 381300 w 1075613"/>
                <a:gd name="connsiteY133" fmla="*/ 17990 h 93936"/>
                <a:gd name="connsiteX134" fmla="*/ 381244 w 1075613"/>
                <a:gd name="connsiteY134" fmla="*/ 17947 h 93936"/>
                <a:gd name="connsiteX135" fmla="*/ 370409 w 1075613"/>
                <a:gd name="connsiteY135" fmla="*/ 12790 h 93936"/>
                <a:gd name="connsiteX136" fmla="*/ 359307 w 1075613"/>
                <a:gd name="connsiteY136" fmla="*/ 11119 h 93936"/>
                <a:gd name="connsiteX137" fmla="*/ 346466 w 1075613"/>
                <a:gd name="connsiteY137" fmla="*/ 15197 h 93936"/>
                <a:gd name="connsiteX138" fmla="*/ 342052 w 1075613"/>
                <a:gd name="connsiteY138" fmla="*/ 25830 h 93936"/>
                <a:gd name="connsiteX139" fmla="*/ 346332 w 1075613"/>
                <a:gd name="connsiteY139" fmla="*/ 35259 h 93936"/>
                <a:gd name="connsiteX140" fmla="*/ 361180 w 1075613"/>
                <a:gd name="connsiteY140" fmla="*/ 40434 h 93936"/>
                <a:gd name="connsiteX141" fmla="*/ 365594 w 1075613"/>
                <a:gd name="connsiteY141" fmla="*/ 41102 h 93936"/>
                <a:gd name="connsiteX142" fmla="*/ 385658 w 1075613"/>
                <a:gd name="connsiteY142" fmla="*/ 49128 h 93936"/>
                <a:gd name="connsiteX143" fmla="*/ 392346 w 1075613"/>
                <a:gd name="connsiteY143" fmla="*/ 66517 h 93936"/>
                <a:gd name="connsiteX144" fmla="*/ 390265 w 1075613"/>
                <a:gd name="connsiteY144" fmla="*/ 77551 h 93936"/>
                <a:gd name="connsiteX145" fmla="*/ 383979 w 1075613"/>
                <a:gd name="connsiteY145" fmla="*/ 86171 h 93936"/>
                <a:gd name="connsiteX146" fmla="*/ 373545 w 1075613"/>
                <a:gd name="connsiteY146" fmla="*/ 91857 h 93936"/>
                <a:gd name="connsiteX147" fmla="*/ 359173 w 1075613"/>
                <a:gd name="connsiteY147" fmla="*/ 93923 h 93936"/>
                <a:gd name="connsiteX148" fmla="*/ 412009 w 1075613"/>
                <a:gd name="connsiteY148" fmla="*/ 92452 h 93936"/>
                <a:gd name="connsiteX149" fmla="*/ 410671 w 1075613"/>
                <a:gd name="connsiteY149" fmla="*/ 91433 h 93936"/>
                <a:gd name="connsiteX150" fmla="*/ 410671 w 1075613"/>
                <a:gd name="connsiteY150" fmla="*/ 91114 h 93936"/>
                <a:gd name="connsiteX151" fmla="*/ 410671 w 1075613"/>
                <a:gd name="connsiteY151" fmla="*/ 2832 h 93936"/>
                <a:gd name="connsiteX152" fmla="*/ 411691 w 1075613"/>
                <a:gd name="connsiteY152" fmla="*/ 1494 h 93936"/>
                <a:gd name="connsiteX153" fmla="*/ 412009 w 1075613"/>
                <a:gd name="connsiteY153" fmla="*/ 1494 h 93936"/>
                <a:gd name="connsiteX154" fmla="*/ 444379 w 1075613"/>
                <a:gd name="connsiteY154" fmla="*/ 1494 h 93936"/>
                <a:gd name="connsiteX155" fmla="*/ 456284 w 1075613"/>
                <a:gd name="connsiteY155" fmla="*/ 3435 h 93936"/>
                <a:gd name="connsiteX156" fmla="*/ 465380 w 1075613"/>
                <a:gd name="connsiteY156" fmla="*/ 8919 h 93936"/>
                <a:gd name="connsiteX157" fmla="*/ 471200 w 1075613"/>
                <a:gd name="connsiteY157" fmla="*/ 17480 h 93936"/>
                <a:gd name="connsiteX158" fmla="*/ 473281 w 1075613"/>
                <a:gd name="connsiteY158" fmla="*/ 28651 h 93936"/>
                <a:gd name="connsiteX159" fmla="*/ 471200 w 1075613"/>
                <a:gd name="connsiteY159" fmla="*/ 39818 h 93936"/>
                <a:gd name="connsiteX160" fmla="*/ 465380 w 1075613"/>
                <a:gd name="connsiteY160" fmla="*/ 48379 h 93936"/>
                <a:gd name="connsiteX161" fmla="*/ 456284 w 1075613"/>
                <a:gd name="connsiteY161" fmla="*/ 53863 h 93936"/>
                <a:gd name="connsiteX162" fmla="*/ 444379 w 1075613"/>
                <a:gd name="connsiteY162" fmla="*/ 55804 h 93936"/>
                <a:gd name="connsiteX163" fmla="*/ 423379 w 1075613"/>
                <a:gd name="connsiteY163" fmla="*/ 55804 h 93936"/>
                <a:gd name="connsiteX164" fmla="*/ 422576 w 1075613"/>
                <a:gd name="connsiteY164" fmla="*/ 56409 h 93936"/>
                <a:gd name="connsiteX165" fmla="*/ 422576 w 1075613"/>
                <a:gd name="connsiteY165" fmla="*/ 56607 h 93936"/>
                <a:gd name="connsiteX166" fmla="*/ 422576 w 1075613"/>
                <a:gd name="connsiteY166" fmla="*/ 91114 h 93936"/>
                <a:gd name="connsiteX167" fmla="*/ 421557 w 1075613"/>
                <a:gd name="connsiteY167" fmla="*/ 92452 h 93936"/>
                <a:gd name="connsiteX168" fmla="*/ 421239 w 1075613"/>
                <a:gd name="connsiteY168" fmla="*/ 92452 h 93936"/>
                <a:gd name="connsiteX169" fmla="*/ 443710 w 1075613"/>
                <a:gd name="connsiteY169" fmla="*/ 44699 h 93936"/>
                <a:gd name="connsiteX170" fmla="*/ 456819 w 1075613"/>
                <a:gd name="connsiteY170" fmla="*/ 40419 h 93936"/>
                <a:gd name="connsiteX171" fmla="*/ 461501 w 1075613"/>
                <a:gd name="connsiteY171" fmla="*/ 28648 h 93936"/>
                <a:gd name="connsiteX172" fmla="*/ 456819 w 1075613"/>
                <a:gd name="connsiteY172" fmla="*/ 16877 h 93936"/>
                <a:gd name="connsiteX173" fmla="*/ 443710 w 1075613"/>
                <a:gd name="connsiteY173" fmla="*/ 12596 h 93936"/>
                <a:gd name="connsiteX174" fmla="*/ 423379 w 1075613"/>
                <a:gd name="connsiteY174" fmla="*/ 12596 h 93936"/>
                <a:gd name="connsiteX175" fmla="*/ 422576 w 1075613"/>
                <a:gd name="connsiteY175" fmla="*/ 13201 h 93936"/>
                <a:gd name="connsiteX176" fmla="*/ 422576 w 1075613"/>
                <a:gd name="connsiteY176" fmla="*/ 13399 h 93936"/>
                <a:gd name="connsiteX177" fmla="*/ 422576 w 1075613"/>
                <a:gd name="connsiteY177" fmla="*/ 43897 h 93936"/>
                <a:gd name="connsiteX178" fmla="*/ 423180 w 1075613"/>
                <a:gd name="connsiteY178" fmla="*/ 44699 h 93936"/>
                <a:gd name="connsiteX179" fmla="*/ 423379 w 1075613"/>
                <a:gd name="connsiteY179" fmla="*/ 44699 h 93936"/>
                <a:gd name="connsiteX180" fmla="*/ 519955 w 1075613"/>
                <a:gd name="connsiteY180" fmla="*/ 93923 h 93936"/>
                <a:gd name="connsiteX181" fmla="*/ 500491 w 1075613"/>
                <a:gd name="connsiteY181" fmla="*/ 88573 h 93936"/>
                <a:gd name="connsiteX182" fmla="*/ 489053 w 1075613"/>
                <a:gd name="connsiteY182" fmla="*/ 72655 h 93936"/>
                <a:gd name="connsiteX183" fmla="*/ 487917 w 1075613"/>
                <a:gd name="connsiteY183" fmla="*/ 68494 h 93936"/>
                <a:gd name="connsiteX184" fmla="*/ 487183 w 1075613"/>
                <a:gd name="connsiteY184" fmla="*/ 63479 h 93936"/>
                <a:gd name="connsiteX185" fmla="*/ 486782 w 1075613"/>
                <a:gd name="connsiteY185" fmla="*/ 56589 h 93936"/>
                <a:gd name="connsiteX186" fmla="*/ 486648 w 1075613"/>
                <a:gd name="connsiteY186" fmla="*/ 46958 h 93936"/>
                <a:gd name="connsiteX187" fmla="*/ 486782 w 1075613"/>
                <a:gd name="connsiteY187" fmla="*/ 37327 h 93936"/>
                <a:gd name="connsiteX188" fmla="*/ 487183 w 1075613"/>
                <a:gd name="connsiteY188" fmla="*/ 30440 h 93936"/>
                <a:gd name="connsiteX189" fmla="*/ 487917 w 1075613"/>
                <a:gd name="connsiteY189" fmla="*/ 25426 h 93936"/>
                <a:gd name="connsiteX190" fmla="*/ 489053 w 1075613"/>
                <a:gd name="connsiteY190" fmla="*/ 21264 h 93936"/>
                <a:gd name="connsiteX191" fmla="*/ 500494 w 1075613"/>
                <a:gd name="connsiteY191" fmla="*/ 5358 h 93936"/>
                <a:gd name="connsiteX192" fmla="*/ 539552 w 1075613"/>
                <a:gd name="connsiteY192" fmla="*/ 5358 h 93936"/>
                <a:gd name="connsiteX193" fmla="*/ 550990 w 1075613"/>
                <a:gd name="connsiteY193" fmla="*/ 21276 h 93936"/>
                <a:gd name="connsiteX194" fmla="*/ 552126 w 1075613"/>
                <a:gd name="connsiteY194" fmla="*/ 25437 h 93936"/>
                <a:gd name="connsiteX195" fmla="*/ 552863 w 1075613"/>
                <a:gd name="connsiteY195" fmla="*/ 30455 h 93936"/>
                <a:gd name="connsiteX196" fmla="*/ 553264 w 1075613"/>
                <a:gd name="connsiteY196" fmla="*/ 37342 h 93936"/>
                <a:gd name="connsiteX197" fmla="*/ 553398 w 1075613"/>
                <a:gd name="connsiteY197" fmla="*/ 46973 h 93936"/>
                <a:gd name="connsiteX198" fmla="*/ 553264 w 1075613"/>
                <a:gd name="connsiteY198" fmla="*/ 56604 h 93936"/>
                <a:gd name="connsiteX199" fmla="*/ 552863 w 1075613"/>
                <a:gd name="connsiteY199" fmla="*/ 63494 h 93936"/>
                <a:gd name="connsiteX200" fmla="*/ 552126 w 1075613"/>
                <a:gd name="connsiteY200" fmla="*/ 68512 h 93936"/>
                <a:gd name="connsiteX201" fmla="*/ 550990 w 1075613"/>
                <a:gd name="connsiteY201" fmla="*/ 72673 h 93936"/>
                <a:gd name="connsiteX202" fmla="*/ 539552 w 1075613"/>
                <a:gd name="connsiteY202" fmla="*/ 88591 h 93936"/>
                <a:gd name="connsiteX203" fmla="*/ 519955 w 1075613"/>
                <a:gd name="connsiteY203" fmla="*/ 93923 h 93936"/>
                <a:gd name="connsiteX204" fmla="*/ 519955 w 1075613"/>
                <a:gd name="connsiteY204" fmla="*/ 82821 h 93936"/>
                <a:gd name="connsiteX205" fmla="*/ 532394 w 1075613"/>
                <a:gd name="connsiteY205" fmla="*/ 79343 h 93936"/>
                <a:gd name="connsiteX206" fmla="*/ 539350 w 1075613"/>
                <a:gd name="connsiteY206" fmla="*/ 69311 h 93936"/>
                <a:gd name="connsiteX207" fmla="*/ 540087 w 1075613"/>
                <a:gd name="connsiteY207" fmla="*/ 66300 h 93936"/>
                <a:gd name="connsiteX208" fmla="*/ 540756 w 1075613"/>
                <a:gd name="connsiteY208" fmla="*/ 61821 h 93936"/>
                <a:gd name="connsiteX209" fmla="*/ 541226 w 1075613"/>
                <a:gd name="connsiteY209" fmla="*/ 55534 h 93936"/>
                <a:gd name="connsiteX210" fmla="*/ 541359 w 1075613"/>
                <a:gd name="connsiteY210" fmla="*/ 46973 h 93936"/>
                <a:gd name="connsiteX211" fmla="*/ 541226 w 1075613"/>
                <a:gd name="connsiteY211" fmla="*/ 38412 h 93936"/>
                <a:gd name="connsiteX212" fmla="*/ 540756 w 1075613"/>
                <a:gd name="connsiteY212" fmla="*/ 32126 h 93936"/>
                <a:gd name="connsiteX213" fmla="*/ 540087 w 1075613"/>
                <a:gd name="connsiteY213" fmla="*/ 27646 h 93936"/>
                <a:gd name="connsiteX214" fmla="*/ 539350 w 1075613"/>
                <a:gd name="connsiteY214" fmla="*/ 24635 h 93936"/>
                <a:gd name="connsiteX215" fmla="*/ 532394 w 1075613"/>
                <a:gd name="connsiteY215" fmla="*/ 14603 h 93936"/>
                <a:gd name="connsiteX216" fmla="*/ 519955 w 1075613"/>
                <a:gd name="connsiteY216" fmla="*/ 11125 h 93936"/>
                <a:gd name="connsiteX217" fmla="*/ 507580 w 1075613"/>
                <a:gd name="connsiteY217" fmla="*/ 14603 h 93936"/>
                <a:gd name="connsiteX218" fmla="*/ 500693 w 1075613"/>
                <a:gd name="connsiteY218" fmla="*/ 24635 h 93936"/>
                <a:gd name="connsiteX219" fmla="*/ 499959 w 1075613"/>
                <a:gd name="connsiteY219" fmla="*/ 27646 h 93936"/>
                <a:gd name="connsiteX220" fmla="*/ 499290 w 1075613"/>
                <a:gd name="connsiteY220" fmla="*/ 32126 h 93936"/>
                <a:gd name="connsiteX221" fmla="*/ 498820 w 1075613"/>
                <a:gd name="connsiteY221" fmla="*/ 38412 h 93936"/>
                <a:gd name="connsiteX222" fmla="*/ 498686 w 1075613"/>
                <a:gd name="connsiteY222" fmla="*/ 46973 h 93936"/>
                <a:gd name="connsiteX223" fmla="*/ 498820 w 1075613"/>
                <a:gd name="connsiteY223" fmla="*/ 55534 h 93936"/>
                <a:gd name="connsiteX224" fmla="*/ 499290 w 1075613"/>
                <a:gd name="connsiteY224" fmla="*/ 61821 h 93936"/>
                <a:gd name="connsiteX225" fmla="*/ 499959 w 1075613"/>
                <a:gd name="connsiteY225" fmla="*/ 66300 h 93936"/>
                <a:gd name="connsiteX226" fmla="*/ 500693 w 1075613"/>
                <a:gd name="connsiteY226" fmla="*/ 69311 h 93936"/>
                <a:gd name="connsiteX227" fmla="*/ 507580 w 1075613"/>
                <a:gd name="connsiteY227" fmla="*/ 79343 h 93936"/>
                <a:gd name="connsiteX228" fmla="*/ 519955 w 1075613"/>
                <a:gd name="connsiteY228" fmla="*/ 82821 h 93936"/>
                <a:gd name="connsiteX229" fmla="*/ 625359 w 1075613"/>
                <a:gd name="connsiteY229" fmla="*/ 92452 h 93936"/>
                <a:gd name="connsiteX230" fmla="*/ 623620 w 1075613"/>
                <a:gd name="connsiteY230" fmla="*/ 91114 h 93936"/>
                <a:gd name="connsiteX231" fmla="*/ 605428 w 1075613"/>
                <a:gd name="connsiteY231" fmla="*/ 53929 h 93936"/>
                <a:gd name="connsiteX232" fmla="*/ 585364 w 1075613"/>
                <a:gd name="connsiteY232" fmla="*/ 53929 h 93936"/>
                <a:gd name="connsiteX233" fmla="*/ 584561 w 1075613"/>
                <a:gd name="connsiteY233" fmla="*/ 54533 h 93936"/>
                <a:gd name="connsiteX234" fmla="*/ 584561 w 1075613"/>
                <a:gd name="connsiteY234" fmla="*/ 54731 h 93936"/>
                <a:gd name="connsiteX235" fmla="*/ 584561 w 1075613"/>
                <a:gd name="connsiteY235" fmla="*/ 91114 h 93936"/>
                <a:gd name="connsiteX236" fmla="*/ 583542 w 1075613"/>
                <a:gd name="connsiteY236" fmla="*/ 92452 h 93936"/>
                <a:gd name="connsiteX237" fmla="*/ 583224 w 1075613"/>
                <a:gd name="connsiteY237" fmla="*/ 92452 h 93936"/>
                <a:gd name="connsiteX238" fmla="*/ 573994 w 1075613"/>
                <a:gd name="connsiteY238" fmla="*/ 92452 h 93936"/>
                <a:gd name="connsiteX239" fmla="*/ 572657 w 1075613"/>
                <a:gd name="connsiteY239" fmla="*/ 91433 h 93936"/>
                <a:gd name="connsiteX240" fmla="*/ 572657 w 1075613"/>
                <a:gd name="connsiteY240" fmla="*/ 91114 h 93936"/>
                <a:gd name="connsiteX241" fmla="*/ 572657 w 1075613"/>
                <a:gd name="connsiteY241" fmla="*/ 2832 h 93936"/>
                <a:gd name="connsiteX242" fmla="*/ 573676 w 1075613"/>
                <a:gd name="connsiteY242" fmla="*/ 1494 h 93936"/>
                <a:gd name="connsiteX243" fmla="*/ 573994 w 1075613"/>
                <a:gd name="connsiteY243" fmla="*/ 1494 h 93936"/>
                <a:gd name="connsiteX244" fmla="*/ 606900 w 1075613"/>
                <a:gd name="connsiteY244" fmla="*/ 1494 h 93936"/>
                <a:gd name="connsiteX245" fmla="*/ 618537 w 1075613"/>
                <a:gd name="connsiteY245" fmla="*/ 3367 h 93936"/>
                <a:gd name="connsiteX246" fmla="*/ 627499 w 1075613"/>
                <a:gd name="connsiteY246" fmla="*/ 8652 h 93936"/>
                <a:gd name="connsiteX247" fmla="*/ 633319 w 1075613"/>
                <a:gd name="connsiteY247" fmla="*/ 16945 h 93936"/>
                <a:gd name="connsiteX248" fmla="*/ 635400 w 1075613"/>
                <a:gd name="connsiteY248" fmla="*/ 27711 h 93936"/>
                <a:gd name="connsiteX249" fmla="*/ 630584 w 1075613"/>
                <a:gd name="connsiteY249" fmla="*/ 43361 h 93936"/>
                <a:gd name="connsiteX250" fmla="*/ 617476 w 1075613"/>
                <a:gd name="connsiteY250" fmla="*/ 52457 h 93936"/>
                <a:gd name="connsiteX251" fmla="*/ 636871 w 1075613"/>
                <a:gd name="connsiteY251" fmla="*/ 90847 h 93936"/>
                <a:gd name="connsiteX252" fmla="*/ 637005 w 1075613"/>
                <a:gd name="connsiteY252" fmla="*/ 91982 h 93936"/>
                <a:gd name="connsiteX253" fmla="*/ 636068 w 1075613"/>
                <a:gd name="connsiteY253" fmla="*/ 92452 h 93936"/>
                <a:gd name="connsiteX254" fmla="*/ 606632 w 1075613"/>
                <a:gd name="connsiteY254" fmla="*/ 42826 h 93936"/>
                <a:gd name="connsiteX255" fmla="*/ 619072 w 1075613"/>
                <a:gd name="connsiteY255" fmla="*/ 38882 h 93936"/>
                <a:gd name="connsiteX256" fmla="*/ 623486 w 1075613"/>
                <a:gd name="connsiteY256" fmla="*/ 27711 h 93936"/>
                <a:gd name="connsiteX257" fmla="*/ 619072 w 1075613"/>
                <a:gd name="connsiteY257" fmla="*/ 16544 h 93936"/>
                <a:gd name="connsiteX258" fmla="*/ 606632 w 1075613"/>
                <a:gd name="connsiteY258" fmla="*/ 12599 h 93936"/>
                <a:gd name="connsiteX259" fmla="*/ 585364 w 1075613"/>
                <a:gd name="connsiteY259" fmla="*/ 12599 h 93936"/>
                <a:gd name="connsiteX260" fmla="*/ 584561 w 1075613"/>
                <a:gd name="connsiteY260" fmla="*/ 13204 h 93936"/>
                <a:gd name="connsiteX261" fmla="*/ 584561 w 1075613"/>
                <a:gd name="connsiteY261" fmla="*/ 13402 h 93936"/>
                <a:gd name="connsiteX262" fmla="*/ 584561 w 1075613"/>
                <a:gd name="connsiteY262" fmla="*/ 42027 h 93936"/>
                <a:gd name="connsiteX263" fmla="*/ 585165 w 1075613"/>
                <a:gd name="connsiteY263" fmla="*/ 42829 h 93936"/>
                <a:gd name="connsiteX264" fmla="*/ 585364 w 1075613"/>
                <a:gd name="connsiteY264" fmla="*/ 42829 h 93936"/>
                <a:gd name="connsiteX265" fmla="*/ 674717 w 1075613"/>
                <a:gd name="connsiteY265" fmla="*/ 92452 h 93936"/>
                <a:gd name="connsiteX266" fmla="*/ 673379 w 1075613"/>
                <a:gd name="connsiteY266" fmla="*/ 91433 h 93936"/>
                <a:gd name="connsiteX267" fmla="*/ 673379 w 1075613"/>
                <a:gd name="connsiteY267" fmla="*/ 91114 h 93936"/>
                <a:gd name="connsiteX268" fmla="*/ 673379 w 1075613"/>
                <a:gd name="connsiteY268" fmla="*/ 13384 h 93936"/>
                <a:gd name="connsiteX269" fmla="*/ 672776 w 1075613"/>
                <a:gd name="connsiteY269" fmla="*/ 12581 h 93936"/>
                <a:gd name="connsiteX270" fmla="*/ 672576 w 1075613"/>
                <a:gd name="connsiteY270" fmla="*/ 12581 h 93936"/>
                <a:gd name="connsiteX271" fmla="*/ 647697 w 1075613"/>
                <a:gd name="connsiteY271" fmla="*/ 12581 h 93936"/>
                <a:gd name="connsiteX272" fmla="*/ 646359 w 1075613"/>
                <a:gd name="connsiteY272" fmla="*/ 11563 h 93936"/>
                <a:gd name="connsiteX273" fmla="*/ 646359 w 1075613"/>
                <a:gd name="connsiteY273" fmla="*/ 11244 h 93936"/>
                <a:gd name="connsiteX274" fmla="*/ 646359 w 1075613"/>
                <a:gd name="connsiteY274" fmla="*/ 2832 h 93936"/>
                <a:gd name="connsiteX275" fmla="*/ 647379 w 1075613"/>
                <a:gd name="connsiteY275" fmla="*/ 1494 h 93936"/>
                <a:gd name="connsiteX276" fmla="*/ 647697 w 1075613"/>
                <a:gd name="connsiteY276" fmla="*/ 1494 h 93936"/>
                <a:gd name="connsiteX277" fmla="*/ 710966 w 1075613"/>
                <a:gd name="connsiteY277" fmla="*/ 1494 h 93936"/>
                <a:gd name="connsiteX278" fmla="*/ 712304 w 1075613"/>
                <a:gd name="connsiteY278" fmla="*/ 2513 h 93936"/>
                <a:gd name="connsiteX279" fmla="*/ 712304 w 1075613"/>
                <a:gd name="connsiteY279" fmla="*/ 2832 h 93936"/>
                <a:gd name="connsiteX280" fmla="*/ 712304 w 1075613"/>
                <a:gd name="connsiteY280" fmla="*/ 11259 h 93936"/>
                <a:gd name="connsiteX281" fmla="*/ 711284 w 1075613"/>
                <a:gd name="connsiteY281" fmla="*/ 12596 h 93936"/>
                <a:gd name="connsiteX282" fmla="*/ 710966 w 1075613"/>
                <a:gd name="connsiteY282" fmla="*/ 12596 h 93936"/>
                <a:gd name="connsiteX283" fmla="*/ 686086 w 1075613"/>
                <a:gd name="connsiteY283" fmla="*/ 12596 h 93936"/>
                <a:gd name="connsiteX284" fmla="*/ 685284 w 1075613"/>
                <a:gd name="connsiteY284" fmla="*/ 13201 h 93936"/>
                <a:gd name="connsiteX285" fmla="*/ 685284 w 1075613"/>
                <a:gd name="connsiteY285" fmla="*/ 13399 h 93936"/>
                <a:gd name="connsiteX286" fmla="*/ 685284 w 1075613"/>
                <a:gd name="connsiteY286" fmla="*/ 91114 h 93936"/>
                <a:gd name="connsiteX287" fmla="*/ 684264 w 1075613"/>
                <a:gd name="connsiteY287" fmla="*/ 92452 h 93936"/>
                <a:gd name="connsiteX288" fmla="*/ 683946 w 1075613"/>
                <a:gd name="connsiteY288" fmla="*/ 92452 h 93936"/>
                <a:gd name="connsiteX289" fmla="*/ 740393 w 1075613"/>
                <a:gd name="connsiteY289" fmla="*/ 2832 h 93936"/>
                <a:gd name="connsiteX290" fmla="*/ 741999 w 1075613"/>
                <a:gd name="connsiteY290" fmla="*/ 1494 h 93936"/>
                <a:gd name="connsiteX291" fmla="*/ 750693 w 1075613"/>
                <a:gd name="connsiteY291" fmla="*/ 1494 h 93936"/>
                <a:gd name="connsiteX292" fmla="*/ 752432 w 1075613"/>
                <a:gd name="connsiteY292" fmla="*/ 2832 h 93936"/>
                <a:gd name="connsiteX293" fmla="*/ 783598 w 1075613"/>
                <a:gd name="connsiteY293" fmla="*/ 91114 h 93936"/>
                <a:gd name="connsiteX294" fmla="*/ 782662 w 1075613"/>
                <a:gd name="connsiteY294" fmla="*/ 92452 h 93936"/>
                <a:gd name="connsiteX295" fmla="*/ 773299 w 1075613"/>
                <a:gd name="connsiteY295" fmla="*/ 92452 h 93936"/>
                <a:gd name="connsiteX296" fmla="*/ 771560 w 1075613"/>
                <a:gd name="connsiteY296" fmla="*/ 91114 h 93936"/>
                <a:gd name="connsiteX297" fmla="*/ 764604 w 1075613"/>
                <a:gd name="connsiteY297" fmla="*/ 71318 h 93936"/>
                <a:gd name="connsiteX298" fmla="*/ 727820 w 1075613"/>
                <a:gd name="connsiteY298" fmla="*/ 71318 h 93936"/>
                <a:gd name="connsiteX299" fmla="*/ 720864 w 1075613"/>
                <a:gd name="connsiteY299" fmla="*/ 91114 h 93936"/>
                <a:gd name="connsiteX300" fmla="*/ 719125 w 1075613"/>
                <a:gd name="connsiteY300" fmla="*/ 92452 h 93936"/>
                <a:gd name="connsiteX301" fmla="*/ 709762 w 1075613"/>
                <a:gd name="connsiteY301" fmla="*/ 92452 h 93936"/>
                <a:gd name="connsiteX302" fmla="*/ 708826 w 1075613"/>
                <a:gd name="connsiteY302" fmla="*/ 91114 h 93936"/>
                <a:gd name="connsiteX303" fmla="*/ 760725 w 1075613"/>
                <a:gd name="connsiteY303" fmla="*/ 60349 h 93936"/>
                <a:gd name="connsiteX304" fmla="*/ 746413 w 1075613"/>
                <a:gd name="connsiteY304" fmla="*/ 19017 h 93936"/>
                <a:gd name="connsiteX305" fmla="*/ 746145 w 1075613"/>
                <a:gd name="connsiteY305" fmla="*/ 19017 h 93936"/>
                <a:gd name="connsiteX306" fmla="*/ 731699 w 1075613"/>
                <a:gd name="connsiteY306" fmla="*/ 60349 h 93936"/>
                <a:gd name="connsiteX307" fmla="*/ 808478 w 1075613"/>
                <a:gd name="connsiteY307" fmla="*/ 92452 h 93936"/>
                <a:gd name="connsiteX308" fmla="*/ 807140 w 1075613"/>
                <a:gd name="connsiteY308" fmla="*/ 91433 h 93936"/>
                <a:gd name="connsiteX309" fmla="*/ 807140 w 1075613"/>
                <a:gd name="connsiteY309" fmla="*/ 91114 h 93936"/>
                <a:gd name="connsiteX310" fmla="*/ 807140 w 1075613"/>
                <a:gd name="connsiteY310" fmla="*/ 13384 h 93936"/>
                <a:gd name="connsiteX311" fmla="*/ 806537 w 1075613"/>
                <a:gd name="connsiteY311" fmla="*/ 12581 h 93936"/>
                <a:gd name="connsiteX312" fmla="*/ 806338 w 1075613"/>
                <a:gd name="connsiteY312" fmla="*/ 12581 h 93936"/>
                <a:gd name="connsiteX313" fmla="*/ 781458 w 1075613"/>
                <a:gd name="connsiteY313" fmla="*/ 12581 h 93936"/>
                <a:gd name="connsiteX314" fmla="*/ 780121 w 1075613"/>
                <a:gd name="connsiteY314" fmla="*/ 11563 h 93936"/>
                <a:gd name="connsiteX315" fmla="*/ 780121 w 1075613"/>
                <a:gd name="connsiteY315" fmla="*/ 11244 h 93936"/>
                <a:gd name="connsiteX316" fmla="*/ 780121 w 1075613"/>
                <a:gd name="connsiteY316" fmla="*/ 2832 h 93936"/>
                <a:gd name="connsiteX317" fmla="*/ 781140 w 1075613"/>
                <a:gd name="connsiteY317" fmla="*/ 1494 h 93936"/>
                <a:gd name="connsiteX318" fmla="*/ 781458 w 1075613"/>
                <a:gd name="connsiteY318" fmla="*/ 1494 h 93936"/>
                <a:gd name="connsiteX319" fmla="*/ 844727 w 1075613"/>
                <a:gd name="connsiteY319" fmla="*/ 1494 h 93936"/>
                <a:gd name="connsiteX320" fmla="*/ 846065 w 1075613"/>
                <a:gd name="connsiteY320" fmla="*/ 2513 h 93936"/>
                <a:gd name="connsiteX321" fmla="*/ 846065 w 1075613"/>
                <a:gd name="connsiteY321" fmla="*/ 2832 h 93936"/>
                <a:gd name="connsiteX322" fmla="*/ 846065 w 1075613"/>
                <a:gd name="connsiteY322" fmla="*/ 11259 h 93936"/>
                <a:gd name="connsiteX323" fmla="*/ 845046 w 1075613"/>
                <a:gd name="connsiteY323" fmla="*/ 12596 h 93936"/>
                <a:gd name="connsiteX324" fmla="*/ 844727 w 1075613"/>
                <a:gd name="connsiteY324" fmla="*/ 12596 h 93936"/>
                <a:gd name="connsiteX325" fmla="*/ 819848 w 1075613"/>
                <a:gd name="connsiteY325" fmla="*/ 12596 h 93936"/>
                <a:gd name="connsiteX326" fmla="*/ 819045 w 1075613"/>
                <a:gd name="connsiteY326" fmla="*/ 13201 h 93936"/>
                <a:gd name="connsiteX327" fmla="*/ 819045 w 1075613"/>
                <a:gd name="connsiteY327" fmla="*/ 13399 h 93936"/>
                <a:gd name="connsiteX328" fmla="*/ 819045 w 1075613"/>
                <a:gd name="connsiteY328" fmla="*/ 91114 h 93936"/>
                <a:gd name="connsiteX329" fmla="*/ 818026 w 1075613"/>
                <a:gd name="connsiteY329" fmla="*/ 92452 h 93936"/>
                <a:gd name="connsiteX330" fmla="*/ 817708 w 1075613"/>
                <a:gd name="connsiteY330" fmla="*/ 92452 h 93936"/>
                <a:gd name="connsiteX331" fmla="*/ 860259 w 1075613"/>
                <a:gd name="connsiteY331" fmla="*/ 2832 h 93936"/>
                <a:gd name="connsiteX332" fmla="*/ 861278 w 1075613"/>
                <a:gd name="connsiteY332" fmla="*/ 1494 h 93936"/>
                <a:gd name="connsiteX333" fmla="*/ 861596 w 1075613"/>
                <a:gd name="connsiteY333" fmla="*/ 1494 h 93936"/>
                <a:gd name="connsiteX334" fmla="*/ 870811 w 1075613"/>
                <a:gd name="connsiteY334" fmla="*/ 1494 h 93936"/>
                <a:gd name="connsiteX335" fmla="*/ 872149 w 1075613"/>
                <a:gd name="connsiteY335" fmla="*/ 2513 h 93936"/>
                <a:gd name="connsiteX336" fmla="*/ 872149 w 1075613"/>
                <a:gd name="connsiteY336" fmla="*/ 2832 h 93936"/>
                <a:gd name="connsiteX337" fmla="*/ 872149 w 1075613"/>
                <a:gd name="connsiteY337" fmla="*/ 91114 h 93936"/>
                <a:gd name="connsiteX338" fmla="*/ 871129 w 1075613"/>
                <a:gd name="connsiteY338" fmla="*/ 92452 h 93936"/>
                <a:gd name="connsiteX339" fmla="*/ 870811 w 1075613"/>
                <a:gd name="connsiteY339" fmla="*/ 92452 h 93936"/>
                <a:gd name="connsiteX340" fmla="*/ 861596 w 1075613"/>
                <a:gd name="connsiteY340" fmla="*/ 92452 h 93936"/>
                <a:gd name="connsiteX341" fmla="*/ 860259 w 1075613"/>
                <a:gd name="connsiteY341" fmla="*/ 91433 h 93936"/>
                <a:gd name="connsiteX342" fmla="*/ 860259 w 1075613"/>
                <a:gd name="connsiteY342" fmla="*/ 91114 h 93936"/>
                <a:gd name="connsiteX343" fmla="*/ 924732 w 1075613"/>
                <a:gd name="connsiteY343" fmla="*/ 93923 h 93936"/>
                <a:gd name="connsiteX344" fmla="*/ 905271 w 1075613"/>
                <a:gd name="connsiteY344" fmla="*/ 88573 h 93936"/>
                <a:gd name="connsiteX345" fmla="*/ 893833 w 1075613"/>
                <a:gd name="connsiteY345" fmla="*/ 72655 h 93936"/>
                <a:gd name="connsiteX346" fmla="*/ 892694 w 1075613"/>
                <a:gd name="connsiteY346" fmla="*/ 68494 h 93936"/>
                <a:gd name="connsiteX347" fmla="*/ 891960 w 1075613"/>
                <a:gd name="connsiteY347" fmla="*/ 63479 h 93936"/>
                <a:gd name="connsiteX348" fmla="*/ 891559 w 1075613"/>
                <a:gd name="connsiteY348" fmla="*/ 56589 h 93936"/>
                <a:gd name="connsiteX349" fmla="*/ 891425 w 1075613"/>
                <a:gd name="connsiteY349" fmla="*/ 46958 h 93936"/>
                <a:gd name="connsiteX350" fmla="*/ 891559 w 1075613"/>
                <a:gd name="connsiteY350" fmla="*/ 37327 h 93936"/>
                <a:gd name="connsiteX351" fmla="*/ 891960 w 1075613"/>
                <a:gd name="connsiteY351" fmla="*/ 30440 h 93936"/>
                <a:gd name="connsiteX352" fmla="*/ 892694 w 1075613"/>
                <a:gd name="connsiteY352" fmla="*/ 25426 h 93936"/>
                <a:gd name="connsiteX353" fmla="*/ 893833 w 1075613"/>
                <a:gd name="connsiteY353" fmla="*/ 21264 h 93936"/>
                <a:gd name="connsiteX354" fmla="*/ 905256 w 1075613"/>
                <a:gd name="connsiteY354" fmla="*/ 5358 h 93936"/>
                <a:gd name="connsiteX355" fmla="*/ 944314 w 1075613"/>
                <a:gd name="connsiteY355" fmla="*/ 5358 h 93936"/>
                <a:gd name="connsiteX356" fmla="*/ 955752 w 1075613"/>
                <a:gd name="connsiteY356" fmla="*/ 21276 h 93936"/>
                <a:gd name="connsiteX357" fmla="*/ 956891 w 1075613"/>
                <a:gd name="connsiteY357" fmla="*/ 25437 h 93936"/>
                <a:gd name="connsiteX358" fmla="*/ 957625 w 1075613"/>
                <a:gd name="connsiteY358" fmla="*/ 30455 h 93936"/>
                <a:gd name="connsiteX359" fmla="*/ 958026 w 1075613"/>
                <a:gd name="connsiteY359" fmla="*/ 37342 h 93936"/>
                <a:gd name="connsiteX360" fmla="*/ 958160 w 1075613"/>
                <a:gd name="connsiteY360" fmla="*/ 46973 h 93936"/>
                <a:gd name="connsiteX361" fmla="*/ 958026 w 1075613"/>
                <a:gd name="connsiteY361" fmla="*/ 56604 h 93936"/>
                <a:gd name="connsiteX362" fmla="*/ 957625 w 1075613"/>
                <a:gd name="connsiteY362" fmla="*/ 63494 h 93936"/>
                <a:gd name="connsiteX363" fmla="*/ 956891 w 1075613"/>
                <a:gd name="connsiteY363" fmla="*/ 68512 h 93936"/>
                <a:gd name="connsiteX364" fmla="*/ 955752 w 1075613"/>
                <a:gd name="connsiteY364" fmla="*/ 72673 h 93936"/>
                <a:gd name="connsiteX365" fmla="*/ 944314 w 1075613"/>
                <a:gd name="connsiteY365" fmla="*/ 88591 h 93936"/>
                <a:gd name="connsiteX366" fmla="*/ 924717 w 1075613"/>
                <a:gd name="connsiteY366" fmla="*/ 93923 h 93936"/>
                <a:gd name="connsiteX367" fmla="*/ 924732 w 1075613"/>
                <a:gd name="connsiteY367" fmla="*/ 82821 h 93936"/>
                <a:gd name="connsiteX368" fmla="*/ 937171 w 1075613"/>
                <a:gd name="connsiteY368" fmla="*/ 79343 h 93936"/>
                <a:gd name="connsiteX369" fmla="*/ 944127 w 1075613"/>
                <a:gd name="connsiteY369" fmla="*/ 69311 h 93936"/>
                <a:gd name="connsiteX370" fmla="*/ 944861 w 1075613"/>
                <a:gd name="connsiteY370" fmla="*/ 66300 h 93936"/>
                <a:gd name="connsiteX371" fmla="*/ 945530 w 1075613"/>
                <a:gd name="connsiteY371" fmla="*/ 61821 h 93936"/>
                <a:gd name="connsiteX372" fmla="*/ 946000 w 1075613"/>
                <a:gd name="connsiteY372" fmla="*/ 55534 h 93936"/>
                <a:gd name="connsiteX373" fmla="*/ 946134 w 1075613"/>
                <a:gd name="connsiteY373" fmla="*/ 46973 h 93936"/>
                <a:gd name="connsiteX374" fmla="*/ 946000 w 1075613"/>
                <a:gd name="connsiteY374" fmla="*/ 38412 h 93936"/>
                <a:gd name="connsiteX375" fmla="*/ 945530 w 1075613"/>
                <a:gd name="connsiteY375" fmla="*/ 32126 h 93936"/>
                <a:gd name="connsiteX376" fmla="*/ 944861 w 1075613"/>
                <a:gd name="connsiteY376" fmla="*/ 27646 h 93936"/>
                <a:gd name="connsiteX377" fmla="*/ 944127 w 1075613"/>
                <a:gd name="connsiteY377" fmla="*/ 24635 h 93936"/>
                <a:gd name="connsiteX378" fmla="*/ 937171 w 1075613"/>
                <a:gd name="connsiteY378" fmla="*/ 14603 h 93936"/>
                <a:gd name="connsiteX379" fmla="*/ 924732 w 1075613"/>
                <a:gd name="connsiteY379" fmla="*/ 11125 h 93936"/>
                <a:gd name="connsiteX380" fmla="*/ 912357 w 1075613"/>
                <a:gd name="connsiteY380" fmla="*/ 14603 h 93936"/>
                <a:gd name="connsiteX381" fmla="*/ 905467 w 1075613"/>
                <a:gd name="connsiteY381" fmla="*/ 24635 h 93936"/>
                <a:gd name="connsiteX382" fmla="*/ 904733 w 1075613"/>
                <a:gd name="connsiteY382" fmla="*/ 27646 h 93936"/>
                <a:gd name="connsiteX383" fmla="*/ 904064 w 1075613"/>
                <a:gd name="connsiteY383" fmla="*/ 32126 h 93936"/>
                <a:gd name="connsiteX384" fmla="*/ 903594 w 1075613"/>
                <a:gd name="connsiteY384" fmla="*/ 38412 h 93936"/>
                <a:gd name="connsiteX385" fmla="*/ 903461 w 1075613"/>
                <a:gd name="connsiteY385" fmla="*/ 46973 h 93936"/>
                <a:gd name="connsiteX386" fmla="*/ 903594 w 1075613"/>
                <a:gd name="connsiteY386" fmla="*/ 55534 h 93936"/>
                <a:gd name="connsiteX387" fmla="*/ 904064 w 1075613"/>
                <a:gd name="connsiteY387" fmla="*/ 61821 h 93936"/>
                <a:gd name="connsiteX388" fmla="*/ 904733 w 1075613"/>
                <a:gd name="connsiteY388" fmla="*/ 66300 h 93936"/>
                <a:gd name="connsiteX389" fmla="*/ 905467 w 1075613"/>
                <a:gd name="connsiteY389" fmla="*/ 69311 h 93936"/>
                <a:gd name="connsiteX390" fmla="*/ 912357 w 1075613"/>
                <a:gd name="connsiteY390" fmla="*/ 79343 h 93936"/>
                <a:gd name="connsiteX391" fmla="*/ 924717 w 1075613"/>
                <a:gd name="connsiteY391" fmla="*/ 82821 h 93936"/>
                <a:gd name="connsiteX392" fmla="*/ 977434 w 1075613"/>
                <a:gd name="connsiteY392" fmla="*/ 2832 h 93936"/>
                <a:gd name="connsiteX393" fmla="*/ 978453 w 1075613"/>
                <a:gd name="connsiteY393" fmla="*/ 1494 h 93936"/>
                <a:gd name="connsiteX394" fmla="*/ 978771 w 1075613"/>
                <a:gd name="connsiteY394" fmla="*/ 1494 h 93936"/>
                <a:gd name="connsiteX395" fmla="*/ 987332 w 1075613"/>
                <a:gd name="connsiteY395" fmla="*/ 1494 h 93936"/>
                <a:gd name="connsiteX396" fmla="*/ 989606 w 1075613"/>
                <a:gd name="connsiteY396" fmla="*/ 2832 h 93936"/>
                <a:gd name="connsiteX397" fmla="*/ 1030790 w 1075613"/>
                <a:gd name="connsiteY397" fmla="*/ 71050 h 93936"/>
                <a:gd name="connsiteX398" fmla="*/ 1031325 w 1075613"/>
                <a:gd name="connsiteY398" fmla="*/ 71050 h 93936"/>
                <a:gd name="connsiteX399" fmla="*/ 1031325 w 1075613"/>
                <a:gd name="connsiteY399" fmla="*/ 2832 h 93936"/>
                <a:gd name="connsiteX400" fmla="*/ 1032344 w 1075613"/>
                <a:gd name="connsiteY400" fmla="*/ 1494 h 93936"/>
                <a:gd name="connsiteX401" fmla="*/ 1032662 w 1075613"/>
                <a:gd name="connsiteY401" fmla="*/ 1494 h 93936"/>
                <a:gd name="connsiteX402" fmla="*/ 1041089 w 1075613"/>
                <a:gd name="connsiteY402" fmla="*/ 1494 h 93936"/>
                <a:gd name="connsiteX403" fmla="*/ 1042427 w 1075613"/>
                <a:gd name="connsiteY403" fmla="*/ 2513 h 93936"/>
                <a:gd name="connsiteX404" fmla="*/ 1042427 w 1075613"/>
                <a:gd name="connsiteY404" fmla="*/ 2832 h 93936"/>
                <a:gd name="connsiteX405" fmla="*/ 1042427 w 1075613"/>
                <a:gd name="connsiteY405" fmla="*/ 91114 h 93936"/>
                <a:gd name="connsiteX406" fmla="*/ 1041407 w 1075613"/>
                <a:gd name="connsiteY406" fmla="*/ 92452 h 93936"/>
                <a:gd name="connsiteX407" fmla="*/ 1041089 w 1075613"/>
                <a:gd name="connsiteY407" fmla="*/ 92452 h 93936"/>
                <a:gd name="connsiteX408" fmla="*/ 1032529 w 1075613"/>
                <a:gd name="connsiteY408" fmla="*/ 92452 h 93936"/>
                <a:gd name="connsiteX409" fmla="*/ 1030255 w 1075613"/>
                <a:gd name="connsiteY409" fmla="*/ 91114 h 93936"/>
                <a:gd name="connsiteX410" fmla="*/ 988937 w 1075613"/>
                <a:gd name="connsiteY410" fmla="*/ 23164 h 93936"/>
                <a:gd name="connsiteX411" fmla="*/ 988536 w 1075613"/>
                <a:gd name="connsiteY411" fmla="*/ 23164 h 93936"/>
                <a:gd name="connsiteX412" fmla="*/ 988536 w 1075613"/>
                <a:gd name="connsiteY412" fmla="*/ 91114 h 93936"/>
                <a:gd name="connsiteX413" fmla="*/ 987519 w 1075613"/>
                <a:gd name="connsiteY413" fmla="*/ 92454 h 93936"/>
                <a:gd name="connsiteX414" fmla="*/ 987183 w 1075613"/>
                <a:gd name="connsiteY414" fmla="*/ 92452 h 93936"/>
                <a:gd name="connsiteX415" fmla="*/ 978756 w 1075613"/>
                <a:gd name="connsiteY415" fmla="*/ 92452 h 93936"/>
                <a:gd name="connsiteX416" fmla="*/ 977419 w 1075613"/>
                <a:gd name="connsiteY416" fmla="*/ 91433 h 93936"/>
                <a:gd name="connsiteX417" fmla="*/ 977419 w 1075613"/>
                <a:gd name="connsiteY417" fmla="*/ 91114 h 93936"/>
                <a:gd name="connsiteX418" fmla="*/ 1063041 w 1075613"/>
                <a:gd name="connsiteY418" fmla="*/ 79611 h 93936"/>
                <a:gd name="connsiteX419" fmla="*/ 1064061 w 1075613"/>
                <a:gd name="connsiteY419" fmla="*/ 78273 h 93936"/>
                <a:gd name="connsiteX420" fmla="*/ 1064379 w 1075613"/>
                <a:gd name="connsiteY420" fmla="*/ 78273 h 93936"/>
                <a:gd name="connsiteX421" fmla="*/ 1074545 w 1075613"/>
                <a:gd name="connsiteY421" fmla="*/ 78273 h 93936"/>
                <a:gd name="connsiteX422" fmla="*/ 1075882 w 1075613"/>
                <a:gd name="connsiteY422" fmla="*/ 79292 h 93936"/>
                <a:gd name="connsiteX423" fmla="*/ 1075882 w 1075613"/>
                <a:gd name="connsiteY423" fmla="*/ 79611 h 93936"/>
                <a:gd name="connsiteX424" fmla="*/ 1075882 w 1075613"/>
                <a:gd name="connsiteY424" fmla="*/ 91114 h 93936"/>
                <a:gd name="connsiteX425" fmla="*/ 1074863 w 1075613"/>
                <a:gd name="connsiteY425" fmla="*/ 92452 h 93936"/>
                <a:gd name="connsiteX426" fmla="*/ 1074545 w 1075613"/>
                <a:gd name="connsiteY426" fmla="*/ 92452 h 93936"/>
                <a:gd name="connsiteX427" fmla="*/ 1064379 w 1075613"/>
                <a:gd name="connsiteY427" fmla="*/ 92452 h 93936"/>
                <a:gd name="connsiteX428" fmla="*/ 1063041 w 1075613"/>
                <a:gd name="connsiteY428" fmla="*/ 91433 h 93936"/>
                <a:gd name="connsiteX429" fmla="*/ 1063041 w 1075613"/>
                <a:gd name="connsiteY429" fmla="*/ 91114 h 9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Lst>
              <a:rect l="l" t="t" r="r" b="b"/>
              <a:pathLst>
                <a:path w="1075613" h="93936">
                  <a:moveTo>
                    <a:pt x="28649" y="92452"/>
                  </a:moveTo>
                  <a:cubicBezTo>
                    <a:pt x="27998" y="92540"/>
                    <a:pt x="27399" y="92084"/>
                    <a:pt x="27311" y="91433"/>
                  </a:cubicBezTo>
                  <a:cubicBezTo>
                    <a:pt x="27297" y="91327"/>
                    <a:pt x="27297" y="91220"/>
                    <a:pt x="27311" y="91114"/>
                  </a:cubicBezTo>
                  <a:lnTo>
                    <a:pt x="27311" y="13384"/>
                  </a:lnTo>
                  <a:cubicBezTo>
                    <a:pt x="27366" y="12996"/>
                    <a:pt x="27095" y="12636"/>
                    <a:pt x="26706" y="12581"/>
                  </a:cubicBezTo>
                  <a:cubicBezTo>
                    <a:pt x="26641" y="12572"/>
                    <a:pt x="26574" y="12572"/>
                    <a:pt x="26508" y="12581"/>
                  </a:cubicBezTo>
                  <a:lnTo>
                    <a:pt x="1629" y="12581"/>
                  </a:lnTo>
                  <a:cubicBezTo>
                    <a:pt x="978" y="12670"/>
                    <a:pt x="379" y="12213"/>
                    <a:pt x="291" y="11563"/>
                  </a:cubicBezTo>
                  <a:cubicBezTo>
                    <a:pt x="277" y="11457"/>
                    <a:pt x="277" y="11350"/>
                    <a:pt x="291" y="11244"/>
                  </a:cubicBezTo>
                  <a:lnTo>
                    <a:pt x="291" y="2832"/>
                  </a:lnTo>
                  <a:cubicBezTo>
                    <a:pt x="203" y="2181"/>
                    <a:pt x="659" y="1582"/>
                    <a:pt x="1310" y="1494"/>
                  </a:cubicBezTo>
                  <a:cubicBezTo>
                    <a:pt x="1416" y="1480"/>
                    <a:pt x="1523" y="1480"/>
                    <a:pt x="1629" y="1494"/>
                  </a:cubicBezTo>
                  <a:lnTo>
                    <a:pt x="64898" y="1494"/>
                  </a:lnTo>
                  <a:cubicBezTo>
                    <a:pt x="65549" y="1406"/>
                    <a:pt x="66147" y="1862"/>
                    <a:pt x="66235" y="2513"/>
                  </a:cubicBezTo>
                  <a:cubicBezTo>
                    <a:pt x="66250" y="2619"/>
                    <a:pt x="66250" y="2726"/>
                    <a:pt x="66235" y="2832"/>
                  </a:cubicBezTo>
                  <a:lnTo>
                    <a:pt x="66235" y="11259"/>
                  </a:lnTo>
                  <a:cubicBezTo>
                    <a:pt x="66323" y="11909"/>
                    <a:pt x="65867" y="12508"/>
                    <a:pt x="65217" y="12596"/>
                  </a:cubicBezTo>
                  <a:cubicBezTo>
                    <a:pt x="65111" y="12611"/>
                    <a:pt x="65004" y="12611"/>
                    <a:pt x="64898" y="12596"/>
                  </a:cubicBezTo>
                  <a:lnTo>
                    <a:pt x="40018" y="12596"/>
                  </a:lnTo>
                  <a:cubicBezTo>
                    <a:pt x="39630" y="12542"/>
                    <a:pt x="39270" y="12812"/>
                    <a:pt x="39216" y="13201"/>
                  </a:cubicBezTo>
                  <a:cubicBezTo>
                    <a:pt x="39206" y="13266"/>
                    <a:pt x="39206" y="13333"/>
                    <a:pt x="39216" y="13399"/>
                  </a:cubicBezTo>
                  <a:lnTo>
                    <a:pt x="39216" y="91114"/>
                  </a:lnTo>
                  <a:cubicBezTo>
                    <a:pt x="39304" y="91765"/>
                    <a:pt x="38847" y="92364"/>
                    <a:pt x="38197" y="92452"/>
                  </a:cubicBezTo>
                  <a:cubicBezTo>
                    <a:pt x="38091" y="92466"/>
                    <a:pt x="37984" y="92466"/>
                    <a:pt x="37878" y="92452"/>
                  </a:cubicBezTo>
                  <a:close/>
                  <a:moveTo>
                    <a:pt x="133116" y="92452"/>
                  </a:moveTo>
                  <a:cubicBezTo>
                    <a:pt x="132302" y="92446"/>
                    <a:pt x="131592" y="91899"/>
                    <a:pt x="131377" y="91114"/>
                  </a:cubicBezTo>
                  <a:lnTo>
                    <a:pt x="113186" y="53929"/>
                  </a:lnTo>
                  <a:lnTo>
                    <a:pt x="93122" y="53929"/>
                  </a:lnTo>
                  <a:cubicBezTo>
                    <a:pt x="92733" y="53874"/>
                    <a:pt x="92374" y="54144"/>
                    <a:pt x="92319" y="54533"/>
                  </a:cubicBezTo>
                  <a:cubicBezTo>
                    <a:pt x="92310" y="54599"/>
                    <a:pt x="92310" y="54666"/>
                    <a:pt x="92319" y="54731"/>
                  </a:cubicBezTo>
                  <a:lnTo>
                    <a:pt x="92319" y="91114"/>
                  </a:lnTo>
                  <a:cubicBezTo>
                    <a:pt x="92407" y="91765"/>
                    <a:pt x="91951" y="92364"/>
                    <a:pt x="91300" y="92452"/>
                  </a:cubicBezTo>
                  <a:cubicBezTo>
                    <a:pt x="91194" y="92466"/>
                    <a:pt x="91087" y="92466"/>
                    <a:pt x="90981" y="92452"/>
                  </a:cubicBezTo>
                  <a:lnTo>
                    <a:pt x="81767" y="92452"/>
                  </a:lnTo>
                  <a:cubicBezTo>
                    <a:pt x="81116" y="92540"/>
                    <a:pt x="80517" y="92084"/>
                    <a:pt x="80429" y="91433"/>
                  </a:cubicBezTo>
                  <a:cubicBezTo>
                    <a:pt x="80415" y="91327"/>
                    <a:pt x="80415" y="91220"/>
                    <a:pt x="80429" y="91114"/>
                  </a:cubicBezTo>
                  <a:lnTo>
                    <a:pt x="80429" y="2832"/>
                  </a:lnTo>
                  <a:cubicBezTo>
                    <a:pt x="80341" y="2181"/>
                    <a:pt x="80797" y="1582"/>
                    <a:pt x="81448" y="1494"/>
                  </a:cubicBezTo>
                  <a:cubicBezTo>
                    <a:pt x="81554" y="1480"/>
                    <a:pt x="81661" y="1480"/>
                    <a:pt x="81767" y="1494"/>
                  </a:cubicBezTo>
                  <a:lnTo>
                    <a:pt x="114672" y="1494"/>
                  </a:lnTo>
                  <a:cubicBezTo>
                    <a:pt x="118630" y="1441"/>
                    <a:pt x="122568" y="2075"/>
                    <a:pt x="126309" y="3367"/>
                  </a:cubicBezTo>
                  <a:cubicBezTo>
                    <a:pt x="129618" y="4515"/>
                    <a:pt x="132664" y="6310"/>
                    <a:pt x="135271" y="8649"/>
                  </a:cubicBezTo>
                  <a:cubicBezTo>
                    <a:pt x="137788" y="10960"/>
                    <a:pt x="139769" y="13794"/>
                    <a:pt x="141077" y="16951"/>
                  </a:cubicBezTo>
                  <a:cubicBezTo>
                    <a:pt x="142492" y="20362"/>
                    <a:pt x="143200" y="24025"/>
                    <a:pt x="143157" y="27717"/>
                  </a:cubicBezTo>
                  <a:cubicBezTo>
                    <a:pt x="143328" y="33323"/>
                    <a:pt x="141635" y="38828"/>
                    <a:pt x="138342" y="43367"/>
                  </a:cubicBezTo>
                  <a:cubicBezTo>
                    <a:pt x="135044" y="47709"/>
                    <a:pt x="130455" y="50894"/>
                    <a:pt x="125233" y="52463"/>
                  </a:cubicBezTo>
                  <a:lnTo>
                    <a:pt x="144620" y="90847"/>
                  </a:lnTo>
                  <a:cubicBezTo>
                    <a:pt x="144875" y="91170"/>
                    <a:pt x="144927" y="91609"/>
                    <a:pt x="144753" y="91982"/>
                  </a:cubicBezTo>
                  <a:cubicBezTo>
                    <a:pt x="144557" y="92305"/>
                    <a:pt x="144193" y="92488"/>
                    <a:pt x="143817" y="92452"/>
                  </a:cubicBezTo>
                  <a:close/>
                  <a:moveTo>
                    <a:pt x="114390" y="42826"/>
                  </a:moveTo>
                  <a:cubicBezTo>
                    <a:pt x="118883" y="43111"/>
                    <a:pt x="123321" y="41704"/>
                    <a:pt x="126829" y="38882"/>
                  </a:cubicBezTo>
                  <a:cubicBezTo>
                    <a:pt x="129880" y="35995"/>
                    <a:pt x="131497" y="31904"/>
                    <a:pt x="131244" y="27711"/>
                  </a:cubicBezTo>
                  <a:cubicBezTo>
                    <a:pt x="131497" y="23518"/>
                    <a:pt x="129880" y="19428"/>
                    <a:pt x="126829" y="16541"/>
                  </a:cubicBezTo>
                  <a:cubicBezTo>
                    <a:pt x="123321" y="13719"/>
                    <a:pt x="118883" y="12312"/>
                    <a:pt x="114390" y="12596"/>
                  </a:cubicBezTo>
                  <a:lnTo>
                    <a:pt x="93122" y="12596"/>
                  </a:lnTo>
                  <a:cubicBezTo>
                    <a:pt x="92733" y="12542"/>
                    <a:pt x="92374" y="12812"/>
                    <a:pt x="92319" y="13201"/>
                  </a:cubicBezTo>
                  <a:cubicBezTo>
                    <a:pt x="92310" y="13266"/>
                    <a:pt x="92310" y="13333"/>
                    <a:pt x="92319" y="13399"/>
                  </a:cubicBezTo>
                  <a:lnTo>
                    <a:pt x="92319" y="42024"/>
                  </a:lnTo>
                  <a:cubicBezTo>
                    <a:pt x="92264" y="42412"/>
                    <a:pt x="92535" y="42772"/>
                    <a:pt x="92923" y="42826"/>
                  </a:cubicBezTo>
                  <a:cubicBezTo>
                    <a:pt x="92989" y="42836"/>
                    <a:pt x="93056" y="42836"/>
                    <a:pt x="93122" y="42826"/>
                  </a:cubicBezTo>
                  <a:close/>
                  <a:moveTo>
                    <a:pt x="186487" y="2832"/>
                  </a:moveTo>
                  <a:cubicBezTo>
                    <a:pt x="186619" y="2051"/>
                    <a:pt x="187300" y="1483"/>
                    <a:pt x="188092" y="1494"/>
                  </a:cubicBezTo>
                  <a:lnTo>
                    <a:pt x="196802" y="1494"/>
                  </a:lnTo>
                  <a:cubicBezTo>
                    <a:pt x="197633" y="1448"/>
                    <a:pt x="198372" y="2017"/>
                    <a:pt x="198540" y="2832"/>
                  </a:cubicBezTo>
                  <a:lnTo>
                    <a:pt x="229707" y="91114"/>
                  </a:lnTo>
                  <a:cubicBezTo>
                    <a:pt x="229974" y="92006"/>
                    <a:pt x="229662" y="92452"/>
                    <a:pt x="228771" y="92452"/>
                  </a:cubicBezTo>
                  <a:lnTo>
                    <a:pt x="219392" y="92452"/>
                  </a:lnTo>
                  <a:cubicBezTo>
                    <a:pt x="218561" y="92499"/>
                    <a:pt x="217821" y="91929"/>
                    <a:pt x="217654" y="91114"/>
                  </a:cubicBezTo>
                  <a:lnTo>
                    <a:pt x="210698" y="71318"/>
                  </a:lnTo>
                  <a:lnTo>
                    <a:pt x="173914" y="71318"/>
                  </a:lnTo>
                  <a:lnTo>
                    <a:pt x="166958" y="91114"/>
                  </a:lnTo>
                  <a:cubicBezTo>
                    <a:pt x="166744" y="91899"/>
                    <a:pt x="166033" y="92446"/>
                    <a:pt x="165219" y="92452"/>
                  </a:cubicBezTo>
                  <a:lnTo>
                    <a:pt x="155856" y="92452"/>
                  </a:lnTo>
                  <a:cubicBezTo>
                    <a:pt x="154964" y="92452"/>
                    <a:pt x="154652" y="92006"/>
                    <a:pt x="154919" y="91114"/>
                  </a:cubicBezTo>
                  <a:close/>
                  <a:moveTo>
                    <a:pt x="206819" y="60349"/>
                  </a:moveTo>
                  <a:lnTo>
                    <a:pt x="192506" y="19017"/>
                  </a:lnTo>
                  <a:lnTo>
                    <a:pt x="192239" y="19017"/>
                  </a:lnTo>
                  <a:lnTo>
                    <a:pt x="177793" y="60349"/>
                  </a:lnTo>
                  <a:close/>
                  <a:moveTo>
                    <a:pt x="244138" y="2832"/>
                  </a:moveTo>
                  <a:cubicBezTo>
                    <a:pt x="244050" y="2181"/>
                    <a:pt x="244507" y="1582"/>
                    <a:pt x="245157" y="1494"/>
                  </a:cubicBezTo>
                  <a:cubicBezTo>
                    <a:pt x="245263" y="1480"/>
                    <a:pt x="245370" y="1480"/>
                    <a:pt x="245476" y="1494"/>
                  </a:cubicBezTo>
                  <a:lnTo>
                    <a:pt x="254037" y="1494"/>
                  </a:lnTo>
                  <a:cubicBezTo>
                    <a:pt x="254998" y="1429"/>
                    <a:pt x="255900" y="1960"/>
                    <a:pt x="256311" y="2832"/>
                  </a:cubicBezTo>
                  <a:lnTo>
                    <a:pt x="297509" y="71050"/>
                  </a:lnTo>
                  <a:lnTo>
                    <a:pt x="298044" y="71050"/>
                  </a:lnTo>
                  <a:lnTo>
                    <a:pt x="298044" y="2832"/>
                  </a:lnTo>
                  <a:cubicBezTo>
                    <a:pt x="297955" y="2181"/>
                    <a:pt x="298413" y="1582"/>
                    <a:pt x="299064" y="1494"/>
                  </a:cubicBezTo>
                  <a:cubicBezTo>
                    <a:pt x="299168" y="1480"/>
                    <a:pt x="299275" y="1480"/>
                    <a:pt x="299382" y="1494"/>
                  </a:cubicBezTo>
                  <a:lnTo>
                    <a:pt x="307809" y="1494"/>
                  </a:lnTo>
                  <a:cubicBezTo>
                    <a:pt x="308460" y="1406"/>
                    <a:pt x="309057" y="1862"/>
                    <a:pt x="309146" y="2513"/>
                  </a:cubicBezTo>
                  <a:cubicBezTo>
                    <a:pt x="309161" y="2619"/>
                    <a:pt x="309161" y="2726"/>
                    <a:pt x="309146" y="2832"/>
                  </a:cubicBezTo>
                  <a:lnTo>
                    <a:pt x="309146" y="91114"/>
                  </a:lnTo>
                  <a:cubicBezTo>
                    <a:pt x="309236" y="91765"/>
                    <a:pt x="308778" y="92364"/>
                    <a:pt x="308127" y="92452"/>
                  </a:cubicBezTo>
                  <a:cubicBezTo>
                    <a:pt x="308023" y="92466"/>
                    <a:pt x="307916" y="92466"/>
                    <a:pt x="307809" y="92452"/>
                  </a:cubicBezTo>
                  <a:lnTo>
                    <a:pt x="299248" y="92452"/>
                  </a:lnTo>
                  <a:cubicBezTo>
                    <a:pt x="298288" y="92517"/>
                    <a:pt x="297384" y="91986"/>
                    <a:pt x="296974" y="91114"/>
                  </a:cubicBezTo>
                  <a:lnTo>
                    <a:pt x="255657" y="23164"/>
                  </a:lnTo>
                  <a:lnTo>
                    <a:pt x="255240" y="23164"/>
                  </a:lnTo>
                  <a:lnTo>
                    <a:pt x="255240" y="91114"/>
                  </a:lnTo>
                  <a:cubicBezTo>
                    <a:pt x="255328" y="91765"/>
                    <a:pt x="254872" y="92364"/>
                    <a:pt x="254222" y="92452"/>
                  </a:cubicBezTo>
                  <a:cubicBezTo>
                    <a:pt x="254116" y="92466"/>
                    <a:pt x="254009" y="92466"/>
                    <a:pt x="253903" y="92452"/>
                  </a:cubicBezTo>
                  <a:lnTo>
                    <a:pt x="245476" y="92452"/>
                  </a:lnTo>
                  <a:cubicBezTo>
                    <a:pt x="244825" y="92540"/>
                    <a:pt x="244226" y="92084"/>
                    <a:pt x="244138" y="91433"/>
                  </a:cubicBezTo>
                  <a:cubicBezTo>
                    <a:pt x="244124" y="91327"/>
                    <a:pt x="244124" y="91220"/>
                    <a:pt x="244138" y="91114"/>
                  </a:cubicBezTo>
                  <a:close/>
                  <a:moveTo>
                    <a:pt x="359173" y="93923"/>
                  </a:moveTo>
                  <a:cubicBezTo>
                    <a:pt x="355981" y="93926"/>
                    <a:pt x="352794" y="93613"/>
                    <a:pt x="349661" y="92987"/>
                  </a:cubicBezTo>
                  <a:cubicBezTo>
                    <a:pt x="346659" y="92395"/>
                    <a:pt x="343707" y="91567"/>
                    <a:pt x="340833" y="90511"/>
                  </a:cubicBezTo>
                  <a:cubicBezTo>
                    <a:pt x="338196" y="89540"/>
                    <a:pt x="335655" y="88331"/>
                    <a:pt x="333238" y="86899"/>
                  </a:cubicBezTo>
                  <a:cubicBezTo>
                    <a:pt x="331098" y="85646"/>
                    <a:pt x="329083" y="84191"/>
                    <a:pt x="327219" y="82554"/>
                  </a:cubicBezTo>
                  <a:cubicBezTo>
                    <a:pt x="326630" y="82073"/>
                    <a:pt x="326544" y="81206"/>
                    <a:pt x="327023" y="80617"/>
                  </a:cubicBezTo>
                  <a:cubicBezTo>
                    <a:pt x="327044" y="80593"/>
                    <a:pt x="327064" y="80570"/>
                    <a:pt x="327085" y="80547"/>
                  </a:cubicBezTo>
                  <a:lnTo>
                    <a:pt x="332971" y="73592"/>
                  </a:lnTo>
                  <a:cubicBezTo>
                    <a:pt x="333366" y="73043"/>
                    <a:pt x="334133" y="72920"/>
                    <a:pt x="334680" y="73317"/>
                  </a:cubicBezTo>
                  <a:cubicBezTo>
                    <a:pt x="334739" y="73359"/>
                    <a:pt x="334793" y="73406"/>
                    <a:pt x="334843" y="73458"/>
                  </a:cubicBezTo>
                  <a:cubicBezTo>
                    <a:pt x="338226" y="76036"/>
                    <a:pt x="341909" y="78192"/>
                    <a:pt x="345812" y="79878"/>
                  </a:cubicBezTo>
                  <a:cubicBezTo>
                    <a:pt x="350363" y="81878"/>
                    <a:pt x="355288" y="82881"/>
                    <a:pt x="360258" y="82821"/>
                  </a:cubicBezTo>
                  <a:cubicBezTo>
                    <a:pt x="365531" y="83142"/>
                    <a:pt x="370754" y="81630"/>
                    <a:pt x="375037" y="78541"/>
                  </a:cubicBezTo>
                  <a:cubicBezTo>
                    <a:pt x="378485" y="75848"/>
                    <a:pt x="380447" y="71677"/>
                    <a:pt x="380322" y="67305"/>
                  </a:cubicBezTo>
                  <a:cubicBezTo>
                    <a:pt x="380346" y="65479"/>
                    <a:pt x="380028" y="63664"/>
                    <a:pt x="379386" y="61954"/>
                  </a:cubicBezTo>
                  <a:cubicBezTo>
                    <a:pt x="378714" y="60285"/>
                    <a:pt x="377632" y="58813"/>
                    <a:pt x="376241" y="57674"/>
                  </a:cubicBezTo>
                  <a:cubicBezTo>
                    <a:pt x="374502" y="56275"/>
                    <a:pt x="372534" y="55189"/>
                    <a:pt x="370424" y="54464"/>
                  </a:cubicBezTo>
                  <a:cubicBezTo>
                    <a:pt x="367478" y="53450"/>
                    <a:pt x="364426" y="52777"/>
                    <a:pt x="361328" y="52457"/>
                  </a:cubicBezTo>
                  <a:lnTo>
                    <a:pt x="356780" y="51788"/>
                  </a:lnTo>
                  <a:cubicBezTo>
                    <a:pt x="338945" y="49381"/>
                    <a:pt x="330028" y="40998"/>
                    <a:pt x="330028" y="26641"/>
                  </a:cubicBezTo>
                  <a:cubicBezTo>
                    <a:pt x="329980" y="22883"/>
                    <a:pt x="330688" y="19153"/>
                    <a:pt x="332109" y="15673"/>
                  </a:cubicBezTo>
                  <a:cubicBezTo>
                    <a:pt x="333432" y="12453"/>
                    <a:pt x="335465" y="9573"/>
                    <a:pt x="338054" y="7246"/>
                  </a:cubicBezTo>
                  <a:cubicBezTo>
                    <a:pt x="340779" y="4847"/>
                    <a:pt x="343966" y="3026"/>
                    <a:pt x="347417" y="1895"/>
                  </a:cubicBezTo>
                  <a:cubicBezTo>
                    <a:pt x="351388" y="598"/>
                    <a:pt x="355547" y="-35"/>
                    <a:pt x="359723" y="23"/>
                  </a:cubicBezTo>
                  <a:cubicBezTo>
                    <a:pt x="364919" y="-2"/>
                    <a:pt x="370088" y="788"/>
                    <a:pt x="375040" y="2362"/>
                  </a:cubicBezTo>
                  <a:cubicBezTo>
                    <a:pt x="379460" y="3710"/>
                    <a:pt x="383634" y="5766"/>
                    <a:pt x="387397" y="8450"/>
                  </a:cubicBezTo>
                  <a:cubicBezTo>
                    <a:pt x="387971" y="8770"/>
                    <a:pt x="388176" y="9494"/>
                    <a:pt x="387855" y="10067"/>
                  </a:cubicBezTo>
                  <a:cubicBezTo>
                    <a:pt x="387804" y="10161"/>
                    <a:pt x="387739" y="10246"/>
                    <a:pt x="387664" y="10322"/>
                  </a:cubicBezTo>
                  <a:lnTo>
                    <a:pt x="383116" y="17679"/>
                  </a:lnTo>
                  <a:cubicBezTo>
                    <a:pt x="382700" y="18266"/>
                    <a:pt x="381889" y="18405"/>
                    <a:pt x="381300" y="17990"/>
                  </a:cubicBezTo>
                  <a:cubicBezTo>
                    <a:pt x="381282" y="17976"/>
                    <a:pt x="381262" y="17962"/>
                    <a:pt x="381244" y="17947"/>
                  </a:cubicBezTo>
                  <a:cubicBezTo>
                    <a:pt x="377855" y="15794"/>
                    <a:pt x="374217" y="14062"/>
                    <a:pt x="370409" y="12790"/>
                  </a:cubicBezTo>
                  <a:cubicBezTo>
                    <a:pt x="366818" y="11658"/>
                    <a:pt x="363073" y="11095"/>
                    <a:pt x="359307" y="11119"/>
                  </a:cubicBezTo>
                  <a:cubicBezTo>
                    <a:pt x="354664" y="10793"/>
                    <a:pt x="350071" y="12252"/>
                    <a:pt x="346466" y="15197"/>
                  </a:cubicBezTo>
                  <a:cubicBezTo>
                    <a:pt x="343517" y="17930"/>
                    <a:pt x="341906" y="21812"/>
                    <a:pt x="342052" y="25830"/>
                  </a:cubicBezTo>
                  <a:cubicBezTo>
                    <a:pt x="341960" y="29462"/>
                    <a:pt x="343538" y="32936"/>
                    <a:pt x="346332" y="35259"/>
                  </a:cubicBezTo>
                  <a:cubicBezTo>
                    <a:pt x="350722" y="38294"/>
                    <a:pt x="355853" y="40083"/>
                    <a:pt x="361180" y="40434"/>
                  </a:cubicBezTo>
                  <a:lnTo>
                    <a:pt x="365594" y="41102"/>
                  </a:lnTo>
                  <a:cubicBezTo>
                    <a:pt x="372939" y="41695"/>
                    <a:pt x="379930" y="44492"/>
                    <a:pt x="385658" y="49128"/>
                  </a:cubicBezTo>
                  <a:cubicBezTo>
                    <a:pt x="390301" y="53682"/>
                    <a:pt x="392741" y="60025"/>
                    <a:pt x="392346" y="66517"/>
                  </a:cubicBezTo>
                  <a:cubicBezTo>
                    <a:pt x="392388" y="70296"/>
                    <a:pt x="391680" y="74046"/>
                    <a:pt x="390265" y="77551"/>
                  </a:cubicBezTo>
                  <a:cubicBezTo>
                    <a:pt x="388889" y="80885"/>
                    <a:pt x="386731" y="83841"/>
                    <a:pt x="383979" y="86171"/>
                  </a:cubicBezTo>
                  <a:cubicBezTo>
                    <a:pt x="380902" y="88726"/>
                    <a:pt x="377359" y="90658"/>
                    <a:pt x="373545" y="91857"/>
                  </a:cubicBezTo>
                  <a:cubicBezTo>
                    <a:pt x="368896" y="93311"/>
                    <a:pt x="364042" y="94009"/>
                    <a:pt x="359173" y="93923"/>
                  </a:cubicBezTo>
                  <a:close/>
                  <a:moveTo>
                    <a:pt x="412009" y="92452"/>
                  </a:moveTo>
                  <a:cubicBezTo>
                    <a:pt x="411358" y="92540"/>
                    <a:pt x="410761" y="92084"/>
                    <a:pt x="410671" y="91433"/>
                  </a:cubicBezTo>
                  <a:cubicBezTo>
                    <a:pt x="410656" y="91327"/>
                    <a:pt x="410656" y="91220"/>
                    <a:pt x="410671" y="91114"/>
                  </a:cubicBezTo>
                  <a:lnTo>
                    <a:pt x="410671" y="2832"/>
                  </a:lnTo>
                  <a:cubicBezTo>
                    <a:pt x="410582" y="2181"/>
                    <a:pt x="411040" y="1582"/>
                    <a:pt x="411691" y="1494"/>
                  </a:cubicBezTo>
                  <a:cubicBezTo>
                    <a:pt x="411795" y="1480"/>
                    <a:pt x="411902" y="1480"/>
                    <a:pt x="412009" y="1494"/>
                  </a:cubicBezTo>
                  <a:lnTo>
                    <a:pt x="444379" y="1494"/>
                  </a:lnTo>
                  <a:cubicBezTo>
                    <a:pt x="448431" y="1442"/>
                    <a:pt x="452458" y="2099"/>
                    <a:pt x="456284" y="3435"/>
                  </a:cubicBezTo>
                  <a:cubicBezTo>
                    <a:pt x="459664" y="4614"/>
                    <a:pt x="462761" y="6482"/>
                    <a:pt x="465380" y="8919"/>
                  </a:cubicBezTo>
                  <a:cubicBezTo>
                    <a:pt x="467906" y="11326"/>
                    <a:pt x="469892" y="14245"/>
                    <a:pt x="471200" y="17480"/>
                  </a:cubicBezTo>
                  <a:cubicBezTo>
                    <a:pt x="472624" y="21030"/>
                    <a:pt x="473331" y="24826"/>
                    <a:pt x="473281" y="28651"/>
                  </a:cubicBezTo>
                  <a:cubicBezTo>
                    <a:pt x="473331" y="32474"/>
                    <a:pt x="472624" y="36269"/>
                    <a:pt x="471200" y="39818"/>
                  </a:cubicBezTo>
                  <a:cubicBezTo>
                    <a:pt x="469892" y="43054"/>
                    <a:pt x="467906" y="45972"/>
                    <a:pt x="465380" y="48379"/>
                  </a:cubicBezTo>
                  <a:cubicBezTo>
                    <a:pt x="462761" y="50817"/>
                    <a:pt x="459664" y="52684"/>
                    <a:pt x="456284" y="53863"/>
                  </a:cubicBezTo>
                  <a:cubicBezTo>
                    <a:pt x="452458" y="55200"/>
                    <a:pt x="448431" y="55857"/>
                    <a:pt x="444379" y="55804"/>
                  </a:cubicBezTo>
                  <a:lnTo>
                    <a:pt x="423379" y="55804"/>
                  </a:lnTo>
                  <a:cubicBezTo>
                    <a:pt x="422989" y="55750"/>
                    <a:pt x="422630" y="56020"/>
                    <a:pt x="422576" y="56409"/>
                  </a:cubicBezTo>
                  <a:cubicBezTo>
                    <a:pt x="422567" y="56474"/>
                    <a:pt x="422567" y="56541"/>
                    <a:pt x="422576" y="56607"/>
                  </a:cubicBezTo>
                  <a:lnTo>
                    <a:pt x="422576" y="91114"/>
                  </a:lnTo>
                  <a:cubicBezTo>
                    <a:pt x="422665" y="91765"/>
                    <a:pt x="422208" y="92364"/>
                    <a:pt x="421557" y="92452"/>
                  </a:cubicBezTo>
                  <a:cubicBezTo>
                    <a:pt x="421453" y="92466"/>
                    <a:pt x="421346" y="92466"/>
                    <a:pt x="421239" y="92452"/>
                  </a:cubicBezTo>
                  <a:close/>
                  <a:moveTo>
                    <a:pt x="443710" y="44699"/>
                  </a:moveTo>
                  <a:cubicBezTo>
                    <a:pt x="448466" y="44992"/>
                    <a:pt x="453154" y="43461"/>
                    <a:pt x="456819" y="40419"/>
                  </a:cubicBezTo>
                  <a:cubicBezTo>
                    <a:pt x="460023" y="37366"/>
                    <a:pt x="461733" y="33067"/>
                    <a:pt x="461501" y="28648"/>
                  </a:cubicBezTo>
                  <a:cubicBezTo>
                    <a:pt x="461733" y="24229"/>
                    <a:pt x="460023" y="19929"/>
                    <a:pt x="456819" y="16877"/>
                  </a:cubicBezTo>
                  <a:cubicBezTo>
                    <a:pt x="453154" y="13835"/>
                    <a:pt x="448466" y="12304"/>
                    <a:pt x="443710" y="12596"/>
                  </a:cubicBezTo>
                  <a:lnTo>
                    <a:pt x="423379" y="12596"/>
                  </a:lnTo>
                  <a:cubicBezTo>
                    <a:pt x="422989" y="12542"/>
                    <a:pt x="422630" y="12812"/>
                    <a:pt x="422576" y="13201"/>
                  </a:cubicBezTo>
                  <a:cubicBezTo>
                    <a:pt x="422567" y="13266"/>
                    <a:pt x="422567" y="13333"/>
                    <a:pt x="422576" y="13399"/>
                  </a:cubicBezTo>
                  <a:lnTo>
                    <a:pt x="422576" y="43897"/>
                  </a:lnTo>
                  <a:cubicBezTo>
                    <a:pt x="422523" y="44285"/>
                    <a:pt x="422793" y="44644"/>
                    <a:pt x="423180" y="44699"/>
                  </a:cubicBezTo>
                  <a:cubicBezTo>
                    <a:pt x="423245" y="44708"/>
                    <a:pt x="423313" y="44708"/>
                    <a:pt x="423379" y="44699"/>
                  </a:cubicBezTo>
                  <a:close/>
                  <a:moveTo>
                    <a:pt x="519955" y="93923"/>
                  </a:moveTo>
                  <a:cubicBezTo>
                    <a:pt x="513076" y="94146"/>
                    <a:pt x="506290" y="92281"/>
                    <a:pt x="500491" y="88573"/>
                  </a:cubicBezTo>
                  <a:cubicBezTo>
                    <a:pt x="494977" y="84724"/>
                    <a:pt x="490943" y="79109"/>
                    <a:pt x="489053" y="72655"/>
                  </a:cubicBezTo>
                  <a:cubicBezTo>
                    <a:pt x="488601" y="71289"/>
                    <a:pt x="488220" y="69900"/>
                    <a:pt x="487917" y="68494"/>
                  </a:cubicBezTo>
                  <a:cubicBezTo>
                    <a:pt x="487572" y="66839"/>
                    <a:pt x="487326" y="65164"/>
                    <a:pt x="487183" y="63479"/>
                  </a:cubicBezTo>
                  <a:cubicBezTo>
                    <a:pt x="487005" y="61563"/>
                    <a:pt x="486871" y="59266"/>
                    <a:pt x="486782" y="56589"/>
                  </a:cubicBezTo>
                  <a:cubicBezTo>
                    <a:pt x="486692" y="53912"/>
                    <a:pt x="486648" y="50701"/>
                    <a:pt x="486648" y="46958"/>
                  </a:cubicBezTo>
                  <a:cubicBezTo>
                    <a:pt x="486648" y="43213"/>
                    <a:pt x="486692" y="40003"/>
                    <a:pt x="486782" y="37327"/>
                  </a:cubicBezTo>
                  <a:cubicBezTo>
                    <a:pt x="486871" y="34652"/>
                    <a:pt x="487005" y="32356"/>
                    <a:pt x="487183" y="30440"/>
                  </a:cubicBezTo>
                  <a:cubicBezTo>
                    <a:pt x="487326" y="28755"/>
                    <a:pt x="487572" y="27081"/>
                    <a:pt x="487917" y="25426"/>
                  </a:cubicBezTo>
                  <a:cubicBezTo>
                    <a:pt x="488220" y="24019"/>
                    <a:pt x="488601" y="22630"/>
                    <a:pt x="489053" y="21264"/>
                  </a:cubicBezTo>
                  <a:cubicBezTo>
                    <a:pt x="490946" y="14815"/>
                    <a:pt x="494980" y="9204"/>
                    <a:pt x="500494" y="5358"/>
                  </a:cubicBezTo>
                  <a:cubicBezTo>
                    <a:pt x="512535" y="-1776"/>
                    <a:pt x="527511" y="-1776"/>
                    <a:pt x="539552" y="5358"/>
                  </a:cubicBezTo>
                  <a:cubicBezTo>
                    <a:pt x="545066" y="9207"/>
                    <a:pt x="549100" y="14823"/>
                    <a:pt x="550990" y="21276"/>
                  </a:cubicBezTo>
                  <a:cubicBezTo>
                    <a:pt x="551442" y="22642"/>
                    <a:pt x="551822" y="24031"/>
                    <a:pt x="552126" y="25437"/>
                  </a:cubicBezTo>
                  <a:cubicBezTo>
                    <a:pt x="552473" y="27093"/>
                    <a:pt x="552717" y="28769"/>
                    <a:pt x="552863" y="30455"/>
                  </a:cubicBezTo>
                  <a:cubicBezTo>
                    <a:pt x="553041" y="32373"/>
                    <a:pt x="553175" y="34669"/>
                    <a:pt x="553264" y="37342"/>
                  </a:cubicBezTo>
                  <a:cubicBezTo>
                    <a:pt x="553353" y="40015"/>
                    <a:pt x="553398" y="43226"/>
                    <a:pt x="553398" y="46973"/>
                  </a:cubicBezTo>
                  <a:cubicBezTo>
                    <a:pt x="553398" y="50718"/>
                    <a:pt x="553353" y="53929"/>
                    <a:pt x="553264" y="56604"/>
                  </a:cubicBezTo>
                  <a:cubicBezTo>
                    <a:pt x="553175" y="59279"/>
                    <a:pt x="553041" y="61576"/>
                    <a:pt x="552863" y="63494"/>
                  </a:cubicBezTo>
                  <a:cubicBezTo>
                    <a:pt x="552717" y="65180"/>
                    <a:pt x="552473" y="66855"/>
                    <a:pt x="552126" y="68512"/>
                  </a:cubicBezTo>
                  <a:cubicBezTo>
                    <a:pt x="551822" y="69918"/>
                    <a:pt x="551442" y="71307"/>
                    <a:pt x="550990" y="72673"/>
                  </a:cubicBezTo>
                  <a:cubicBezTo>
                    <a:pt x="549100" y="79126"/>
                    <a:pt x="545066" y="84742"/>
                    <a:pt x="539552" y="88591"/>
                  </a:cubicBezTo>
                  <a:cubicBezTo>
                    <a:pt x="533708" y="92304"/>
                    <a:pt x="526874" y="94163"/>
                    <a:pt x="519955" y="93923"/>
                  </a:cubicBezTo>
                  <a:close/>
                  <a:moveTo>
                    <a:pt x="519955" y="82821"/>
                  </a:moveTo>
                  <a:cubicBezTo>
                    <a:pt x="524366" y="83016"/>
                    <a:pt x="528723" y="81797"/>
                    <a:pt x="532394" y="79343"/>
                  </a:cubicBezTo>
                  <a:cubicBezTo>
                    <a:pt x="535735" y="76839"/>
                    <a:pt x="538176" y="73319"/>
                    <a:pt x="539350" y="69311"/>
                  </a:cubicBezTo>
                  <a:cubicBezTo>
                    <a:pt x="539662" y="68325"/>
                    <a:pt x="539909" y="67319"/>
                    <a:pt x="540087" y="66300"/>
                  </a:cubicBezTo>
                  <a:cubicBezTo>
                    <a:pt x="540310" y="65095"/>
                    <a:pt x="540533" y="63602"/>
                    <a:pt x="540756" y="61821"/>
                  </a:cubicBezTo>
                  <a:cubicBezTo>
                    <a:pt x="540979" y="60039"/>
                    <a:pt x="541136" y="57944"/>
                    <a:pt x="541226" y="55534"/>
                  </a:cubicBezTo>
                  <a:cubicBezTo>
                    <a:pt x="541315" y="53126"/>
                    <a:pt x="541359" y="50273"/>
                    <a:pt x="541359" y="46973"/>
                  </a:cubicBezTo>
                  <a:cubicBezTo>
                    <a:pt x="541359" y="43674"/>
                    <a:pt x="541315" y="40820"/>
                    <a:pt x="541226" y="38412"/>
                  </a:cubicBezTo>
                  <a:cubicBezTo>
                    <a:pt x="541136" y="36005"/>
                    <a:pt x="540979" y="33909"/>
                    <a:pt x="540756" y="32126"/>
                  </a:cubicBezTo>
                  <a:cubicBezTo>
                    <a:pt x="540533" y="30342"/>
                    <a:pt x="540310" y="28849"/>
                    <a:pt x="540087" y="27646"/>
                  </a:cubicBezTo>
                  <a:cubicBezTo>
                    <a:pt x="539909" y="26627"/>
                    <a:pt x="539662" y="25621"/>
                    <a:pt x="539350" y="24635"/>
                  </a:cubicBezTo>
                  <a:cubicBezTo>
                    <a:pt x="538176" y="20627"/>
                    <a:pt x="535735" y="17107"/>
                    <a:pt x="532394" y="14603"/>
                  </a:cubicBezTo>
                  <a:cubicBezTo>
                    <a:pt x="528723" y="12149"/>
                    <a:pt x="524366" y="10931"/>
                    <a:pt x="519955" y="11125"/>
                  </a:cubicBezTo>
                  <a:cubicBezTo>
                    <a:pt x="515564" y="10923"/>
                    <a:pt x="511224" y="12143"/>
                    <a:pt x="507580" y="14603"/>
                  </a:cubicBezTo>
                  <a:cubicBezTo>
                    <a:pt x="504272" y="17126"/>
                    <a:pt x="501858" y="20641"/>
                    <a:pt x="500693" y="24635"/>
                  </a:cubicBezTo>
                  <a:cubicBezTo>
                    <a:pt x="500381" y="25621"/>
                    <a:pt x="500134" y="26627"/>
                    <a:pt x="499959" y="27646"/>
                  </a:cubicBezTo>
                  <a:cubicBezTo>
                    <a:pt x="499736" y="28849"/>
                    <a:pt x="499513" y="30342"/>
                    <a:pt x="499290" y="32126"/>
                  </a:cubicBezTo>
                  <a:cubicBezTo>
                    <a:pt x="499067" y="33909"/>
                    <a:pt x="498909" y="36005"/>
                    <a:pt x="498820" y="38412"/>
                  </a:cubicBezTo>
                  <a:cubicBezTo>
                    <a:pt x="498731" y="40820"/>
                    <a:pt x="498686" y="43674"/>
                    <a:pt x="498686" y="46973"/>
                  </a:cubicBezTo>
                  <a:cubicBezTo>
                    <a:pt x="498686" y="50273"/>
                    <a:pt x="498731" y="53126"/>
                    <a:pt x="498820" y="55534"/>
                  </a:cubicBezTo>
                  <a:cubicBezTo>
                    <a:pt x="498909" y="57941"/>
                    <a:pt x="499067" y="60037"/>
                    <a:pt x="499290" y="61821"/>
                  </a:cubicBezTo>
                  <a:cubicBezTo>
                    <a:pt x="499513" y="63604"/>
                    <a:pt x="499736" y="65097"/>
                    <a:pt x="499959" y="66300"/>
                  </a:cubicBezTo>
                  <a:cubicBezTo>
                    <a:pt x="500134" y="67319"/>
                    <a:pt x="500381" y="68325"/>
                    <a:pt x="500693" y="69311"/>
                  </a:cubicBezTo>
                  <a:cubicBezTo>
                    <a:pt x="501858" y="73305"/>
                    <a:pt x="504272" y="76821"/>
                    <a:pt x="507580" y="79343"/>
                  </a:cubicBezTo>
                  <a:cubicBezTo>
                    <a:pt x="511224" y="81803"/>
                    <a:pt x="515564" y="83023"/>
                    <a:pt x="519955" y="82821"/>
                  </a:cubicBezTo>
                  <a:close/>
                  <a:moveTo>
                    <a:pt x="625359" y="92452"/>
                  </a:moveTo>
                  <a:cubicBezTo>
                    <a:pt x="624544" y="92446"/>
                    <a:pt x="623834" y="91899"/>
                    <a:pt x="623620" y="91114"/>
                  </a:cubicBezTo>
                  <a:lnTo>
                    <a:pt x="605428" y="53929"/>
                  </a:lnTo>
                  <a:lnTo>
                    <a:pt x="585364" y="53929"/>
                  </a:lnTo>
                  <a:cubicBezTo>
                    <a:pt x="584974" y="53874"/>
                    <a:pt x="584615" y="54144"/>
                    <a:pt x="584561" y="54533"/>
                  </a:cubicBezTo>
                  <a:cubicBezTo>
                    <a:pt x="584552" y="54599"/>
                    <a:pt x="584552" y="54666"/>
                    <a:pt x="584561" y="54731"/>
                  </a:cubicBezTo>
                  <a:lnTo>
                    <a:pt x="584561" y="91114"/>
                  </a:lnTo>
                  <a:cubicBezTo>
                    <a:pt x="584651" y="91765"/>
                    <a:pt x="584193" y="92364"/>
                    <a:pt x="583542" y="92452"/>
                  </a:cubicBezTo>
                  <a:cubicBezTo>
                    <a:pt x="583438" y="92466"/>
                    <a:pt x="583331" y="92466"/>
                    <a:pt x="583224" y="92452"/>
                  </a:cubicBezTo>
                  <a:lnTo>
                    <a:pt x="573994" y="92452"/>
                  </a:lnTo>
                  <a:cubicBezTo>
                    <a:pt x="573343" y="92540"/>
                    <a:pt x="572746" y="92084"/>
                    <a:pt x="572657" y="91433"/>
                  </a:cubicBezTo>
                  <a:cubicBezTo>
                    <a:pt x="572642" y="91327"/>
                    <a:pt x="572642" y="91220"/>
                    <a:pt x="572657" y="91114"/>
                  </a:cubicBezTo>
                  <a:lnTo>
                    <a:pt x="572657" y="2832"/>
                  </a:lnTo>
                  <a:cubicBezTo>
                    <a:pt x="572567" y="2181"/>
                    <a:pt x="573025" y="1582"/>
                    <a:pt x="573676" y="1494"/>
                  </a:cubicBezTo>
                  <a:cubicBezTo>
                    <a:pt x="573780" y="1480"/>
                    <a:pt x="573887" y="1480"/>
                    <a:pt x="573994" y="1494"/>
                  </a:cubicBezTo>
                  <a:lnTo>
                    <a:pt x="606900" y="1494"/>
                  </a:lnTo>
                  <a:cubicBezTo>
                    <a:pt x="610859" y="1441"/>
                    <a:pt x="614794" y="2075"/>
                    <a:pt x="618537" y="3367"/>
                  </a:cubicBezTo>
                  <a:cubicBezTo>
                    <a:pt x="621845" y="4516"/>
                    <a:pt x="624892" y="6312"/>
                    <a:pt x="627499" y="8652"/>
                  </a:cubicBezTo>
                  <a:cubicBezTo>
                    <a:pt x="630019" y="10959"/>
                    <a:pt x="632005" y="13790"/>
                    <a:pt x="633319" y="16945"/>
                  </a:cubicBezTo>
                  <a:cubicBezTo>
                    <a:pt x="634734" y="20356"/>
                    <a:pt x="635441" y="24019"/>
                    <a:pt x="635400" y="27711"/>
                  </a:cubicBezTo>
                  <a:cubicBezTo>
                    <a:pt x="635572" y="33317"/>
                    <a:pt x="633878" y="38822"/>
                    <a:pt x="630584" y="43361"/>
                  </a:cubicBezTo>
                  <a:cubicBezTo>
                    <a:pt x="627288" y="47703"/>
                    <a:pt x="622698" y="50888"/>
                    <a:pt x="617476" y="52457"/>
                  </a:cubicBezTo>
                  <a:lnTo>
                    <a:pt x="636871" y="90847"/>
                  </a:lnTo>
                  <a:cubicBezTo>
                    <a:pt x="637127" y="91170"/>
                    <a:pt x="637177" y="91609"/>
                    <a:pt x="637005" y="91982"/>
                  </a:cubicBezTo>
                  <a:cubicBezTo>
                    <a:pt x="636809" y="92305"/>
                    <a:pt x="636446" y="92488"/>
                    <a:pt x="636068" y="92452"/>
                  </a:cubicBezTo>
                  <a:close/>
                  <a:moveTo>
                    <a:pt x="606632" y="42826"/>
                  </a:moveTo>
                  <a:cubicBezTo>
                    <a:pt x="611126" y="43111"/>
                    <a:pt x="615564" y="41704"/>
                    <a:pt x="619072" y="38882"/>
                  </a:cubicBezTo>
                  <a:cubicBezTo>
                    <a:pt x="622122" y="35995"/>
                    <a:pt x="623739" y="31904"/>
                    <a:pt x="623486" y="27711"/>
                  </a:cubicBezTo>
                  <a:cubicBezTo>
                    <a:pt x="623739" y="23519"/>
                    <a:pt x="622122" y="19431"/>
                    <a:pt x="619072" y="16544"/>
                  </a:cubicBezTo>
                  <a:cubicBezTo>
                    <a:pt x="615564" y="13722"/>
                    <a:pt x="611126" y="12315"/>
                    <a:pt x="606632" y="12599"/>
                  </a:cubicBezTo>
                  <a:lnTo>
                    <a:pt x="585364" y="12599"/>
                  </a:lnTo>
                  <a:cubicBezTo>
                    <a:pt x="584974" y="12545"/>
                    <a:pt x="584615" y="12815"/>
                    <a:pt x="584561" y="13204"/>
                  </a:cubicBezTo>
                  <a:cubicBezTo>
                    <a:pt x="584552" y="13269"/>
                    <a:pt x="584552" y="13336"/>
                    <a:pt x="584561" y="13402"/>
                  </a:cubicBezTo>
                  <a:lnTo>
                    <a:pt x="584561" y="42027"/>
                  </a:lnTo>
                  <a:cubicBezTo>
                    <a:pt x="584508" y="42415"/>
                    <a:pt x="584778" y="42775"/>
                    <a:pt x="585165" y="42829"/>
                  </a:cubicBezTo>
                  <a:cubicBezTo>
                    <a:pt x="585230" y="42839"/>
                    <a:pt x="585299" y="42839"/>
                    <a:pt x="585364" y="42829"/>
                  </a:cubicBezTo>
                  <a:close/>
                  <a:moveTo>
                    <a:pt x="674717" y="92452"/>
                  </a:moveTo>
                  <a:cubicBezTo>
                    <a:pt x="674066" y="92540"/>
                    <a:pt x="673468" y="92084"/>
                    <a:pt x="673379" y="91433"/>
                  </a:cubicBezTo>
                  <a:cubicBezTo>
                    <a:pt x="673364" y="91327"/>
                    <a:pt x="673364" y="91220"/>
                    <a:pt x="673379" y="91114"/>
                  </a:cubicBezTo>
                  <a:lnTo>
                    <a:pt x="673379" y="13384"/>
                  </a:lnTo>
                  <a:cubicBezTo>
                    <a:pt x="673432" y="12996"/>
                    <a:pt x="673162" y="12636"/>
                    <a:pt x="672776" y="12581"/>
                  </a:cubicBezTo>
                  <a:cubicBezTo>
                    <a:pt x="672710" y="12572"/>
                    <a:pt x="672642" y="12572"/>
                    <a:pt x="672576" y="12581"/>
                  </a:cubicBezTo>
                  <a:lnTo>
                    <a:pt x="647697" y="12581"/>
                  </a:lnTo>
                  <a:cubicBezTo>
                    <a:pt x="647046" y="12670"/>
                    <a:pt x="646448" y="12213"/>
                    <a:pt x="646359" y="11563"/>
                  </a:cubicBezTo>
                  <a:cubicBezTo>
                    <a:pt x="646344" y="11457"/>
                    <a:pt x="646344" y="11350"/>
                    <a:pt x="646359" y="11244"/>
                  </a:cubicBezTo>
                  <a:lnTo>
                    <a:pt x="646359" y="2832"/>
                  </a:lnTo>
                  <a:cubicBezTo>
                    <a:pt x="646270" y="2181"/>
                    <a:pt x="646728" y="1582"/>
                    <a:pt x="647379" y="1494"/>
                  </a:cubicBezTo>
                  <a:cubicBezTo>
                    <a:pt x="647483" y="1480"/>
                    <a:pt x="647590" y="1480"/>
                    <a:pt x="647697" y="1494"/>
                  </a:cubicBezTo>
                  <a:lnTo>
                    <a:pt x="710966" y="1494"/>
                  </a:lnTo>
                  <a:cubicBezTo>
                    <a:pt x="711617" y="1406"/>
                    <a:pt x="712214" y="1862"/>
                    <a:pt x="712304" y="2513"/>
                  </a:cubicBezTo>
                  <a:cubicBezTo>
                    <a:pt x="712318" y="2619"/>
                    <a:pt x="712318" y="2726"/>
                    <a:pt x="712304" y="2832"/>
                  </a:cubicBezTo>
                  <a:lnTo>
                    <a:pt x="712304" y="11259"/>
                  </a:lnTo>
                  <a:cubicBezTo>
                    <a:pt x="712393" y="11909"/>
                    <a:pt x="711935" y="12508"/>
                    <a:pt x="711284" y="12596"/>
                  </a:cubicBezTo>
                  <a:cubicBezTo>
                    <a:pt x="711180" y="12611"/>
                    <a:pt x="711073" y="12611"/>
                    <a:pt x="710966" y="12596"/>
                  </a:cubicBezTo>
                  <a:lnTo>
                    <a:pt x="686086" y="12596"/>
                  </a:lnTo>
                  <a:cubicBezTo>
                    <a:pt x="685697" y="12542"/>
                    <a:pt x="685337" y="12812"/>
                    <a:pt x="685284" y="13201"/>
                  </a:cubicBezTo>
                  <a:cubicBezTo>
                    <a:pt x="685275" y="13266"/>
                    <a:pt x="685275" y="13333"/>
                    <a:pt x="685284" y="13399"/>
                  </a:cubicBezTo>
                  <a:lnTo>
                    <a:pt x="685284" y="91114"/>
                  </a:lnTo>
                  <a:cubicBezTo>
                    <a:pt x="685373" y="91765"/>
                    <a:pt x="684915" y="92364"/>
                    <a:pt x="684264" y="92452"/>
                  </a:cubicBezTo>
                  <a:cubicBezTo>
                    <a:pt x="684160" y="92466"/>
                    <a:pt x="684053" y="92466"/>
                    <a:pt x="683946" y="92452"/>
                  </a:cubicBezTo>
                  <a:close/>
                  <a:moveTo>
                    <a:pt x="740393" y="2832"/>
                  </a:moveTo>
                  <a:cubicBezTo>
                    <a:pt x="740524" y="2051"/>
                    <a:pt x="741208" y="1483"/>
                    <a:pt x="741999" y="1494"/>
                  </a:cubicBezTo>
                  <a:lnTo>
                    <a:pt x="750693" y="1494"/>
                  </a:lnTo>
                  <a:cubicBezTo>
                    <a:pt x="751525" y="1448"/>
                    <a:pt x="752263" y="2017"/>
                    <a:pt x="752432" y="2832"/>
                  </a:cubicBezTo>
                  <a:lnTo>
                    <a:pt x="783598" y="91114"/>
                  </a:lnTo>
                  <a:cubicBezTo>
                    <a:pt x="783866" y="92006"/>
                    <a:pt x="783554" y="92452"/>
                    <a:pt x="782662" y="92452"/>
                  </a:cubicBezTo>
                  <a:lnTo>
                    <a:pt x="773299" y="92452"/>
                  </a:lnTo>
                  <a:cubicBezTo>
                    <a:pt x="772467" y="92499"/>
                    <a:pt x="771729" y="91929"/>
                    <a:pt x="771560" y="91114"/>
                  </a:cubicBezTo>
                  <a:lnTo>
                    <a:pt x="764604" y="71318"/>
                  </a:lnTo>
                  <a:lnTo>
                    <a:pt x="727820" y="71318"/>
                  </a:lnTo>
                  <a:lnTo>
                    <a:pt x="720864" y="91114"/>
                  </a:lnTo>
                  <a:cubicBezTo>
                    <a:pt x="720650" y="91899"/>
                    <a:pt x="719940" y="92446"/>
                    <a:pt x="719125" y="92452"/>
                  </a:cubicBezTo>
                  <a:lnTo>
                    <a:pt x="709762" y="92452"/>
                  </a:lnTo>
                  <a:cubicBezTo>
                    <a:pt x="708870" y="92452"/>
                    <a:pt x="708558" y="92006"/>
                    <a:pt x="708826" y="91114"/>
                  </a:cubicBezTo>
                  <a:close/>
                  <a:moveTo>
                    <a:pt x="760725" y="60349"/>
                  </a:moveTo>
                  <a:lnTo>
                    <a:pt x="746413" y="19017"/>
                  </a:lnTo>
                  <a:lnTo>
                    <a:pt x="746145" y="19017"/>
                  </a:lnTo>
                  <a:lnTo>
                    <a:pt x="731699" y="60349"/>
                  </a:lnTo>
                  <a:close/>
                  <a:moveTo>
                    <a:pt x="808478" y="92452"/>
                  </a:moveTo>
                  <a:cubicBezTo>
                    <a:pt x="807827" y="92540"/>
                    <a:pt x="807230" y="92084"/>
                    <a:pt x="807140" y="91433"/>
                  </a:cubicBezTo>
                  <a:cubicBezTo>
                    <a:pt x="807126" y="91327"/>
                    <a:pt x="807126" y="91220"/>
                    <a:pt x="807140" y="91114"/>
                  </a:cubicBezTo>
                  <a:lnTo>
                    <a:pt x="807140" y="13384"/>
                  </a:lnTo>
                  <a:cubicBezTo>
                    <a:pt x="807194" y="12996"/>
                    <a:pt x="806923" y="12636"/>
                    <a:pt x="806537" y="12581"/>
                  </a:cubicBezTo>
                  <a:cubicBezTo>
                    <a:pt x="806472" y="12572"/>
                    <a:pt x="806403" y="12572"/>
                    <a:pt x="806338" y="12581"/>
                  </a:cubicBezTo>
                  <a:lnTo>
                    <a:pt x="781458" y="12581"/>
                  </a:lnTo>
                  <a:cubicBezTo>
                    <a:pt x="780807" y="12670"/>
                    <a:pt x="780210" y="12213"/>
                    <a:pt x="780121" y="11563"/>
                  </a:cubicBezTo>
                  <a:cubicBezTo>
                    <a:pt x="780106" y="11457"/>
                    <a:pt x="780106" y="11350"/>
                    <a:pt x="780121" y="11244"/>
                  </a:cubicBezTo>
                  <a:lnTo>
                    <a:pt x="780121" y="2832"/>
                  </a:lnTo>
                  <a:cubicBezTo>
                    <a:pt x="780031" y="2181"/>
                    <a:pt x="780489" y="1582"/>
                    <a:pt x="781140" y="1494"/>
                  </a:cubicBezTo>
                  <a:cubicBezTo>
                    <a:pt x="781244" y="1480"/>
                    <a:pt x="781351" y="1480"/>
                    <a:pt x="781458" y="1494"/>
                  </a:cubicBezTo>
                  <a:lnTo>
                    <a:pt x="844727" y="1494"/>
                  </a:lnTo>
                  <a:cubicBezTo>
                    <a:pt x="845378" y="1406"/>
                    <a:pt x="845976" y="1862"/>
                    <a:pt x="846065" y="2513"/>
                  </a:cubicBezTo>
                  <a:cubicBezTo>
                    <a:pt x="846080" y="2619"/>
                    <a:pt x="846080" y="2726"/>
                    <a:pt x="846065" y="2832"/>
                  </a:cubicBezTo>
                  <a:lnTo>
                    <a:pt x="846065" y="11259"/>
                  </a:lnTo>
                  <a:cubicBezTo>
                    <a:pt x="846154" y="11909"/>
                    <a:pt x="845696" y="12508"/>
                    <a:pt x="845046" y="12596"/>
                  </a:cubicBezTo>
                  <a:cubicBezTo>
                    <a:pt x="844941" y="12611"/>
                    <a:pt x="844834" y="12611"/>
                    <a:pt x="844727" y="12596"/>
                  </a:cubicBezTo>
                  <a:lnTo>
                    <a:pt x="819848" y="12596"/>
                  </a:lnTo>
                  <a:cubicBezTo>
                    <a:pt x="819458" y="12542"/>
                    <a:pt x="819099" y="12812"/>
                    <a:pt x="819045" y="13201"/>
                  </a:cubicBezTo>
                  <a:cubicBezTo>
                    <a:pt x="819036" y="13266"/>
                    <a:pt x="819036" y="13333"/>
                    <a:pt x="819045" y="13399"/>
                  </a:cubicBezTo>
                  <a:lnTo>
                    <a:pt x="819045" y="91114"/>
                  </a:lnTo>
                  <a:cubicBezTo>
                    <a:pt x="819134" y="91765"/>
                    <a:pt x="818677" y="92364"/>
                    <a:pt x="818026" y="92452"/>
                  </a:cubicBezTo>
                  <a:cubicBezTo>
                    <a:pt x="817922" y="92466"/>
                    <a:pt x="817815" y="92466"/>
                    <a:pt x="817708" y="92452"/>
                  </a:cubicBezTo>
                  <a:close/>
                  <a:moveTo>
                    <a:pt x="860259" y="2832"/>
                  </a:moveTo>
                  <a:cubicBezTo>
                    <a:pt x="860169" y="2181"/>
                    <a:pt x="860627" y="1582"/>
                    <a:pt x="861278" y="1494"/>
                  </a:cubicBezTo>
                  <a:cubicBezTo>
                    <a:pt x="861382" y="1480"/>
                    <a:pt x="861489" y="1480"/>
                    <a:pt x="861596" y="1494"/>
                  </a:cubicBezTo>
                  <a:lnTo>
                    <a:pt x="870811" y="1494"/>
                  </a:lnTo>
                  <a:cubicBezTo>
                    <a:pt x="871462" y="1406"/>
                    <a:pt x="872059" y="1862"/>
                    <a:pt x="872149" y="2513"/>
                  </a:cubicBezTo>
                  <a:cubicBezTo>
                    <a:pt x="872163" y="2619"/>
                    <a:pt x="872163" y="2726"/>
                    <a:pt x="872149" y="2832"/>
                  </a:cubicBezTo>
                  <a:lnTo>
                    <a:pt x="872149" y="91114"/>
                  </a:lnTo>
                  <a:cubicBezTo>
                    <a:pt x="872238" y="91765"/>
                    <a:pt x="871780" y="92364"/>
                    <a:pt x="871129" y="92452"/>
                  </a:cubicBezTo>
                  <a:cubicBezTo>
                    <a:pt x="871025" y="92466"/>
                    <a:pt x="870918" y="92466"/>
                    <a:pt x="870811" y="92452"/>
                  </a:cubicBezTo>
                  <a:lnTo>
                    <a:pt x="861596" y="92452"/>
                  </a:lnTo>
                  <a:cubicBezTo>
                    <a:pt x="860945" y="92540"/>
                    <a:pt x="860348" y="92084"/>
                    <a:pt x="860259" y="91433"/>
                  </a:cubicBezTo>
                  <a:cubicBezTo>
                    <a:pt x="860244" y="91327"/>
                    <a:pt x="860244" y="91220"/>
                    <a:pt x="860259" y="91114"/>
                  </a:cubicBezTo>
                  <a:close/>
                  <a:moveTo>
                    <a:pt x="924732" y="93923"/>
                  </a:moveTo>
                  <a:cubicBezTo>
                    <a:pt x="917853" y="94145"/>
                    <a:pt x="911070" y="92280"/>
                    <a:pt x="905271" y="88573"/>
                  </a:cubicBezTo>
                  <a:cubicBezTo>
                    <a:pt x="899757" y="84724"/>
                    <a:pt x="895723" y="79109"/>
                    <a:pt x="893833" y="72655"/>
                  </a:cubicBezTo>
                  <a:cubicBezTo>
                    <a:pt x="893381" y="71289"/>
                    <a:pt x="893000" y="69900"/>
                    <a:pt x="892694" y="68494"/>
                  </a:cubicBezTo>
                  <a:cubicBezTo>
                    <a:pt x="892350" y="66839"/>
                    <a:pt x="892103" y="65164"/>
                    <a:pt x="891960" y="63479"/>
                  </a:cubicBezTo>
                  <a:cubicBezTo>
                    <a:pt x="891782" y="61563"/>
                    <a:pt x="891648" y="59266"/>
                    <a:pt x="891559" y="56589"/>
                  </a:cubicBezTo>
                  <a:cubicBezTo>
                    <a:pt x="891470" y="53912"/>
                    <a:pt x="891425" y="50701"/>
                    <a:pt x="891425" y="46958"/>
                  </a:cubicBezTo>
                  <a:cubicBezTo>
                    <a:pt x="891425" y="43213"/>
                    <a:pt x="891470" y="40003"/>
                    <a:pt x="891559" y="37327"/>
                  </a:cubicBezTo>
                  <a:cubicBezTo>
                    <a:pt x="891648" y="34652"/>
                    <a:pt x="891782" y="32356"/>
                    <a:pt x="891960" y="30440"/>
                  </a:cubicBezTo>
                  <a:cubicBezTo>
                    <a:pt x="892103" y="28755"/>
                    <a:pt x="892350" y="27081"/>
                    <a:pt x="892694" y="25426"/>
                  </a:cubicBezTo>
                  <a:cubicBezTo>
                    <a:pt x="893000" y="24019"/>
                    <a:pt x="893381" y="22630"/>
                    <a:pt x="893833" y="21264"/>
                  </a:cubicBezTo>
                  <a:cubicBezTo>
                    <a:pt x="895720" y="14817"/>
                    <a:pt x="899751" y="9207"/>
                    <a:pt x="905256" y="5358"/>
                  </a:cubicBezTo>
                  <a:cubicBezTo>
                    <a:pt x="917298" y="-1776"/>
                    <a:pt x="932273" y="-1776"/>
                    <a:pt x="944314" y="5358"/>
                  </a:cubicBezTo>
                  <a:cubicBezTo>
                    <a:pt x="949828" y="9207"/>
                    <a:pt x="953862" y="14823"/>
                    <a:pt x="955752" y="21276"/>
                  </a:cubicBezTo>
                  <a:cubicBezTo>
                    <a:pt x="956204" y="22642"/>
                    <a:pt x="956585" y="24031"/>
                    <a:pt x="956891" y="25437"/>
                  </a:cubicBezTo>
                  <a:cubicBezTo>
                    <a:pt x="957236" y="27094"/>
                    <a:pt x="957482" y="28769"/>
                    <a:pt x="957625" y="30455"/>
                  </a:cubicBezTo>
                  <a:cubicBezTo>
                    <a:pt x="957803" y="32373"/>
                    <a:pt x="957937" y="34669"/>
                    <a:pt x="958026" y="37342"/>
                  </a:cubicBezTo>
                  <a:cubicBezTo>
                    <a:pt x="958116" y="40015"/>
                    <a:pt x="958160" y="43226"/>
                    <a:pt x="958160" y="46973"/>
                  </a:cubicBezTo>
                  <a:cubicBezTo>
                    <a:pt x="958160" y="50718"/>
                    <a:pt x="958116" y="53929"/>
                    <a:pt x="958026" y="56604"/>
                  </a:cubicBezTo>
                  <a:cubicBezTo>
                    <a:pt x="957937" y="59279"/>
                    <a:pt x="957803" y="61576"/>
                    <a:pt x="957625" y="63494"/>
                  </a:cubicBezTo>
                  <a:cubicBezTo>
                    <a:pt x="957482" y="65180"/>
                    <a:pt x="957236" y="66855"/>
                    <a:pt x="956891" y="68512"/>
                  </a:cubicBezTo>
                  <a:cubicBezTo>
                    <a:pt x="956585" y="69918"/>
                    <a:pt x="956204" y="71307"/>
                    <a:pt x="955752" y="72673"/>
                  </a:cubicBezTo>
                  <a:cubicBezTo>
                    <a:pt x="953862" y="79126"/>
                    <a:pt x="949828" y="84742"/>
                    <a:pt x="944314" y="88591"/>
                  </a:cubicBezTo>
                  <a:cubicBezTo>
                    <a:pt x="938470" y="92304"/>
                    <a:pt x="931637" y="94163"/>
                    <a:pt x="924717" y="93923"/>
                  </a:cubicBezTo>
                  <a:close/>
                  <a:moveTo>
                    <a:pt x="924732" y="82821"/>
                  </a:moveTo>
                  <a:cubicBezTo>
                    <a:pt x="929143" y="83016"/>
                    <a:pt x="933500" y="81797"/>
                    <a:pt x="937171" y="79343"/>
                  </a:cubicBezTo>
                  <a:cubicBezTo>
                    <a:pt x="940513" y="76839"/>
                    <a:pt x="942953" y="73319"/>
                    <a:pt x="944127" y="69311"/>
                  </a:cubicBezTo>
                  <a:cubicBezTo>
                    <a:pt x="944439" y="68325"/>
                    <a:pt x="944686" y="67319"/>
                    <a:pt x="944861" y="66300"/>
                  </a:cubicBezTo>
                  <a:cubicBezTo>
                    <a:pt x="945084" y="65095"/>
                    <a:pt x="945307" y="63602"/>
                    <a:pt x="945530" y="61821"/>
                  </a:cubicBezTo>
                  <a:cubicBezTo>
                    <a:pt x="945753" y="60039"/>
                    <a:pt x="945908" y="57944"/>
                    <a:pt x="946000" y="55534"/>
                  </a:cubicBezTo>
                  <a:cubicBezTo>
                    <a:pt x="946089" y="53126"/>
                    <a:pt x="946134" y="50273"/>
                    <a:pt x="946134" y="46973"/>
                  </a:cubicBezTo>
                  <a:cubicBezTo>
                    <a:pt x="946134" y="43674"/>
                    <a:pt x="946089" y="40820"/>
                    <a:pt x="946000" y="38412"/>
                  </a:cubicBezTo>
                  <a:cubicBezTo>
                    <a:pt x="945911" y="36005"/>
                    <a:pt x="945753" y="33909"/>
                    <a:pt x="945530" y="32126"/>
                  </a:cubicBezTo>
                  <a:cubicBezTo>
                    <a:pt x="945307" y="30342"/>
                    <a:pt x="945084" y="28849"/>
                    <a:pt x="944861" y="27646"/>
                  </a:cubicBezTo>
                  <a:cubicBezTo>
                    <a:pt x="944686" y="26627"/>
                    <a:pt x="944439" y="25621"/>
                    <a:pt x="944127" y="24635"/>
                  </a:cubicBezTo>
                  <a:cubicBezTo>
                    <a:pt x="942953" y="20627"/>
                    <a:pt x="940513" y="17107"/>
                    <a:pt x="937171" y="14603"/>
                  </a:cubicBezTo>
                  <a:cubicBezTo>
                    <a:pt x="933500" y="12149"/>
                    <a:pt x="929143" y="10931"/>
                    <a:pt x="924732" y="11125"/>
                  </a:cubicBezTo>
                  <a:cubicBezTo>
                    <a:pt x="920341" y="10923"/>
                    <a:pt x="916002" y="12143"/>
                    <a:pt x="912357" y="14603"/>
                  </a:cubicBezTo>
                  <a:cubicBezTo>
                    <a:pt x="909049" y="17125"/>
                    <a:pt x="906632" y="20641"/>
                    <a:pt x="905467" y="24635"/>
                  </a:cubicBezTo>
                  <a:cubicBezTo>
                    <a:pt x="905155" y="25621"/>
                    <a:pt x="904908" y="26627"/>
                    <a:pt x="904733" y="27646"/>
                  </a:cubicBezTo>
                  <a:cubicBezTo>
                    <a:pt x="904510" y="28849"/>
                    <a:pt x="904287" y="30342"/>
                    <a:pt x="904064" y="32126"/>
                  </a:cubicBezTo>
                  <a:cubicBezTo>
                    <a:pt x="903841" y="33909"/>
                    <a:pt x="903684" y="36005"/>
                    <a:pt x="903594" y="38412"/>
                  </a:cubicBezTo>
                  <a:cubicBezTo>
                    <a:pt x="903505" y="40820"/>
                    <a:pt x="903461" y="43674"/>
                    <a:pt x="903461" y="46973"/>
                  </a:cubicBezTo>
                  <a:cubicBezTo>
                    <a:pt x="903461" y="50273"/>
                    <a:pt x="903505" y="53126"/>
                    <a:pt x="903594" y="55534"/>
                  </a:cubicBezTo>
                  <a:cubicBezTo>
                    <a:pt x="903684" y="57941"/>
                    <a:pt x="903841" y="60037"/>
                    <a:pt x="904064" y="61821"/>
                  </a:cubicBezTo>
                  <a:cubicBezTo>
                    <a:pt x="904287" y="63604"/>
                    <a:pt x="904510" y="65097"/>
                    <a:pt x="904733" y="66300"/>
                  </a:cubicBezTo>
                  <a:cubicBezTo>
                    <a:pt x="904908" y="67319"/>
                    <a:pt x="905155" y="68325"/>
                    <a:pt x="905467" y="69311"/>
                  </a:cubicBezTo>
                  <a:cubicBezTo>
                    <a:pt x="906632" y="73305"/>
                    <a:pt x="909049" y="76821"/>
                    <a:pt x="912357" y="79343"/>
                  </a:cubicBezTo>
                  <a:cubicBezTo>
                    <a:pt x="915996" y="81800"/>
                    <a:pt x="920329" y="83020"/>
                    <a:pt x="924717" y="82821"/>
                  </a:cubicBezTo>
                  <a:close/>
                  <a:moveTo>
                    <a:pt x="977434" y="2832"/>
                  </a:moveTo>
                  <a:cubicBezTo>
                    <a:pt x="977345" y="2181"/>
                    <a:pt x="977802" y="1582"/>
                    <a:pt x="978453" y="1494"/>
                  </a:cubicBezTo>
                  <a:cubicBezTo>
                    <a:pt x="978557" y="1480"/>
                    <a:pt x="978664" y="1480"/>
                    <a:pt x="978771" y="1494"/>
                  </a:cubicBezTo>
                  <a:lnTo>
                    <a:pt x="987332" y="1494"/>
                  </a:lnTo>
                  <a:cubicBezTo>
                    <a:pt x="988292" y="1429"/>
                    <a:pt x="989196" y="1960"/>
                    <a:pt x="989606" y="2832"/>
                  </a:cubicBezTo>
                  <a:lnTo>
                    <a:pt x="1030790" y="71050"/>
                  </a:lnTo>
                  <a:lnTo>
                    <a:pt x="1031325" y="71050"/>
                  </a:lnTo>
                  <a:lnTo>
                    <a:pt x="1031325" y="2832"/>
                  </a:lnTo>
                  <a:cubicBezTo>
                    <a:pt x="1031236" y="2181"/>
                    <a:pt x="1031693" y="1582"/>
                    <a:pt x="1032344" y="1494"/>
                  </a:cubicBezTo>
                  <a:cubicBezTo>
                    <a:pt x="1032448" y="1480"/>
                    <a:pt x="1032555" y="1480"/>
                    <a:pt x="1032662" y="1494"/>
                  </a:cubicBezTo>
                  <a:lnTo>
                    <a:pt x="1041089" y="1494"/>
                  </a:lnTo>
                  <a:cubicBezTo>
                    <a:pt x="1041740" y="1406"/>
                    <a:pt x="1042338" y="1862"/>
                    <a:pt x="1042427" y="2513"/>
                  </a:cubicBezTo>
                  <a:cubicBezTo>
                    <a:pt x="1042442" y="2619"/>
                    <a:pt x="1042442" y="2726"/>
                    <a:pt x="1042427" y="2832"/>
                  </a:cubicBezTo>
                  <a:lnTo>
                    <a:pt x="1042427" y="91114"/>
                  </a:lnTo>
                  <a:cubicBezTo>
                    <a:pt x="1042516" y="91765"/>
                    <a:pt x="1042058" y="92364"/>
                    <a:pt x="1041407" y="92452"/>
                  </a:cubicBezTo>
                  <a:cubicBezTo>
                    <a:pt x="1041303" y="92466"/>
                    <a:pt x="1041196" y="92466"/>
                    <a:pt x="1041089" y="92452"/>
                  </a:cubicBezTo>
                  <a:lnTo>
                    <a:pt x="1032529" y="92452"/>
                  </a:lnTo>
                  <a:cubicBezTo>
                    <a:pt x="1031568" y="92517"/>
                    <a:pt x="1030665" y="91986"/>
                    <a:pt x="1030255" y="91114"/>
                  </a:cubicBezTo>
                  <a:lnTo>
                    <a:pt x="988937" y="23164"/>
                  </a:lnTo>
                  <a:lnTo>
                    <a:pt x="988536" y="23164"/>
                  </a:lnTo>
                  <a:lnTo>
                    <a:pt x="988536" y="91114"/>
                  </a:lnTo>
                  <a:cubicBezTo>
                    <a:pt x="988625" y="91765"/>
                    <a:pt x="988170" y="92365"/>
                    <a:pt x="987519" y="92454"/>
                  </a:cubicBezTo>
                  <a:cubicBezTo>
                    <a:pt x="987409" y="92469"/>
                    <a:pt x="987293" y="92469"/>
                    <a:pt x="987183" y="92452"/>
                  </a:cubicBezTo>
                  <a:lnTo>
                    <a:pt x="978756" y="92452"/>
                  </a:lnTo>
                  <a:cubicBezTo>
                    <a:pt x="978106" y="92540"/>
                    <a:pt x="977508" y="92084"/>
                    <a:pt x="977419" y="91433"/>
                  </a:cubicBezTo>
                  <a:cubicBezTo>
                    <a:pt x="977404" y="91327"/>
                    <a:pt x="977404" y="91220"/>
                    <a:pt x="977419" y="91114"/>
                  </a:cubicBezTo>
                  <a:close/>
                  <a:moveTo>
                    <a:pt x="1063041" y="79611"/>
                  </a:moveTo>
                  <a:cubicBezTo>
                    <a:pt x="1062952" y="78960"/>
                    <a:pt x="1063410" y="78361"/>
                    <a:pt x="1064061" y="78273"/>
                  </a:cubicBezTo>
                  <a:cubicBezTo>
                    <a:pt x="1064165" y="78259"/>
                    <a:pt x="1064272" y="78259"/>
                    <a:pt x="1064379" y="78273"/>
                  </a:cubicBezTo>
                  <a:lnTo>
                    <a:pt x="1074545" y="78273"/>
                  </a:lnTo>
                  <a:cubicBezTo>
                    <a:pt x="1075196" y="78185"/>
                    <a:pt x="1075793" y="78642"/>
                    <a:pt x="1075882" y="79292"/>
                  </a:cubicBezTo>
                  <a:cubicBezTo>
                    <a:pt x="1075897" y="79398"/>
                    <a:pt x="1075897" y="79505"/>
                    <a:pt x="1075882" y="79611"/>
                  </a:cubicBezTo>
                  <a:lnTo>
                    <a:pt x="1075882" y="91114"/>
                  </a:lnTo>
                  <a:cubicBezTo>
                    <a:pt x="1075971" y="91765"/>
                    <a:pt x="1075514" y="92364"/>
                    <a:pt x="1074863" y="92452"/>
                  </a:cubicBezTo>
                  <a:cubicBezTo>
                    <a:pt x="1074759" y="92466"/>
                    <a:pt x="1074652" y="92466"/>
                    <a:pt x="1074545" y="92452"/>
                  </a:cubicBezTo>
                  <a:lnTo>
                    <a:pt x="1064379" y="92452"/>
                  </a:lnTo>
                  <a:cubicBezTo>
                    <a:pt x="1063728" y="92540"/>
                    <a:pt x="1063130" y="92084"/>
                    <a:pt x="1063041" y="91433"/>
                  </a:cubicBezTo>
                  <a:cubicBezTo>
                    <a:pt x="1063026" y="91327"/>
                    <a:pt x="1063026" y="91220"/>
                    <a:pt x="1063041" y="91114"/>
                  </a:cubicBezTo>
                  <a:close/>
                </a:path>
              </a:pathLst>
            </a:custGeom>
            <a:solidFill>
              <a:schemeClr val="bg1"/>
            </a:solidFill>
            <a:ln w="2965" cap="flat">
              <a:noFill/>
              <a:prstDash val="solid"/>
              <a:miter/>
            </a:ln>
          </p:spPr>
          <p:txBody>
            <a:bodyPr rtlCol="0" anchor="ctr"/>
            <a:lstStyle/>
            <a:p>
              <a:endParaRPr lang="de-DE"/>
            </a:p>
          </p:txBody>
        </p:sp>
        <p:sp>
          <p:nvSpPr>
            <p:cNvPr id="46" name="Freeform: Shape 45">
              <a:extLst>
                <a:ext uri="{FF2B5EF4-FFF2-40B4-BE49-F238E27FC236}">
                  <a16:creationId xmlns:a16="http://schemas.microsoft.com/office/drawing/2014/main" id="{25070A1F-0FA0-444B-953F-4F2E06D9CF7E}"/>
                </a:ext>
              </a:extLst>
            </p:cNvPr>
            <p:cNvSpPr/>
            <p:nvPr/>
          </p:nvSpPr>
          <p:spPr>
            <a:xfrm>
              <a:off x="10262813" y="751375"/>
              <a:ext cx="1193687" cy="93972"/>
            </a:xfrm>
            <a:custGeom>
              <a:avLst/>
              <a:gdLst>
                <a:gd name="connsiteX0" fmla="*/ 31941 w 1193687"/>
                <a:gd name="connsiteY0" fmla="*/ 2904 h 93972"/>
                <a:gd name="connsiteX1" fmla="*/ 33546 w 1193687"/>
                <a:gd name="connsiteY1" fmla="*/ 1567 h 93972"/>
                <a:gd name="connsiteX2" fmla="*/ 42240 w 1193687"/>
                <a:gd name="connsiteY2" fmla="*/ 1567 h 93972"/>
                <a:gd name="connsiteX3" fmla="*/ 43979 w 1193687"/>
                <a:gd name="connsiteY3" fmla="*/ 2904 h 93972"/>
                <a:gd name="connsiteX4" fmla="*/ 75145 w 1193687"/>
                <a:gd name="connsiteY4" fmla="*/ 91187 h 93972"/>
                <a:gd name="connsiteX5" fmla="*/ 74209 w 1193687"/>
                <a:gd name="connsiteY5" fmla="*/ 92524 h 93972"/>
                <a:gd name="connsiteX6" fmla="*/ 64846 w 1193687"/>
                <a:gd name="connsiteY6" fmla="*/ 92524 h 93972"/>
                <a:gd name="connsiteX7" fmla="*/ 63107 w 1193687"/>
                <a:gd name="connsiteY7" fmla="*/ 91187 h 93972"/>
                <a:gd name="connsiteX8" fmla="*/ 56151 w 1193687"/>
                <a:gd name="connsiteY8" fmla="*/ 71390 h 93972"/>
                <a:gd name="connsiteX9" fmla="*/ 19367 w 1193687"/>
                <a:gd name="connsiteY9" fmla="*/ 71390 h 93972"/>
                <a:gd name="connsiteX10" fmla="*/ 12411 w 1193687"/>
                <a:gd name="connsiteY10" fmla="*/ 91187 h 93972"/>
                <a:gd name="connsiteX11" fmla="*/ 10672 w 1193687"/>
                <a:gd name="connsiteY11" fmla="*/ 92524 h 93972"/>
                <a:gd name="connsiteX12" fmla="*/ 1309 w 1193687"/>
                <a:gd name="connsiteY12" fmla="*/ 92524 h 93972"/>
                <a:gd name="connsiteX13" fmla="*/ 373 w 1193687"/>
                <a:gd name="connsiteY13" fmla="*/ 91187 h 93972"/>
                <a:gd name="connsiteX14" fmla="*/ 52272 w 1193687"/>
                <a:gd name="connsiteY14" fmla="*/ 60422 h 93972"/>
                <a:gd name="connsiteX15" fmla="*/ 37960 w 1193687"/>
                <a:gd name="connsiteY15" fmla="*/ 19089 h 93972"/>
                <a:gd name="connsiteX16" fmla="*/ 37692 w 1193687"/>
                <a:gd name="connsiteY16" fmla="*/ 19089 h 93972"/>
                <a:gd name="connsiteX17" fmla="*/ 23246 w 1193687"/>
                <a:gd name="connsiteY17" fmla="*/ 60422 h 93972"/>
                <a:gd name="connsiteX18" fmla="*/ 105911 w 1193687"/>
                <a:gd name="connsiteY18" fmla="*/ 92524 h 93972"/>
                <a:gd name="connsiteX19" fmla="*/ 104305 w 1193687"/>
                <a:gd name="connsiteY19" fmla="*/ 91187 h 93972"/>
                <a:gd name="connsiteX20" fmla="*/ 74878 w 1193687"/>
                <a:gd name="connsiteY20" fmla="*/ 3172 h 93972"/>
                <a:gd name="connsiteX21" fmla="*/ 74878 w 1193687"/>
                <a:gd name="connsiteY21" fmla="*/ 1968 h 93972"/>
                <a:gd name="connsiteX22" fmla="*/ 75814 w 1193687"/>
                <a:gd name="connsiteY22" fmla="*/ 1567 h 93972"/>
                <a:gd name="connsiteX23" fmla="*/ 84910 w 1193687"/>
                <a:gd name="connsiteY23" fmla="*/ 1567 h 93972"/>
                <a:gd name="connsiteX24" fmla="*/ 86783 w 1193687"/>
                <a:gd name="connsiteY24" fmla="*/ 2904 h 93972"/>
                <a:gd name="connsiteX25" fmla="*/ 110057 w 1193687"/>
                <a:gd name="connsiteY25" fmla="*/ 73129 h 93972"/>
                <a:gd name="connsiteX26" fmla="*/ 110325 w 1193687"/>
                <a:gd name="connsiteY26" fmla="*/ 73129 h 93972"/>
                <a:gd name="connsiteX27" fmla="*/ 132797 w 1193687"/>
                <a:gd name="connsiteY27" fmla="*/ 2904 h 93972"/>
                <a:gd name="connsiteX28" fmla="*/ 134536 w 1193687"/>
                <a:gd name="connsiteY28" fmla="*/ 1567 h 93972"/>
                <a:gd name="connsiteX29" fmla="*/ 143750 w 1193687"/>
                <a:gd name="connsiteY29" fmla="*/ 1567 h 93972"/>
                <a:gd name="connsiteX30" fmla="*/ 144687 w 1193687"/>
                <a:gd name="connsiteY30" fmla="*/ 3172 h 93972"/>
                <a:gd name="connsiteX31" fmla="*/ 115408 w 1193687"/>
                <a:gd name="connsiteY31" fmla="*/ 91187 h 93972"/>
                <a:gd name="connsiteX32" fmla="*/ 113803 w 1193687"/>
                <a:gd name="connsiteY32" fmla="*/ 92524 h 93972"/>
                <a:gd name="connsiteX33" fmla="*/ 158613 w 1193687"/>
                <a:gd name="connsiteY33" fmla="*/ 2904 h 93972"/>
                <a:gd name="connsiteX34" fmla="*/ 159632 w 1193687"/>
                <a:gd name="connsiteY34" fmla="*/ 1567 h 93972"/>
                <a:gd name="connsiteX35" fmla="*/ 159950 w 1193687"/>
                <a:gd name="connsiteY35" fmla="*/ 1567 h 93972"/>
                <a:gd name="connsiteX36" fmla="*/ 169165 w 1193687"/>
                <a:gd name="connsiteY36" fmla="*/ 1567 h 93972"/>
                <a:gd name="connsiteX37" fmla="*/ 170503 w 1193687"/>
                <a:gd name="connsiteY37" fmla="*/ 2586 h 93972"/>
                <a:gd name="connsiteX38" fmla="*/ 170503 w 1193687"/>
                <a:gd name="connsiteY38" fmla="*/ 2904 h 93972"/>
                <a:gd name="connsiteX39" fmla="*/ 170503 w 1193687"/>
                <a:gd name="connsiteY39" fmla="*/ 91187 h 93972"/>
                <a:gd name="connsiteX40" fmla="*/ 169484 w 1193687"/>
                <a:gd name="connsiteY40" fmla="*/ 92524 h 93972"/>
                <a:gd name="connsiteX41" fmla="*/ 169165 w 1193687"/>
                <a:gd name="connsiteY41" fmla="*/ 92524 h 93972"/>
                <a:gd name="connsiteX42" fmla="*/ 159950 w 1193687"/>
                <a:gd name="connsiteY42" fmla="*/ 92524 h 93972"/>
                <a:gd name="connsiteX43" fmla="*/ 158613 w 1193687"/>
                <a:gd name="connsiteY43" fmla="*/ 91505 h 93972"/>
                <a:gd name="connsiteX44" fmla="*/ 158613 w 1193687"/>
                <a:gd name="connsiteY44" fmla="*/ 91187 h 93972"/>
                <a:gd name="connsiteX45" fmla="*/ 216531 w 1193687"/>
                <a:gd name="connsiteY45" fmla="*/ 2904 h 93972"/>
                <a:gd name="connsiteX46" fmla="*/ 218137 w 1193687"/>
                <a:gd name="connsiteY46" fmla="*/ 1567 h 93972"/>
                <a:gd name="connsiteX47" fmla="*/ 226831 w 1193687"/>
                <a:gd name="connsiteY47" fmla="*/ 1567 h 93972"/>
                <a:gd name="connsiteX48" fmla="*/ 228570 w 1193687"/>
                <a:gd name="connsiteY48" fmla="*/ 2904 h 93972"/>
                <a:gd name="connsiteX49" fmla="*/ 259736 w 1193687"/>
                <a:gd name="connsiteY49" fmla="*/ 91187 h 93972"/>
                <a:gd name="connsiteX50" fmla="*/ 258800 w 1193687"/>
                <a:gd name="connsiteY50" fmla="*/ 92524 h 93972"/>
                <a:gd name="connsiteX51" fmla="*/ 249437 w 1193687"/>
                <a:gd name="connsiteY51" fmla="*/ 92524 h 93972"/>
                <a:gd name="connsiteX52" fmla="*/ 247698 w 1193687"/>
                <a:gd name="connsiteY52" fmla="*/ 91187 h 93972"/>
                <a:gd name="connsiteX53" fmla="*/ 240742 w 1193687"/>
                <a:gd name="connsiteY53" fmla="*/ 71390 h 93972"/>
                <a:gd name="connsiteX54" fmla="*/ 203958 w 1193687"/>
                <a:gd name="connsiteY54" fmla="*/ 71390 h 93972"/>
                <a:gd name="connsiteX55" fmla="*/ 197002 w 1193687"/>
                <a:gd name="connsiteY55" fmla="*/ 91187 h 93972"/>
                <a:gd name="connsiteX56" fmla="*/ 195263 w 1193687"/>
                <a:gd name="connsiteY56" fmla="*/ 92524 h 93972"/>
                <a:gd name="connsiteX57" fmla="*/ 185900 w 1193687"/>
                <a:gd name="connsiteY57" fmla="*/ 92524 h 93972"/>
                <a:gd name="connsiteX58" fmla="*/ 184964 w 1193687"/>
                <a:gd name="connsiteY58" fmla="*/ 91187 h 93972"/>
                <a:gd name="connsiteX59" fmla="*/ 236863 w 1193687"/>
                <a:gd name="connsiteY59" fmla="*/ 60422 h 93972"/>
                <a:gd name="connsiteX60" fmla="*/ 222551 w 1193687"/>
                <a:gd name="connsiteY60" fmla="*/ 19089 h 93972"/>
                <a:gd name="connsiteX61" fmla="*/ 222283 w 1193687"/>
                <a:gd name="connsiteY61" fmla="*/ 19089 h 93972"/>
                <a:gd name="connsiteX62" fmla="*/ 207837 w 1193687"/>
                <a:gd name="connsiteY62" fmla="*/ 60422 h 93972"/>
                <a:gd name="connsiteX63" fmla="*/ 284616 w 1193687"/>
                <a:gd name="connsiteY63" fmla="*/ 92524 h 93972"/>
                <a:gd name="connsiteX64" fmla="*/ 283278 w 1193687"/>
                <a:gd name="connsiteY64" fmla="*/ 91505 h 93972"/>
                <a:gd name="connsiteX65" fmla="*/ 283278 w 1193687"/>
                <a:gd name="connsiteY65" fmla="*/ 91187 h 93972"/>
                <a:gd name="connsiteX66" fmla="*/ 283278 w 1193687"/>
                <a:gd name="connsiteY66" fmla="*/ 13457 h 93972"/>
                <a:gd name="connsiteX67" fmla="*/ 282674 w 1193687"/>
                <a:gd name="connsiteY67" fmla="*/ 12654 h 93972"/>
                <a:gd name="connsiteX68" fmla="*/ 282476 w 1193687"/>
                <a:gd name="connsiteY68" fmla="*/ 12654 h 93972"/>
                <a:gd name="connsiteX69" fmla="*/ 257596 w 1193687"/>
                <a:gd name="connsiteY69" fmla="*/ 12654 h 93972"/>
                <a:gd name="connsiteX70" fmla="*/ 256259 w 1193687"/>
                <a:gd name="connsiteY70" fmla="*/ 11635 h 93972"/>
                <a:gd name="connsiteX71" fmla="*/ 256259 w 1193687"/>
                <a:gd name="connsiteY71" fmla="*/ 11316 h 93972"/>
                <a:gd name="connsiteX72" fmla="*/ 256259 w 1193687"/>
                <a:gd name="connsiteY72" fmla="*/ 2904 h 93972"/>
                <a:gd name="connsiteX73" fmla="*/ 257278 w 1193687"/>
                <a:gd name="connsiteY73" fmla="*/ 1567 h 93972"/>
                <a:gd name="connsiteX74" fmla="*/ 257596 w 1193687"/>
                <a:gd name="connsiteY74" fmla="*/ 1567 h 93972"/>
                <a:gd name="connsiteX75" fmla="*/ 320865 w 1193687"/>
                <a:gd name="connsiteY75" fmla="*/ 1567 h 93972"/>
                <a:gd name="connsiteX76" fmla="*/ 322203 w 1193687"/>
                <a:gd name="connsiteY76" fmla="*/ 2586 h 93972"/>
                <a:gd name="connsiteX77" fmla="*/ 322203 w 1193687"/>
                <a:gd name="connsiteY77" fmla="*/ 2904 h 93972"/>
                <a:gd name="connsiteX78" fmla="*/ 322203 w 1193687"/>
                <a:gd name="connsiteY78" fmla="*/ 11331 h 93972"/>
                <a:gd name="connsiteX79" fmla="*/ 321183 w 1193687"/>
                <a:gd name="connsiteY79" fmla="*/ 12669 h 93972"/>
                <a:gd name="connsiteX80" fmla="*/ 320865 w 1193687"/>
                <a:gd name="connsiteY80" fmla="*/ 12669 h 93972"/>
                <a:gd name="connsiteX81" fmla="*/ 295986 w 1193687"/>
                <a:gd name="connsiteY81" fmla="*/ 12669 h 93972"/>
                <a:gd name="connsiteX82" fmla="*/ 295183 w 1193687"/>
                <a:gd name="connsiteY82" fmla="*/ 13273 h 93972"/>
                <a:gd name="connsiteX83" fmla="*/ 295183 w 1193687"/>
                <a:gd name="connsiteY83" fmla="*/ 13471 h 93972"/>
                <a:gd name="connsiteX84" fmla="*/ 295183 w 1193687"/>
                <a:gd name="connsiteY84" fmla="*/ 91187 h 93972"/>
                <a:gd name="connsiteX85" fmla="*/ 294164 w 1193687"/>
                <a:gd name="connsiteY85" fmla="*/ 92524 h 93972"/>
                <a:gd name="connsiteX86" fmla="*/ 293846 w 1193687"/>
                <a:gd name="connsiteY86" fmla="*/ 92524 h 93972"/>
                <a:gd name="connsiteX87" fmla="*/ 336382 w 1193687"/>
                <a:gd name="connsiteY87" fmla="*/ 2904 h 93972"/>
                <a:gd name="connsiteX88" fmla="*/ 337401 w 1193687"/>
                <a:gd name="connsiteY88" fmla="*/ 1567 h 93972"/>
                <a:gd name="connsiteX89" fmla="*/ 337719 w 1193687"/>
                <a:gd name="connsiteY89" fmla="*/ 1567 h 93972"/>
                <a:gd name="connsiteX90" fmla="*/ 346934 w 1193687"/>
                <a:gd name="connsiteY90" fmla="*/ 1567 h 93972"/>
                <a:gd name="connsiteX91" fmla="*/ 348272 w 1193687"/>
                <a:gd name="connsiteY91" fmla="*/ 2586 h 93972"/>
                <a:gd name="connsiteX92" fmla="*/ 348272 w 1193687"/>
                <a:gd name="connsiteY92" fmla="*/ 2904 h 93972"/>
                <a:gd name="connsiteX93" fmla="*/ 348272 w 1193687"/>
                <a:gd name="connsiteY93" fmla="*/ 91187 h 93972"/>
                <a:gd name="connsiteX94" fmla="*/ 347252 w 1193687"/>
                <a:gd name="connsiteY94" fmla="*/ 92524 h 93972"/>
                <a:gd name="connsiteX95" fmla="*/ 346934 w 1193687"/>
                <a:gd name="connsiteY95" fmla="*/ 92524 h 93972"/>
                <a:gd name="connsiteX96" fmla="*/ 337719 w 1193687"/>
                <a:gd name="connsiteY96" fmla="*/ 92524 h 93972"/>
                <a:gd name="connsiteX97" fmla="*/ 336382 w 1193687"/>
                <a:gd name="connsiteY97" fmla="*/ 91505 h 93972"/>
                <a:gd name="connsiteX98" fmla="*/ 336382 w 1193687"/>
                <a:gd name="connsiteY98" fmla="*/ 91187 h 93972"/>
                <a:gd name="connsiteX99" fmla="*/ 400855 w 1193687"/>
                <a:gd name="connsiteY99" fmla="*/ 93996 h 93972"/>
                <a:gd name="connsiteX100" fmla="*/ 381391 w 1193687"/>
                <a:gd name="connsiteY100" fmla="*/ 88645 h 93972"/>
                <a:gd name="connsiteX101" fmla="*/ 369956 w 1193687"/>
                <a:gd name="connsiteY101" fmla="*/ 72728 h 93972"/>
                <a:gd name="connsiteX102" fmla="*/ 368820 w 1193687"/>
                <a:gd name="connsiteY102" fmla="*/ 68566 h 93972"/>
                <a:gd name="connsiteX103" fmla="*/ 368083 w 1193687"/>
                <a:gd name="connsiteY103" fmla="*/ 63552 h 93972"/>
                <a:gd name="connsiteX104" fmla="*/ 367682 w 1193687"/>
                <a:gd name="connsiteY104" fmla="*/ 56661 h 93972"/>
                <a:gd name="connsiteX105" fmla="*/ 367533 w 1193687"/>
                <a:gd name="connsiteY105" fmla="*/ 47046 h 93972"/>
                <a:gd name="connsiteX106" fmla="*/ 367667 w 1193687"/>
                <a:gd name="connsiteY106" fmla="*/ 37415 h 93972"/>
                <a:gd name="connsiteX107" fmla="*/ 368068 w 1193687"/>
                <a:gd name="connsiteY107" fmla="*/ 30527 h 93972"/>
                <a:gd name="connsiteX108" fmla="*/ 368805 w 1193687"/>
                <a:gd name="connsiteY108" fmla="*/ 25513 h 93972"/>
                <a:gd name="connsiteX109" fmla="*/ 369941 w 1193687"/>
                <a:gd name="connsiteY109" fmla="*/ 21351 h 93972"/>
                <a:gd name="connsiteX110" fmla="*/ 381391 w 1193687"/>
                <a:gd name="connsiteY110" fmla="*/ 5431 h 93972"/>
                <a:gd name="connsiteX111" fmla="*/ 420449 w 1193687"/>
                <a:gd name="connsiteY111" fmla="*/ 5431 h 93972"/>
                <a:gd name="connsiteX112" fmla="*/ 431887 w 1193687"/>
                <a:gd name="connsiteY112" fmla="*/ 21348 h 93972"/>
                <a:gd name="connsiteX113" fmla="*/ 433023 w 1193687"/>
                <a:gd name="connsiteY113" fmla="*/ 25510 h 93972"/>
                <a:gd name="connsiteX114" fmla="*/ 433760 w 1193687"/>
                <a:gd name="connsiteY114" fmla="*/ 30527 h 93972"/>
                <a:gd name="connsiteX115" fmla="*/ 434161 w 1193687"/>
                <a:gd name="connsiteY115" fmla="*/ 37415 h 93972"/>
                <a:gd name="connsiteX116" fmla="*/ 434295 w 1193687"/>
                <a:gd name="connsiteY116" fmla="*/ 47046 h 93972"/>
                <a:gd name="connsiteX117" fmla="*/ 434161 w 1193687"/>
                <a:gd name="connsiteY117" fmla="*/ 56676 h 93972"/>
                <a:gd name="connsiteX118" fmla="*/ 433760 w 1193687"/>
                <a:gd name="connsiteY118" fmla="*/ 63567 h 93972"/>
                <a:gd name="connsiteX119" fmla="*/ 433023 w 1193687"/>
                <a:gd name="connsiteY119" fmla="*/ 68584 h 93972"/>
                <a:gd name="connsiteX120" fmla="*/ 431887 w 1193687"/>
                <a:gd name="connsiteY120" fmla="*/ 72746 h 93972"/>
                <a:gd name="connsiteX121" fmla="*/ 420449 w 1193687"/>
                <a:gd name="connsiteY121" fmla="*/ 88663 h 93972"/>
                <a:gd name="connsiteX122" fmla="*/ 400855 w 1193687"/>
                <a:gd name="connsiteY122" fmla="*/ 93996 h 93972"/>
                <a:gd name="connsiteX123" fmla="*/ 400855 w 1193687"/>
                <a:gd name="connsiteY123" fmla="*/ 82894 h 93972"/>
                <a:gd name="connsiteX124" fmla="*/ 413295 w 1193687"/>
                <a:gd name="connsiteY124" fmla="*/ 79416 h 93972"/>
                <a:gd name="connsiteX125" fmla="*/ 420250 w 1193687"/>
                <a:gd name="connsiteY125" fmla="*/ 69384 h 93972"/>
                <a:gd name="connsiteX126" fmla="*/ 420987 w 1193687"/>
                <a:gd name="connsiteY126" fmla="*/ 66373 h 93972"/>
                <a:gd name="connsiteX127" fmla="*/ 421656 w 1193687"/>
                <a:gd name="connsiteY127" fmla="*/ 61893 h 93972"/>
                <a:gd name="connsiteX128" fmla="*/ 422126 w 1193687"/>
                <a:gd name="connsiteY128" fmla="*/ 55606 h 93972"/>
                <a:gd name="connsiteX129" fmla="*/ 422260 w 1193687"/>
                <a:gd name="connsiteY129" fmla="*/ 47046 h 93972"/>
                <a:gd name="connsiteX130" fmla="*/ 422126 w 1193687"/>
                <a:gd name="connsiteY130" fmla="*/ 38485 h 93972"/>
                <a:gd name="connsiteX131" fmla="*/ 421656 w 1193687"/>
                <a:gd name="connsiteY131" fmla="*/ 32198 h 93972"/>
                <a:gd name="connsiteX132" fmla="*/ 420987 w 1193687"/>
                <a:gd name="connsiteY132" fmla="*/ 27718 h 93972"/>
                <a:gd name="connsiteX133" fmla="*/ 420250 w 1193687"/>
                <a:gd name="connsiteY133" fmla="*/ 24707 h 93972"/>
                <a:gd name="connsiteX134" fmla="*/ 413295 w 1193687"/>
                <a:gd name="connsiteY134" fmla="*/ 14675 h 93972"/>
                <a:gd name="connsiteX135" fmla="*/ 400855 w 1193687"/>
                <a:gd name="connsiteY135" fmla="*/ 11197 h 93972"/>
                <a:gd name="connsiteX136" fmla="*/ 388480 w 1193687"/>
                <a:gd name="connsiteY136" fmla="*/ 14675 h 93972"/>
                <a:gd name="connsiteX137" fmla="*/ 381593 w 1193687"/>
                <a:gd name="connsiteY137" fmla="*/ 24707 h 93972"/>
                <a:gd name="connsiteX138" fmla="*/ 380859 w 1193687"/>
                <a:gd name="connsiteY138" fmla="*/ 27718 h 93972"/>
                <a:gd name="connsiteX139" fmla="*/ 380190 w 1193687"/>
                <a:gd name="connsiteY139" fmla="*/ 32198 h 93972"/>
                <a:gd name="connsiteX140" fmla="*/ 379720 w 1193687"/>
                <a:gd name="connsiteY140" fmla="*/ 38485 h 93972"/>
                <a:gd name="connsiteX141" fmla="*/ 379587 w 1193687"/>
                <a:gd name="connsiteY141" fmla="*/ 47046 h 93972"/>
                <a:gd name="connsiteX142" fmla="*/ 379720 w 1193687"/>
                <a:gd name="connsiteY142" fmla="*/ 55606 h 93972"/>
                <a:gd name="connsiteX143" fmla="*/ 380190 w 1193687"/>
                <a:gd name="connsiteY143" fmla="*/ 61893 h 93972"/>
                <a:gd name="connsiteX144" fmla="*/ 380859 w 1193687"/>
                <a:gd name="connsiteY144" fmla="*/ 66373 h 93972"/>
                <a:gd name="connsiteX145" fmla="*/ 381593 w 1193687"/>
                <a:gd name="connsiteY145" fmla="*/ 69384 h 93972"/>
                <a:gd name="connsiteX146" fmla="*/ 388480 w 1193687"/>
                <a:gd name="connsiteY146" fmla="*/ 79416 h 93972"/>
                <a:gd name="connsiteX147" fmla="*/ 400855 w 1193687"/>
                <a:gd name="connsiteY147" fmla="*/ 82894 h 93972"/>
                <a:gd name="connsiteX148" fmla="*/ 453557 w 1193687"/>
                <a:gd name="connsiteY148" fmla="*/ 2904 h 93972"/>
                <a:gd name="connsiteX149" fmla="*/ 454576 w 1193687"/>
                <a:gd name="connsiteY149" fmla="*/ 1567 h 93972"/>
                <a:gd name="connsiteX150" fmla="*/ 454894 w 1193687"/>
                <a:gd name="connsiteY150" fmla="*/ 1567 h 93972"/>
                <a:gd name="connsiteX151" fmla="*/ 463455 w 1193687"/>
                <a:gd name="connsiteY151" fmla="*/ 1567 h 93972"/>
                <a:gd name="connsiteX152" fmla="*/ 465729 w 1193687"/>
                <a:gd name="connsiteY152" fmla="*/ 2904 h 93972"/>
                <a:gd name="connsiteX153" fmla="*/ 506928 w 1193687"/>
                <a:gd name="connsiteY153" fmla="*/ 71123 h 93972"/>
                <a:gd name="connsiteX154" fmla="*/ 507463 w 1193687"/>
                <a:gd name="connsiteY154" fmla="*/ 71123 h 93972"/>
                <a:gd name="connsiteX155" fmla="*/ 507463 w 1193687"/>
                <a:gd name="connsiteY155" fmla="*/ 2904 h 93972"/>
                <a:gd name="connsiteX156" fmla="*/ 508482 w 1193687"/>
                <a:gd name="connsiteY156" fmla="*/ 1567 h 93972"/>
                <a:gd name="connsiteX157" fmla="*/ 508800 w 1193687"/>
                <a:gd name="connsiteY157" fmla="*/ 1567 h 93972"/>
                <a:gd name="connsiteX158" fmla="*/ 517227 w 1193687"/>
                <a:gd name="connsiteY158" fmla="*/ 1567 h 93972"/>
                <a:gd name="connsiteX159" fmla="*/ 518565 w 1193687"/>
                <a:gd name="connsiteY159" fmla="*/ 2586 h 93972"/>
                <a:gd name="connsiteX160" fmla="*/ 518565 w 1193687"/>
                <a:gd name="connsiteY160" fmla="*/ 2904 h 93972"/>
                <a:gd name="connsiteX161" fmla="*/ 518565 w 1193687"/>
                <a:gd name="connsiteY161" fmla="*/ 91187 h 93972"/>
                <a:gd name="connsiteX162" fmla="*/ 517545 w 1193687"/>
                <a:gd name="connsiteY162" fmla="*/ 92524 h 93972"/>
                <a:gd name="connsiteX163" fmla="*/ 517227 w 1193687"/>
                <a:gd name="connsiteY163" fmla="*/ 92524 h 93972"/>
                <a:gd name="connsiteX164" fmla="*/ 508667 w 1193687"/>
                <a:gd name="connsiteY164" fmla="*/ 92524 h 93972"/>
                <a:gd name="connsiteX165" fmla="*/ 506393 w 1193687"/>
                <a:gd name="connsiteY165" fmla="*/ 91187 h 93972"/>
                <a:gd name="connsiteX166" fmla="*/ 465060 w 1193687"/>
                <a:gd name="connsiteY166" fmla="*/ 23236 h 93972"/>
                <a:gd name="connsiteX167" fmla="*/ 464659 w 1193687"/>
                <a:gd name="connsiteY167" fmla="*/ 23236 h 93972"/>
                <a:gd name="connsiteX168" fmla="*/ 464659 w 1193687"/>
                <a:gd name="connsiteY168" fmla="*/ 91187 h 93972"/>
                <a:gd name="connsiteX169" fmla="*/ 463639 w 1193687"/>
                <a:gd name="connsiteY169" fmla="*/ 92524 h 93972"/>
                <a:gd name="connsiteX170" fmla="*/ 463321 w 1193687"/>
                <a:gd name="connsiteY170" fmla="*/ 92524 h 93972"/>
                <a:gd name="connsiteX171" fmla="*/ 454894 w 1193687"/>
                <a:gd name="connsiteY171" fmla="*/ 92524 h 93972"/>
                <a:gd name="connsiteX172" fmla="*/ 453557 w 1193687"/>
                <a:gd name="connsiteY172" fmla="*/ 91505 h 93972"/>
                <a:gd name="connsiteX173" fmla="*/ 453557 w 1193687"/>
                <a:gd name="connsiteY173" fmla="*/ 91187 h 93972"/>
                <a:gd name="connsiteX174" fmla="*/ 539164 w 1193687"/>
                <a:gd name="connsiteY174" fmla="*/ 79683 h 93972"/>
                <a:gd name="connsiteX175" fmla="*/ 540184 w 1193687"/>
                <a:gd name="connsiteY175" fmla="*/ 78346 h 93972"/>
                <a:gd name="connsiteX176" fmla="*/ 540502 w 1193687"/>
                <a:gd name="connsiteY176" fmla="*/ 78346 h 93972"/>
                <a:gd name="connsiteX177" fmla="*/ 550668 w 1193687"/>
                <a:gd name="connsiteY177" fmla="*/ 78346 h 93972"/>
                <a:gd name="connsiteX178" fmla="*/ 552005 w 1193687"/>
                <a:gd name="connsiteY178" fmla="*/ 79365 h 93972"/>
                <a:gd name="connsiteX179" fmla="*/ 552005 w 1193687"/>
                <a:gd name="connsiteY179" fmla="*/ 79683 h 93972"/>
                <a:gd name="connsiteX180" fmla="*/ 552005 w 1193687"/>
                <a:gd name="connsiteY180" fmla="*/ 91187 h 93972"/>
                <a:gd name="connsiteX181" fmla="*/ 550986 w 1193687"/>
                <a:gd name="connsiteY181" fmla="*/ 92524 h 93972"/>
                <a:gd name="connsiteX182" fmla="*/ 550668 w 1193687"/>
                <a:gd name="connsiteY182" fmla="*/ 92524 h 93972"/>
                <a:gd name="connsiteX183" fmla="*/ 540502 w 1193687"/>
                <a:gd name="connsiteY183" fmla="*/ 92524 h 93972"/>
                <a:gd name="connsiteX184" fmla="*/ 539164 w 1193687"/>
                <a:gd name="connsiteY184" fmla="*/ 91505 h 93972"/>
                <a:gd name="connsiteX185" fmla="*/ 539164 w 1193687"/>
                <a:gd name="connsiteY185" fmla="*/ 91187 h 93972"/>
                <a:gd name="connsiteX186" fmla="*/ 601883 w 1193687"/>
                <a:gd name="connsiteY186" fmla="*/ 2904 h 93972"/>
                <a:gd name="connsiteX187" fmla="*/ 602903 w 1193687"/>
                <a:gd name="connsiteY187" fmla="*/ 1567 h 93972"/>
                <a:gd name="connsiteX188" fmla="*/ 603221 w 1193687"/>
                <a:gd name="connsiteY188" fmla="*/ 1567 h 93972"/>
                <a:gd name="connsiteX189" fmla="*/ 612465 w 1193687"/>
                <a:gd name="connsiteY189" fmla="*/ 1567 h 93972"/>
                <a:gd name="connsiteX190" fmla="*/ 613803 w 1193687"/>
                <a:gd name="connsiteY190" fmla="*/ 2586 h 93972"/>
                <a:gd name="connsiteX191" fmla="*/ 613803 w 1193687"/>
                <a:gd name="connsiteY191" fmla="*/ 2904 h 93972"/>
                <a:gd name="connsiteX192" fmla="*/ 613803 w 1193687"/>
                <a:gd name="connsiteY192" fmla="*/ 80620 h 93972"/>
                <a:gd name="connsiteX193" fmla="*/ 614406 w 1193687"/>
                <a:gd name="connsiteY193" fmla="*/ 81422 h 93972"/>
                <a:gd name="connsiteX194" fmla="*/ 614606 w 1193687"/>
                <a:gd name="connsiteY194" fmla="*/ 81422 h 93972"/>
                <a:gd name="connsiteX195" fmla="*/ 657944 w 1193687"/>
                <a:gd name="connsiteY195" fmla="*/ 81422 h 93972"/>
                <a:gd name="connsiteX196" fmla="*/ 659282 w 1193687"/>
                <a:gd name="connsiteY196" fmla="*/ 82441 h 93972"/>
                <a:gd name="connsiteX197" fmla="*/ 659282 w 1193687"/>
                <a:gd name="connsiteY197" fmla="*/ 82760 h 93972"/>
                <a:gd name="connsiteX198" fmla="*/ 659282 w 1193687"/>
                <a:gd name="connsiteY198" fmla="*/ 91187 h 93972"/>
                <a:gd name="connsiteX199" fmla="*/ 658262 w 1193687"/>
                <a:gd name="connsiteY199" fmla="*/ 92524 h 93972"/>
                <a:gd name="connsiteX200" fmla="*/ 657944 w 1193687"/>
                <a:gd name="connsiteY200" fmla="*/ 92524 h 93972"/>
                <a:gd name="connsiteX201" fmla="*/ 603251 w 1193687"/>
                <a:gd name="connsiteY201" fmla="*/ 92524 h 93972"/>
                <a:gd name="connsiteX202" fmla="*/ 601913 w 1193687"/>
                <a:gd name="connsiteY202" fmla="*/ 91505 h 93972"/>
                <a:gd name="connsiteX203" fmla="*/ 601913 w 1193687"/>
                <a:gd name="connsiteY203" fmla="*/ 91187 h 93972"/>
                <a:gd name="connsiteX204" fmla="*/ 703958 w 1193687"/>
                <a:gd name="connsiteY204" fmla="*/ 93996 h 93972"/>
                <a:gd name="connsiteX205" fmla="*/ 684495 w 1193687"/>
                <a:gd name="connsiteY205" fmla="*/ 88645 h 93972"/>
                <a:gd name="connsiteX206" fmla="*/ 673056 w 1193687"/>
                <a:gd name="connsiteY206" fmla="*/ 72728 h 93972"/>
                <a:gd name="connsiteX207" fmla="*/ 671921 w 1193687"/>
                <a:gd name="connsiteY207" fmla="*/ 68566 h 93972"/>
                <a:gd name="connsiteX208" fmla="*/ 671187 w 1193687"/>
                <a:gd name="connsiteY208" fmla="*/ 63552 h 93972"/>
                <a:gd name="connsiteX209" fmla="*/ 670785 w 1193687"/>
                <a:gd name="connsiteY209" fmla="*/ 56661 h 93972"/>
                <a:gd name="connsiteX210" fmla="*/ 670652 w 1193687"/>
                <a:gd name="connsiteY210" fmla="*/ 47031 h 93972"/>
                <a:gd name="connsiteX211" fmla="*/ 670785 w 1193687"/>
                <a:gd name="connsiteY211" fmla="*/ 37400 h 93972"/>
                <a:gd name="connsiteX212" fmla="*/ 671187 w 1193687"/>
                <a:gd name="connsiteY212" fmla="*/ 30513 h 93972"/>
                <a:gd name="connsiteX213" fmla="*/ 671915 w 1193687"/>
                <a:gd name="connsiteY213" fmla="*/ 25510 h 93972"/>
                <a:gd name="connsiteX214" fmla="*/ 673051 w 1193687"/>
                <a:gd name="connsiteY214" fmla="*/ 21348 h 93972"/>
                <a:gd name="connsiteX215" fmla="*/ 684495 w 1193687"/>
                <a:gd name="connsiteY215" fmla="*/ 5431 h 93972"/>
                <a:gd name="connsiteX216" fmla="*/ 723553 w 1193687"/>
                <a:gd name="connsiteY216" fmla="*/ 5431 h 93972"/>
                <a:gd name="connsiteX217" fmla="*/ 734991 w 1193687"/>
                <a:gd name="connsiteY217" fmla="*/ 21348 h 93972"/>
                <a:gd name="connsiteX218" fmla="*/ 736126 w 1193687"/>
                <a:gd name="connsiteY218" fmla="*/ 25510 h 93972"/>
                <a:gd name="connsiteX219" fmla="*/ 736864 w 1193687"/>
                <a:gd name="connsiteY219" fmla="*/ 30527 h 93972"/>
                <a:gd name="connsiteX220" fmla="*/ 737265 w 1193687"/>
                <a:gd name="connsiteY220" fmla="*/ 37415 h 93972"/>
                <a:gd name="connsiteX221" fmla="*/ 737399 w 1193687"/>
                <a:gd name="connsiteY221" fmla="*/ 47046 h 93972"/>
                <a:gd name="connsiteX222" fmla="*/ 737265 w 1193687"/>
                <a:gd name="connsiteY222" fmla="*/ 56676 h 93972"/>
                <a:gd name="connsiteX223" fmla="*/ 736864 w 1193687"/>
                <a:gd name="connsiteY223" fmla="*/ 63567 h 93972"/>
                <a:gd name="connsiteX224" fmla="*/ 736126 w 1193687"/>
                <a:gd name="connsiteY224" fmla="*/ 68584 h 93972"/>
                <a:gd name="connsiteX225" fmla="*/ 734991 w 1193687"/>
                <a:gd name="connsiteY225" fmla="*/ 72746 h 93972"/>
                <a:gd name="connsiteX226" fmla="*/ 723553 w 1193687"/>
                <a:gd name="connsiteY226" fmla="*/ 88663 h 93972"/>
                <a:gd name="connsiteX227" fmla="*/ 703958 w 1193687"/>
                <a:gd name="connsiteY227" fmla="*/ 93996 h 93972"/>
                <a:gd name="connsiteX228" fmla="*/ 703958 w 1193687"/>
                <a:gd name="connsiteY228" fmla="*/ 82894 h 93972"/>
                <a:gd name="connsiteX229" fmla="*/ 716398 w 1193687"/>
                <a:gd name="connsiteY229" fmla="*/ 79416 h 93972"/>
                <a:gd name="connsiteX230" fmla="*/ 723354 w 1193687"/>
                <a:gd name="connsiteY230" fmla="*/ 69384 h 93972"/>
                <a:gd name="connsiteX231" fmla="*/ 724091 w 1193687"/>
                <a:gd name="connsiteY231" fmla="*/ 66373 h 93972"/>
                <a:gd name="connsiteX232" fmla="*/ 724760 w 1193687"/>
                <a:gd name="connsiteY232" fmla="*/ 61893 h 93972"/>
                <a:gd name="connsiteX233" fmla="*/ 725229 w 1193687"/>
                <a:gd name="connsiteY233" fmla="*/ 55606 h 93972"/>
                <a:gd name="connsiteX234" fmla="*/ 725363 w 1193687"/>
                <a:gd name="connsiteY234" fmla="*/ 47046 h 93972"/>
                <a:gd name="connsiteX235" fmla="*/ 725229 w 1193687"/>
                <a:gd name="connsiteY235" fmla="*/ 38485 h 93972"/>
                <a:gd name="connsiteX236" fmla="*/ 724760 w 1193687"/>
                <a:gd name="connsiteY236" fmla="*/ 32198 h 93972"/>
                <a:gd name="connsiteX237" fmla="*/ 724091 w 1193687"/>
                <a:gd name="connsiteY237" fmla="*/ 27718 h 93972"/>
                <a:gd name="connsiteX238" fmla="*/ 723354 w 1193687"/>
                <a:gd name="connsiteY238" fmla="*/ 24707 h 93972"/>
                <a:gd name="connsiteX239" fmla="*/ 716398 w 1193687"/>
                <a:gd name="connsiteY239" fmla="*/ 14675 h 93972"/>
                <a:gd name="connsiteX240" fmla="*/ 703958 w 1193687"/>
                <a:gd name="connsiteY240" fmla="*/ 11197 h 93972"/>
                <a:gd name="connsiteX241" fmla="*/ 691584 w 1193687"/>
                <a:gd name="connsiteY241" fmla="*/ 14675 h 93972"/>
                <a:gd name="connsiteX242" fmla="*/ 684697 w 1193687"/>
                <a:gd name="connsiteY242" fmla="*/ 24707 h 93972"/>
                <a:gd name="connsiteX243" fmla="*/ 683962 w 1193687"/>
                <a:gd name="connsiteY243" fmla="*/ 27718 h 93972"/>
                <a:gd name="connsiteX244" fmla="*/ 683294 w 1193687"/>
                <a:gd name="connsiteY244" fmla="*/ 32198 h 93972"/>
                <a:gd name="connsiteX245" fmla="*/ 682824 w 1193687"/>
                <a:gd name="connsiteY245" fmla="*/ 38485 h 93972"/>
                <a:gd name="connsiteX246" fmla="*/ 682690 w 1193687"/>
                <a:gd name="connsiteY246" fmla="*/ 47046 h 93972"/>
                <a:gd name="connsiteX247" fmla="*/ 682824 w 1193687"/>
                <a:gd name="connsiteY247" fmla="*/ 55606 h 93972"/>
                <a:gd name="connsiteX248" fmla="*/ 683294 w 1193687"/>
                <a:gd name="connsiteY248" fmla="*/ 61893 h 93972"/>
                <a:gd name="connsiteX249" fmla="*/ 683962 w 1193687"/>
                <a:gd name="connsiteY249" fmla="*/ 66373 h 93972"/>
                <a:gd name="connsiteX250" fmla="*/ 684697 w 1193687"/>
                <a:gd name="connsiteY250" fmla="*/ 69384 h 93972"/>
                <a:gd name="connsiteX251" fmla="*/ 691584 w 1193687"/>
                <a:gd name="connsiteY251" fmla="*/ 79416 h 93972"/>
                <a:gd name="connsiteX252" fmla="*/ 703958 w 1193687"/>
                <a:gd name="connsiteY252" fmla="*/ 82894 h 93972"/>
                <a:gd name="connsiteX253" fmla="*/ 755858 w 1193687"/>
                <a:gd name="connsiteY253" fmla="*/ 72728 h 93972"/>
                <a:gd name="connsiteX254" fmla="*/ 754788 w 1193687"/>
                <a:gd name="connsiteY254" fmla="*/ 68566 h 93972"/>
                <a:gd name="connsiteX255" fmla="*/ 754053 w 1193687"/>
                <a:gd name="connsiteY255" fmla="*/ 63552 h 93972"/>
                <a:gd name="connsiteX256" fmla="*/ 753584 w 1193687"/>
                <a:gd name="connsiteY256" fmla="*/ 56661 h 93972"/>
                <a:gd name="connsiteX257" fmla="*/ 753450 w 1193687"/>
                <a:gd name="connsiteY257" fmla="*/ 47031 h 93972"/>
                <a:gd name="connsiteX258" fmla="*/ 753584 w 1193687"/>
                <a:gd name="connsiteY258" fmla="*/ 37400 h 93972"/>
                <a:gd name="connsiteX259" fmla="*/ 754053 w 1193687"/>
                <a:gd name="connsiteY259" fmla="*/ 30513 h 93972"/>
                <a:gd name="connsiteX260" fmla="*/ 754788 w 1193687"/>
                <a:gd name="connsiteY260" fmla="*/ 25498 h 93972"/>
                <a:gd name="connsiteX261" fmla="*/ 755858 w 1193687"/>
                <a:gd name="connsiteY261" fmla="*/ 21337 h 93972"/>
                <a:gd name="connsiteX262" fmla="*/ 767361 w 1193687"/>
                <a:gd name="connsiteY262" fmla="*/ 5431 h 93972"/>
                <a:gd name="connsiteX263" fmla="*/ 787024 w 1193687"/>
                <a:gd name="connsiteY263" fmla="*/ 80 h 93972"/>
                <a:gd name="connsiteX264" fmla="*/ 797859 w 1193687"/>
                <a:gd name="connsiteY264" fmla="*/ 1483 h 93972"/>
                <a:gd name="connsiteX265" fmla="*/ 806420 w 1193687"/>
                <a:gd name="connsiteY265" fmla="*/ 5362 h 93972"/>
                <a:gd name="connsiteX266" fmla="*/ 812840 w 1193687"/>
                <a:gd name="connsiteY266" fmla="*/ 11114 h 93972"/>
                <a:gd name="connsiteX267" fmla="*/ 817254 w 1193687"/>
                <a:gd name="connsiteY267" fmla="*/ 18135 h 93972"/>
                <a:gd name="connsiteX268" fmla="*/ 817061 w 1193687"/>
                <a:gd name="connsiteY268" fmla="*/ 19873 h 93972"/>
                <a:gd name="connsiteX269" fmla="*/ 816853 w 1193687"/>
                <a:gd name="connsiteY269" fmla="*/ 20008 h 93972"/>
                <a:gd name="connsiteX270" fmla="*/ 808827 w 1193687"/>
                <a:gd name="connsiteY270" fmla="*/ 23872 h 93972"/>
                <a:gd name="connsiteX271" fmla="*/ 806955 w 1193687"/>
                <a:gd name="connsiteY271" fmla="*/ 23203 h 93972"/>
                <a:gd name="connsiteX272" fmla="*/ 798929 w 1193687"/>
                <a:gd name="connsiteY272" fmla="*/ 14107 h 93972"/>
                <a:gd name="connsiteX273" fmla="*/ 787039 w 1193687"/>
                <a:gd name="connsiteY273" fmla="*/ 11165 h 93972"/>
                <a:gd name="connsiteX274" fmla="*/ 774397 w 1193687"/>
                <a:gd name="connsiteY274" fmla="*/ 14643 h 93972"/>
                <a:gd name="connsiteX275" fmla="*/ 767373 w 1193687"/>
                <a:gd name="connsiteY275" fmla="*/ 24675 h 93972"/>
                <a:gd name="connsiteX276" fmla="*/ 766571 w 1193687"/>
                <a:gd name="connsiteY276" fmla="*/ 27617 h 93972"/>
                <a:gd name="connsiteX277" fmla="*/ 765976 w 1193687"/>
                <a:gd name="connsiteY277" fmla="*/ 31898 h 93972"/>
                <a:gd name="connsiteX278" fmla="*/ 765643 w 1193687"/>
                <a:gd name="connsiteY278" fmla="*/ 38116 h 93972"/>
                <a:gd name="connsiteX279" fmla="*/ 765489 w 1193687"/>
                <a:gd name="connsiteY279" fmla="*/ 47046 h 93972"/>
                <a:gd name="connsiteX280" fmla="*/ 765622 w 1193687"/>
                <a:gd name="connsiteY280" fmla="*/ 55942 h 93972"/>
                <a:gd name="connsiteX281" fmla="*/ 765955 w 1193687"/>
                <a:gd name="connsiteY281" fmla="*/ 62161 h 93972"/>
                <a:gd name="connsiteX282" fmla="*/ 766550 w 1193687"/>
                <a:gd name="connsiteY282" fmla="*/ 66441 h 93972"/>
                <a:gd name="connsiteX283" fmla="*/ 767352 w 1193687"/>
                <a:gd name="connsiteY283" fmla="*/ 69384 h 93972"/>
                <a:gd name="connsiteX284" fmla="*/ 774376 w 1193687"/>
                <a:gd name="connsiteY284" fmla="*/ 79416 h 93972"/>
                <a:gd name="connsiteX285" fmla="*/ 787018 w 1193687"/>
                <a:gd name="connsiteY285" fmla="*/ 82894 h 93972"/>
                <a:gd name="connsiteX286" fmla="*/ 799205 w 1193687"/>
                <a:gd name="connsiteY286" fmla="*/ 79550 h 93972"/>
                <a:gd name="connsiteX287" fmla="*/ 806562 w 1193687"/>
                <a:gd name="connsiteY287" fmla="*/ 69785 h 93972"/>
                <a:gd name="connsiteX288" fmla="*/ 807751 w 1193687"/>
                <a:gd name="connsiteY288" fmla="*/ 64033 h 93972"/>
                <a:gd name="connsiteX289" fmla="*/ 808286 w 1193687"/>
                <a:gd name="connsiteY289" fmla="*/ 55472 h 93972"/>
                <a:gd name="connsiteX290" fmla="*/ 807683 w 1193687"/>
                <a:gd name="connsiteY290" fmla="*/ 54670 h 93972"/>
                <a:gd name="connsiteX291" fmla="*/ 807484 w 1193687"/>
                <a:gd name="connsiteY291" fmla="*/ 54670 h 93972"/>
                <a:gd name="connsiteX292" fmla="*/ 789827 w 1193687"/>
                <a:gd name="connsiteY292" fmla="*/ 54670 h 93972"/>
                <a:gd name="connsiteX293" fmla="*/ 788490 w 1193687"/>
                <a:gd name="connsiteY293" fmla="*/ 53651 h 93972"/>
                <a:gd name="connsiteX294" fmla="*/ 788490 w 1193687"/>
                <a:gd name="connsiteY294" fmla="*/ 53332 h 93972"/>
                <a:gd name="connsiteX295" fmla="*/ 788490 w 1193687"/>
                <a:gd name="connsiteY295" fmla="*/ 45559 h 93972"/>
                <a:gd name="connsiteX296" fmla="*/ 789509 w 1193687"/>
                <a:gd name="connsiteY296" fmla="*/ 44222 h 93972"/>
                <a:gd name="connsiteX297" fmla="*/ 789827 w 1193687"/>
                <a:gd name="connsiteY297" fmla="*/ 44222 h 93972"/>
                <a:gd name="connsiteX298" fmla="*/ 818854 w 1193687"/>
                <a:gd name="connsiteY298" fmla="*/ 44222 h 93972"/>
                <a:gd name="connsiteX299" fmla="*/ 820191 w 1193687"/>
                <a:gd name="connsiteY299" fmla="*/ 45241 h 93972"/>
                <a:gd name="connsiteX300" fmla="*/ 820191 w 1193687"/>
                <a:gd name="connsiteY300" fmla="*/ 45559 h 93972"/>
                <a:gd name="connsiteX301" fmla="*/ 820191 w 1193687"/>
                <a:gd name="connsiteY301" fmla="*/ 52396 h 93972"/>
                <a:gd name="connsiteX302" fmla="*/ 819597 w 1193687"/>
                <a:gd name="connsiteY302" fmla="*/ 63831 h 93972"/>
                <a:gd name="connsiteX303" fmla="*/ 817926 w 1193687"/>
                <a:gd name="connsiteY303" fmla="*/ 72451 h 93972"/>
                <a:gd name="connsiteX304" fmla="*/ 806488 w 1193687"/>
                <a:gd name="connsiteY304" fmla="*/ 88434 h 93972"/>
                <a:gd name="connsiteX305" fmla="*/ 787027 w 1193687"/>
                <a:gd name="connsiteY305" fmla="*/ 93987 h 93972"/>
                <a:gd name="connsiteX306" fmla="*/ 767364 w 1193687"/>
                <a:gd name="connsiteY306" fmla="*/ 88636 h 93972"/>
                <a:gd name="connsiteX307" fmla="*/ 755858 w 1193687"/>
                <a:gd name="connsiteY307" fmla="*/ 72728 h 93972"/>
                <a:gd name="connsiteX308" fmla="*/ 839459 w 1193687"/>
                <a:gd name="connsiteY308" fmla="*/ 2904 h 93972"/>
                <a:gd name="connsiteX309" fmla="*/ 840478 w 1193687"/>
                <a:gd name="connsiteY309" fmla="*/ 1567 h 93972"/>
                <a:gd name="connsiteX310" fmla="*/ 840796 w 1193687"/>
                <a:gd name="connsiteY310" fmla="*/ 1567 h 93972"/>
                <a:gd name="connsiteX311" fmla="*/ 850011 w 1193687"/>
                <a:gd name="connsiteY311" fmla="*/ 1567 h 93972"/>
                <a:gd name="connsiteX312" fmla="*/ 851349 w 1193687"/>
                <a:gd name="connsiteY312" fmla="*/ 2586 h 93972"/>
                <a:gd name="connsiteX313" fmla="*/ 851349 w 1193687"/>
                <a:gd name="connsiteY313" fmla="*/ 2904 h 93972"/>
                <a:gd name="connsiteX314" fmla="*/ 851349 w 1193687"/>
                <a:gd name="connsiteY314" fmla="*/ 91187 h 93972"/>
                <a:gd name="connsiteX315" fmla="*/ 850329 w 1193687"/>
                <a:gd name="connsiteY315" fmla="*/ 92524 h 93972"/>
                <a:gd name="connsiteX316" fmla="*/ 850011 w 1193687"/>
                <a:gd name="connsiteY316" fmla="*/ 92524 h 93972"/>
                <a:gd name="connsiteX317" fmla="*/ 840796 w 1193687"/>
                <a:gd name="connsiteY317" fmla="*/ 92524 h 93972"/>
                <a:gd name="connsiteX318" fmla="*/ 839459 w 1193687"/>
                <a:gd name="connsiteY318" fmla="*/ 91505 h 93972"/>
                <a:gd name="connsiteX319" fmla="*/ 839459 w 1193687"/>
                <a:gd name="connsiteY319" fmla="*/ 91187 h 93972"/>
                <a:gd name="connsiteX320" fmla="*/ 901390 w 1193687"/>
                <a:gd name="connsiteY320" fmla="*/ 93996 h 93972"/>
                <a:gd name="connsiteX321" fmla="*/ 891893 w 1193687"/>
                <a:gd name="connsiteY321" fmla="*/ 93059 h 93972"/>
                <a:gd name="connsiteX322" fmla="*/ 883065 w 1193687"/>
                <a:gd name="connsiteY322" fmla="*/ 90583 h 93972"/>
                <a:gd name="connsiteX323" fmla="*/ 875441 w 1193687"/>
                <a:gd name="connsiteY323" fmla="*/ 86972 h 93972"/>
                <a:gd name="connsiteX324" fmla="*/ 869421 w 1193687"/>
                <a:gd name="connsiteY324" fmla="*/ 82626 h 93972"/>
                <a:gd name="connsiteX325" fmla="*/ 869225 w 1193687"/>
                <a:gd name="connsiteY325" fmla="*/ 80689 h 93972"/>
                <a:gd name="connsiteX326" fmla="*/ 869288 w 1193687"/>
                <a:gd name="connsiteY326" fmla="*/ 80620 h 93972"/>
                <a:gd name="connsiteX327" fmla="*/ 875173 w 1193687"/>
                <a:gd name="connsiteY327" fmla="*/ 73664 h 93972"/>
                <a:gd name="connsiteX328" fmla="*/ 876882 w 1193687"/>
                <a:gd name="connsiteY328" fmla="*/ 73389 h 93972"/>
                <a:gd name="connsiteX329" fmla="*/ 877046 w 1193687"/>
                <a:gd name="connsiteY329" fmla="*/ 73530 h 93972"/>
                <a:gd name="connsiteX330" fmla="*/ 888014 w 1193687"/>
                <a:gd name="connsiteY330" fmla="*/ 79951 h 93972"/>
                <a:gd name="connsiteX331" fmla="*/ 902460 w 1193687"/>
                <a:gd name="connsiteY331" fmla="*/ 82894 h 93972"/>
                <a:gd name="connsiteX332" fmla="*/ 917242 w 1193687"/>
                <a:gd name="connsiteY332" fmla="*/ 78613 h 93972"/>
                <a:gd name="connsiteX333" fmla="*/ 922525 w 1193687"/>
                <a:gd name="connsiteY333" fmla="*/ 67377 h 93972"/>
                <a:gd name="connsiteX334" fmla="*/ 921588 w 1193687"/>
                <a:gd name="connsiteY334" fmla="*/ 62027 h 93972"/>
                <a:gd name="connsiteX335" fmla="*/ 918446 w 1193687"/>
                <a:gd name="connsiteY335" fmla="*/ 57746 h 93972"/>
                <a:gd name="connsiteX336" fmla="*/ 912626 w 1193687"/>
                <a:gd name="connsiteY336" fmla="*/ 54536 h 93972"/>
                <a:gd name="connsiteX337" fmla="*/ 903531 w 1193687"/>
                <a:gd name="connsiteY337" fmla="*/ 52530 h 93972"/>
                <a:gd name="connsiteX338" fmla="*/ 898983 w 1193687"/>
                <a:gd name="connsiteY338" fmla="*/ 51861 h 93972"/>
                <a:gd name="connsiteX339" fmla="*/ 872230 w 1193687"/>
                <a:gd name="connsiteY339" fmla="*/ 26714 h 93972"/>
                <a:gd name="connsiteX340" fmla="*/ 874311 w 1193687"/>
                <a:gd name="connsiteY340" fmla="*/ 15745 h 93972"/>
                <a:gd name="connsiteX341" fmla="*/ 880256 w 1193687"/>
                <a:gd name="connsiteY341" fmla="*/ 7318 h 93972"/>
                <a:gd name="connsiteX342" fmla="*/ 889619 w 1193687"/>
                <a:gd name="connsiteY342" fmla="*/ 1968 h 93972"/>
                <a:gd name="connsiteX343" fmla="*/ 901925 w 1193687"/>
                <a:gd name="connsiteY343" fmla="*/ 95 h 93972"/>
                <a:gd name="connsiteX344" fmla="*/ 917240 w 1193687"/>
                <a:gd name="connsiteY344" fmla="*/ 2435 h 93972"/>
                <a:gd name="connsiteX345" fmla="*/ 929629 w 1193687"/>
                <a:gd name="connsiteY345" fmla="*/ 8522 h 93972"/>
                <a:gd name="connsiteX346" fmla="*/ 930087 w 1193687"/>
                <a:gd name="connsiteY346" fmla="*/ 10140 h 93972"/>
                <a:gd name="connsiteX347" fmla="*/ 929896 w 1193687"/>
                <a:gd name="connsiteY347" fmla="*/ 10395 h 93972"/>
                <a:gd name="connsiteX348" fmla="*/ 925348 w 1193687"/>
                <a:gd name="connsiteY348" fmla="*/ 17752 h 93972"/>
                <a:gd name="connsiteX349" fmla="*/ 923532 w 1193687"/>
                <a:gd name="connsiteY349" fmla="*/ 18063 h 93972"/>
                <a:gd name="connsiteX350" fmla="*/ 923476 w 1193687"/>
                <a:gd name="connsiteY350" fmla="*/ 18019 h 93972"/>
                <a:gd name="connsiteX351" fmla="*/ 912626 w 1193687"/>
                <a:gd name="connsiteY351" fmla="*/ 12862 h 93972"/>
                <a:gd name="connsiteX352" fmla="*/ 901524 w 1193687"/>
                <a:gd name="connsiteY352" fmla="*/ 11191 h 93972"/>
                <a:gd name="connsiteX353" fmla="*/ 888683 w 1193687"/>
                <a:gd name="connsiteY353" fmla="*/ 15270 h 93972"/>
                <a:gd name="connsiteX354" fmla="*/ 884269 w 1193687"/>
                <a:gd name="connsiteY354" fmla="*/ 25902 h 93972"/>
                <a:gd name="connsiteX355" fmla="*/ 888549 w 1193687"/>
                <a:gd name="connsiteY355" fmla="*/ 35331 h 93972"/>
                <a:gd name="connsiteX356" fmla="*/ 903397 w 1193687"/>
                <a:gd name="connsiteY356" fmla="*/ 40482 h 93972"/>
                <a:gd name="connsiteX357" fmla="*/ 907811 w 1193687"/>
                <a:gd name="connsiteY357" fmla="*/ 41151 h 93972"/>
                <a:gd name="connsiteX358" fmla="*/ 927875 w 1193687"/>
                <a:gd name="connsiteY358" fmla="*/ 49177 h 93972"/>
                <a:gd name="connsiteX359" fmla="*/ 934563 w 1193687"/>
                <a:gd name="connsiteY359" fmla="*/ 66566 h 93972"/>
                <a:gd name="connsiteX360" fmla="*/ 932482 w 1193687"/>
                <a:gd name="connsiteY360" fmla="*/ 77600 h 93972"/>
                <a:gd name="connsiteX361" fmla="*/ 926196 w 1193687"/>
                <a:gd name="connsiteY361" fmla="*/ 86220 h 93972"/>
                <a:gd name="connsiteX362" fmla="*/ 915762 w 1193687"/>
                <a:gd name="connsiteY362" fmla="*/ 91906 h 93972"/>
                <a:gd name="connsiteX363" fmla="*/ 901390 w 1193687"/>
                <a:gd name="connsiteY363" fmla="*/ 93996 h 93972"/>
                <a:gd name="connsiteX364" fmla="*/ 971348 w 1193687"/>
                <a:gd name="connsiteY364" fmla="*/ 92524 h 93972"/>
                <a:gd name="connsiteX365" fmla="*/ 970010 w 1193687"/>
                <a:gd name="connsiteY365" fmla="*/ 91505 h 93972"/>
                <a:gd name="connsiteX366" fmla="*/ 970010 w 1193687"/>
                <a:gd name="connsiteY366" fmla="*/ 91187 h 93972"/>
                <a:gd name="connsiteX367" fmla="*/ 970010 w 1193687"/>
                <a:gd name="connsiteY367" fmla="*/ 13457 h 93972"/>
                <a:gd name="connsiteX368" fmla="*/ 969407 w 1193687"/>
                <a:gd name="connsiteY368" fmla="*/ 12654 h 93972"/>
                <a:gd name="connsiteX369" fmla="*/ 969207 w 1193687"/>
                <a:gd name="connsiteY369" fmla="*/ 12654 h 93972"/>
                <a:gd name="connsiteX370" fmla="*/ 944328 w 1193687"/>
                <a:gd name="connsiteY370" fmla="*/ 12654 h 93972"/>
                <a:gd name="connsiteX371" fmla="*/ 942990 w 1193687"/>
                <a:gd name="connsiteY371" fmla="*/ 11635 h 93972"/>
                <a:gd name="connsiteX372" fmla="*/ 942990 w 1193687"/>
                <a:gd name="connsiteY372" fmla="*/ 11316 h 93972"/>
                <a:gd name="connsiteX373" fmla="*/ 942990 w 1193687"/>
                <a:gd name="connsiteY373" fmla="*/ 2904 h 93972"/>
                <a:gd name="connsiteX374" fmla="*/ 944010 w 1193687"/>
                <a:gd name="connsiteY374" fmla="*/ 1567 h 93972"/>
                <a:gd name="connsiteX375" fmla="*/ 944328 w 1193687"/>
                <a:gd name="connsiteY375" fmla="*/ 1567 h 93972"/>
                <a:gd name="connsiteX376" fmla="*/ 1007597 w 1193687"/>
                <a:gd name="connsiteY376" fmla="*/ 1567 h 93972"/>
                <a:gd name="connsiteX377" fmla="*/ 1008935 w 1193687"/>
                <a:gd name="connsiteY377" fmla="*/ 2586 h 93972"/>
                <a:gd name="connsiteX378" fmla="*/ 1008935 w 1193687"/>
                <a:gd name="connsiteY378" fmla="*/ 2904 h 93972"/>
                <a:gd name="connsiteX379" fmla="*/ 1008935 w 1193687"/>
                <a:gd name="connsiteY379" fmla="*/ 11331 h 93972"/>
                <a:gd name="connsiteX380" fmla="*/ 1007915 w 1193687"/>
                <a:gd name="connsiteY380" fmla="*/ 12669 h 93972"/>
                <a:gd name="connsiteX381" fmla="*/ 1007597 w 1193687"/>
                <a:gd name="connsiteY381" fmla="*/ 12669 h 93972"/>
                <a:gd name="connsiteX382" fmla="*/ 982717 w 1193687"/>
                <a:gd name="connsiteY382" fmla="*/ 12669 h 93972"/>
                <a:gd name="connsiteX383" fmla="*/ 981915 w 1193687"/>
                <a:gd name="connsiteY383" fmla="*/ 13273 h 93972"/>
                <a:gd name="connsiteX384" fmla="*/ 981915 w 1193687"/>
                <a:gd name="connsiteY384" fmla="*/ 13471 h 93972"/>
                <a:gd name="connsiteX385" fmla="*/ 981915 w 1193687"/>
                <a:gd name="connsiteY385" fmla="*/ 91187 h 93972"/>
                <a:gd name="connsiteX386" fmla="*/ 980895 w 1193687"/>
                <a:gd name="connsiteY386" fmla="*/ 92524 h 93972"/>
                <a:gd name="connsiteX387" fmla="*/ 980577 w 1193687"/>
                <a:gd name="connsiteY387" fmla="*/ 92524 h 93972"/>
                <a:gd name="connsiteX388" fmla="*/ 1023113 w 1193687"/>
                <a:gd name="connsiteY388" fmla="*/ 2904 h 93972"/>
                <a:gd name="connsiteX389" fmla="*/ 1024133 w 1193687"/>
                <a:gd name="connsiteY389" fmla="*/ 1567 h 93972"/>
                <a:gd name="connsiteX390" fmla="*/ 1024451 w 1193687"/>
                <a:gd name="connsiteY390" fmla="*/ 1567 h 93972"/>
                <a:gd name="connsiteX391" fmla="*/ 1033666 w 1193687"/>
                <a:gd name="connsiteY391" fmla="*/ 1567 h 93972"/>
                <a:gd name="connsiteX392" fmla="*/ 1035003 w 1193687"/>
                <a:gd name="connsiteY392" fmla="*/ 2586 h 93972"/>
                <a:gd name="connsiteX393" fmla="*/ 1035003 w 1193687"/>
                <a:gd name="connsiteY393" fmla="*/ 2904 h 93972"/>
                <a:gd name="connsiteX394" fmla="*/ 1035003 w 1193687"/>
                <a:gd name="connsiteY394" fmla="*/ 91187 h 93972"/>
                <a:gd name="connsiteX395" fmla="*/ 1033984 w 1193687"/>
                <a:gd name="connsiteY395" fmla="*/ 92524 h 93972"/>
                <a:gd name="connsiteX396" fmla="*/ 1033666 w 1193687"/>
                <a:gd name="connsiteY396" fmla="*/ 92524 h 93972"/>
                <a:gd name="connsiteX397" fmla="*/ 1024451 w 1193687"/>
                <a:gd name="connsiteY397" fmla="*/ 92524 h 93972"/>
                <a:gd name="connsiteX398" fmla="*/ 1023113 w 1193687"/>
                <a:gd name="connsiteY398" fmla="*/ 91505 h 93972"/>
                <a:gd name="connsiteX399" fmla="*/ 1023113 w 1193687"/>
                <a:gd name="connsiteY399" fmla="*/ 91187 h 93972"/>
                <a:gd name="connsiteX400" fmla="*/ 1056702 w 1193687"/>
                <a:gd name="connsiteY400" fmla="*/ 72594 h 93972"/>
                <a:gd name="connsiteX401" fmla="*/ 1055564 w 1193687"/>
                <a:gd name="connsiteY401" fmla="*/ 68516 h 93972"/>
                <a:gd name="connsiteX402" fmla="*/ 1054830 w 1193687"/>
                <a:gd name="connsiteY402" fmla="*/ 63567 h 93972"/>
                <a:gd name="connsiteX403" fmla="*/ 1054428 w 1193687"/>
                <a:gd name="connsiteY403" fmla="*/ 56676 h 93972"/>
                <a:gd name="connsiteX404" fmla="*/ 1054295 w 1193687"/>
                <a:gd name="connsiteY404" fmla="*/ 47046 h 93972"/>
                <a:gd name="connsiteX405" fmla="*/ 1054428 w 1193687"/>
                <a:gd name="connsiteY405" fmla="*/ 37415 h 93972"/>
                <a:gd name="connsiteX406" fmla="*/ 1054830 w 1193687"/>
                <a:gd name="connsiteY406" fmla="*/ 30527 h 93972"/>
                <a:gd name="connsiteX407" fmla="*/ 1055564 w 1193687"/>
                <a:gd name="connsiteY407" fmla="*/ 25578 h 93972"/>
                <a:gd name="connsiteX408" fmla="*/ 1056702 w 1193687"/>
                <a:gd name="connsiteY408" fmla="*/ 21500 h 93972"/>
                <a:gd name="connsiteX409" fmla="*/ 1067938 w 1193687"/>
                <a:gd name="connsiteY409" fmla="*/ 5383 h 93972"/>
                <a:gd name="connsiteX410" fmla="*/ 1086932 w 1193687"/>
                <a:gd name="connsiteY410" fmla="*/ 98 h 93972"/>
                <a:gd name="connsiteX411" fmla="*/ 1104654 w 1193687"/>
                <a:gd name="connsiteY411" fmla="*/ 4854 h 93972"/>
                <a:gd name="connsiteX412" fmla="*/ 1116092 w 1193687"/>
                <a:gd name="connsiteY412" fmla="*/ 18429 h 93972"/>
                <a:gd name="connsiteX413" fmla="*/ 1115557 w 1193687"/>
                <a:gd name="connsiteY413" fmla="*/ 20168 h 93972"/>
                <a:gd name="connsiteX414" fmla="*/ 1107532 w 1193687"/>
                <a:gd name="connsiteY414" fmla="*/ 24047 h 93972"/>
                <a:gd name="connsiteX415" fmla="*/ 1105867 w 1193687"/>
                <a:gd name="connsiteY415" fmla="*/ 23816 h 93972"/>
                <a:gd name="connsiteX416" fmla="*/ 1105659 w 1193687"/>
                <a:gd name="connsiteY416" fmla="*/ 23379 h 93972"/>
                <a:gd name="connsiteX417" fmla="*/ 1098570 w 1193687"/>
                <a:gd name="connsiteY417" fmla="*/ 14619 h 93972"/>
                <a:gd name="connsiteX418" fmla="*/ 1086932 w 1193687"/>
                <a:gd name="connsiteY418" fmla="*/ 11209 h 93972"/>
                <a:gd name="connsiteX419" fmla="*/ 1074894 w 1193687"/>
                <a:gd name="connsiteY419" fmla="*/ 14687 h 93972"/>
                <a:gd name="connsiteX420" fmla="*/ 1068057 w 1193687"/>
                <a:gd name="connsiteY420" fmla="*/ 24585 h 93972"/>
                <a:gd name="connsiteX421" fmla="*/ 1067323 w 1193687"/>
                <a:gd name="connsiteY421" fmla="*/ 27730 h 93972"/>
                <a:gd name="connsiteX422" fmla="*/ 1066788 w 1193687"/>
                <a:gd name="connsiteY422" fmla="*/ 31892 h 93972"/>
                <a:gd name="connsiteX423" fmla="*/ 1066455 w 1193687"/>
                <a:gd name="connsiteY423" fmla="*/ 38045 h 93972"/>
                <a:gd name="connsiteX424" fmla="*/ 1066321 w 1193687"/>
                <a:gd name="connsiteY424" fmla="*/ 47075 h 93972"/>
                <a:gd name="connsiteX425" fmla="*/ 1066455 w 1193687"/>
                <a:gd name="connsiteY425" fmla="*/ 56103 h 93972"/>
                <a:gd name="connsiteX426" fmla="*/ 1066788 w 1193687"/>
                <a:gd name="connsiteY426" fmla="*/ 62256 h 93972"/>
                <a:gd name="connsiteX427" fmla="*/ 1067323 w 1193687"/>
                <a:gd name="connsiteY427" fmla="*/ 66471 h 93972"/>
                <a:gd name="connsiteX428" fmla="*/ 1068057 w 1193687"/>
                <a:gd name="connsiteY428" fmla="*/ 69547 h 93972"/>
                <a:gd name="connsiteX429" fmla="*/ 1074894 w 1193687"/>
                <a:gd name="connsiteY429" fmla="*/ 79446 h 93972"/>
                <a:gd name="connsiteX430" fmla="*/ 1086932 w 1193687"/>
                <a:gd name="connsiteY430" fmla="*/ 82923 h 93972"/>
                <a:gd name="connsiteX431" fmla="*/ 1098570 w 1193687"/>
                <a:gd name="connsiteY431" fmla="*/ 79511 h 93972"/>
                <a:gd name="connsiteX432" fmla="*/ 1105659 w 1193687"/>
                <a:gd name="connsiteY432" fmla="*/ 70751 h 93972"/>
                <a:gd name="connsiteX433" fmla="*/ 1107095 w 1193687"/>
                <a:gd name="connsiteY433" fmla="*/ 69875 h 93972"/>
                <a:gd name="connsiteX434" fmla="*/ 1107532 w 1193687"/>
                <a:gd name="connsiteY434" fmla="*/ 70082 h 93972"/>
                <a:gd name="connsiteX435" fmla="*/ 1115557 w 1193687"/>
                <a:gd name="connsiteY435" fmla="*/ 73946 h 93972"/>
                <a:gd name="connsiteX436" fmla="*/ 1116092 w 1193687"/>
                <a:gd name="connsiteY436" fmla="*/ 75685 h 93972"/>
                <a:gd name="connsiteX437" fmla="*/ 1104654 w 1193687"/>
                <a:gd name="connsiteY437" fmla="*/ 89261 h 93972"/>
                <a:gd name="connsiteX438" fmla="*/ 1086932 w 1193687"/>
                <a:gd name="connsiteY438" fmla="*/ 94017 h 93972"/>
                <a:gd name="connsiteX439" fmla="*/ 1067938 w 1193687"/>
                <a:gd name="connsiteY439" fmla="*/ 88732 h 93972"/>
                <a:gd name="connsiteX440" fmla="*/ 1056687 w 1193687"/>
                <a:gd name="connsiteY440" fmla="*/ 72609 h 93972"/>
                <a:gd name="connsiteX441" fmla="*/ 1160769 w 1193687"/>
                <a:gd name="connsiteY441" fmla="*/ 93996 h 93972"/>
                <a:gd name="connsiteX442" fmla="*/ 1151272 w 1193687"/>
                <a:gd name="connsiteY442" fmla="*/ 93059 h 93972"/>
                <a:gd name="connsiteX443" fmla="*/ 1142443 w 1193687"/>
                <a:gd name="connsiteY443" fmla="*/ 90583 h 93972"/>
                <a:gd name="connsiteX444" fmla="*/ 1134819 w 1193687"/>
                <a:gd name="connsiteY444" fmla="*/ 86972 h 93972"/>
                <a:gd name="connsiteX445" fmla="*/ 1128785 w 1193687"/>
                <a:gd name="connsiteY445" fmla="*/ 82626 h 93972"/>
                <a:gd name="connsiteX446" fmla="*/ 1128589 w 1193687"/>
                <a:gd name="connsiteY446" fmla="*/ 80689 h 93972"/>
                <a:gd name="connsiteX447" fmla="*/ 1128651 w 1193687"/>
                <a:gd name="connsiteY447" fmla="*/ 80620 h 93972"/>
                <a:gd name="connsiteX448" fmla="*/ 1134537 w 1193687"/>
                <a:gd name="connsiteY448" fmla="*/ 73664 h 93972"/>
                <a:gd name="connsiteX449" fmla="*/ 1136246 w 1193687"/>
                <a:gd name="connsiteY449" fmla="*/ 73389 h 93972"/>
                <a:gd name="connsiteX450" fmla="*/ 1136409 w 1193687"/>
                <a:gd name="connsiteY450" fmla="*/ 73530 h 93972"/>
                <a:gd name="connsiteX451" fmla="*/ 1147378 w 1193687"/>
                <a:gd name="connsiteY451" fmla="*/ 79951 h 93972"/>
                <a:gd name="connsiteX452" fmla="*/ 1161824 w 1193687"/>
                <a:gd name="connsiteY452" fmla="*/ 82894 h 93972"/>
                <a:gd name="connsiteX453" fmla="*/ 1176606 w 1193687"/>
                <a:gd name="connsiteY453" fmla="*/ 78613 h 93972"/>
                <a:gd name="connsiteX454" fmla="*/ 1181888 w 1193687"/>
                <a:gd name="connsiteY454" fmla="*/ 67377 h 93972"/>
                <a:gd name="connsiteX455" fmla="*/ 1180952 w 1193687"/>
                <a:gd name="connsiteY455" fmla="*/ 62027 h 93972"/>
                <a:gd name="connsiteX456" fmla="*/ 1177810 w 1193687"/>
                <a:gd name="connsiteY456" fmla="*/ 57746 h 93972"/>
                <a:gd name="connsiteX457" fmla="*/ 1171990 w 1193687"/>
                <a:gd name="connsiteY457" fmla="*/ 54536 h 93972"/>
                <a:gd name="connsiteX458" fmla="*/ 1162894 w 1193687"/>
                <a:gd name="connsiteY458" fmla="*/ 52530 h 93972"/>
                <a:gd name="connsiteX459" fmla="*/ 1158346 w 1193687"/>
                <a:gd name="connsiteY459" fmla="*/ 51861 h 93972"/>
                <a:gd name="connsiteX460" fmla="*/ 1131594 w 1193687"/>
                <a:gd name="connsiteY460" fmla="*/ 26714 h 93972"/>
                <a:gd name="connsiteX461" fmla="*/ 1133675 w 1193687"/>
                <a:gd name="connsiteY461" fmla="*/ 15745 h 93972"/>
                <a:gd name="connsiteX462" fmla="*/ 1139620 w 1193687"/>
                <a:gd name="connsiteY462" fmla="*/ 7318 h 93972"/>
                <a:gd name="connsiteX463" fmla="*/ 1148983 w 1193687"/>
                <a:gd name="connsiteY463" fmla="*/ 1968 h 93972"/>
                <a:gd name="connsiteX464" fmla="*/ 1161289 w 1193687"/>
                <a:gd name="connsiteY464" fmla="*/ 95 h 93972"/>
                <a:gd name="connsiteX465" fmla="*/ 1176603 w 1193687"/>
                <a:gd name="connsiteY465" fmla="*/ 2435 h 93972"/>
                <a:gd name="connsiteX466" fmla="*/ 1188978 w 1193687"/>
                <a:gd name="connsiteY466" fmla="*/ 8522 h 93972"/>
                <a:gd name="connsiteX467" fmla="*/ 1189435 w 1193687"/>
                <a:gd name="connsiteY467" fmla="*/ 10140 h 93972"/>
                <a:gd name="connsiteX468" fmla="*/ 1189245 w 1193687"/>
                <a:gd name="connsiteY468" fmla="*/ 10395 h 93972"/>
                <a:gd name="connsiteX469" fmla="*/ 1184697 w 1193687"/>
                <a:gd name="connsiteY469" fmla="*/ 17752 h 93972"/>
                <a:gd name="connsiteX470" fmla="*/ 1182881 w 1193687"/>
                <a:gd name="connsiteY470" fmla="*/ 18063 h 93972"/>
                <a:gd name="connsiteX471" fmla="*/ 1182825 w 1193687"/>
                <a:gd name="connsiteY471" fmla="*/ 18019 h 93972"/>
                <a:gd name="connsiteX472" fmla="*/ 1171990 w 1193687"/>
                <a:gd name="connsiteY472" fmla="*/ 12862 h 93972"/>
                <a:gd name="connsiteX473" fmla="*/ 1160888 w 1193687"/>
                <a:gd name="connsiteY473" fmla="*/ 11197 h 93972"/>
                <a:gd name="connsiteX474" fmla="*/ 1148047 w 1193687"/>
                <a:gd name="connsiteY474" fmla="*/ 15276 h 93972"/>
                <a:gd name="connsiteX475" fmla="*/ 1143647 w 1193687"/>
                <a:gd name="connsiteY475" fmla="*/ 25911 h 93972"/>
                <a:gd name="connsiteX476" fmla="*/ 1147928 w 1193687"/>
                <a:gd name="connsiteY476" fmla="*/ 35340 h 93972"/>
                <a:gd name="connsiteX477" fmla="*/ 1162760 w 1193687"/>
                <a:gd name="connsiteY477" fmla="*/ 40506 h 93972"/>
                <a:gd name="connsiteX478" fmla="*/ 1167174 w 1193687"/>
                <a:gd name="connsiteY478" fmla="*/ 41175 h 93972"/>
                <a:gd name="connsiteX479" fmla="*/ 1187239 w 1193687"/>
                <a:gd name="connsiteY479" fmla="*/ 49201 h 93972"/>
                <a:gd name="connsiteX480" fmla="*/ 1193927 w 1193687"/>
                <a:gd name="connsiteY480" fmla="*/ 66590 h 93972"/>
                <a:gd name="connsiteX481" fmla="*/ 1191846 w 1193687"/>
                <a:gd name="connsiteY481" fmla="*/ 77623 h 93972"/>
                <a:gd name="connsiteX482" fmla="*/ 1185559 w 1193687"/>
                <a:gd name="connsiteY482" fmla="*/ 86244 h 93972"/>
                <a:gd name="connsiteX483" fmla="*/ 1175126 w 1193687"/>
                <a:gd name="connsiteY483" fmla="*/ 91930 h 93972"/>
                <a:gd name="connsiteX484" fmla="*/ 1160754 w 1193687"/>
                <a:gd name="connsiteY484" fmla="*/ 93996 h 93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Lst>
              <a:rect l="l" t="t" r="r" b="b"/>
              <a:pathLst>
                <a:path w="1193687" h="93972">
                  <a:moveTo>
                    <a:pt x="31941" y="2904"/>
                  </a:moveTo>
                  <a:cubicBezTo>
                    <a:pt x="32072" y="2123"/>
                    <a:pt x="32754" y="1556"/>
                    <a:pt x="33546" y="1567"/>
                  </a:cubicBezTo>
                  <a:lnTo>
                    <a:pt x="42240" y="1567"/>
                  </a:lnTo>
                  <a:cubicBezTo>
                    <a:pt x="43071" y="1520"/>
                    <a:pt x="43811" y="2089"/>
                    <a:pt x="43979" y="2904"/>
                  </a:cubicBezTo>
                  <a:lnTo>
                    <a:pt x="75145" y="91187"/>
                  </a:lnTo>
                  <a:cubicBezTo>
                    <a:pt x="75413" y="92079"/>
                    <a:pt x="75101" y="92524"/>
                    <a:pt x="74209" y="92524"/>
                  </a:cubicBezTo>
                  <a:lnTo>
                    <a:pt x="64846" y="92524"/>
                  </a:lnTo>
                  <a:cubicBezTo>
                    <a:pt x="64015" y="92571"/>
                    <a:pt x="63275" y="92002"/>
                    <a:pt x="63107" y="91187"/>
                  </a:cubicBezTo>
                  <a:lnTo>
                    <a:pt x="56151" y="71390"/>
                  </a:lnTo>
                  <a:lnTo>
                    <a:pt x="19367" y="71390"/>
                  </a:lnTo>
                  <a:lnTo>
                    <a:pt x="12411" y="91187"/>
                  </a:lnTo>
                  <a:cubicBezTo>
                    <a:pt x="12197" y="91972"/>
                    <a:pt x="11486" y="92518"/>
                    <a:pt x="10672" y="92524"/>
                  </a:cubicBezTo>
                  <a:lnTo>
                    <a:pt x="1309" y="92524"/>
                  </a:lnTo>
                  <a:cubicBezTo>
                    <a:pt x="417" y="92524"/>
                    <a:pt x="105" y="92079"/>
                    <a:pt x="373" y="91187"/>
                  </a:cubicBezTo>
                  <a:close/>
                  <a:moveTo>
                    <a:pt x="52272" y="60422"/>
                  </a:moveTo>
                  <a:lnTo>
                    <a:pt x="37960" y="19089"/>
                  </a:lnTo>
                  <a:lnTo>
                    <a:pt x="37692" y="19089"/>
                  </a:lnTo>
                  <a:lnTo>
                    <a:pt x="23246" y="60422"/>
                  </a:lnTo>
                  <a:close/>
                  <a:moveTo>
                    <a:pt x="105911" y="92524"/>
                  </a:moveTo>
                  <a:cubicBezTo>
                    <a:pt x="105119" y="92535"/>
                    <a:pt x="104437" y="91968"/>
                    <a:pt x="104305" y="91187"/>
                  </a:cubicBezTo>
                  <a:lnTo>
                    <a:pt x="74878" y="3172"/>
                  </a:lnTo>
                  <a:cubicBezTo>
                    <a:pt x="74695" y="2791"/>
                    <a:pt x="74695" y="2348"/>
                    <a:pt x="74878" y="1968"/>
                  </a:cubicBezTo>
                  <a:cubicBezTo>
                    <a:pt x="75099" y="1680"/>
                    <a:pt x="75453" y="1528"/>
                    <a:pt x="75814" y="1567"/>
                  </a:cubicBezTo>
                  <a:lnTo>
                    <a:pt x="84910" y="1567"/>
                  </a:lnTo>
                  <a:cubicBezTo>
                    <a:pt x="85780" y="1487"/>
                    <a:pt x="86576" y="2056"/>
                    <a:pt x="86783" y="2904"/>
                  </a:cubicBezTo>
                  <a:lnTo>
                    <a:pt x="110057" y="73129"/>
                  </a:lnTo>
                  <a:lnTo>
                    <a:pt x="110325" y="73129"/>
                  </a:lnTo>
                  <a:lnTo>
                    <a:pt x="132797" y="2904"/>
                  </a:lnTo>
                  <a:cubicBezTo>
                    <a:pt x="132965" y="2089"/>
                    <a:pt x="133704" y="1520"/>
                    <a:pt x="134536" y="1567"/>
                  </a:cubicBezTo>
                  <a:lnTo>
                    <a:pt x="143750" y="1567"/>
                  </a:lnTo>
                  <a:cubicBezTo>
                    <a:pt x="144741" y="1567"/>
                    <a:pt x="145053" y="2102"/>
                    <a:pt x="144687" y="3172"/>
                  </a:cubicBezTo>
                  <a:lnTo>
                    <a:pt x="115408" y="91187"/>
                  </a:lnTo>
                  <a:cubicBezTo>
                    <a:pt x="115276" y="91968"/>
                    <a:pt x="114594" y="92535"/>
                    <a:pt x="113803" y="92524"/>
                  </a:cubicBezTo>
                  <a:close/>
                  <a:moveTo>
                    <a:pt x="158613" y="2904"/>
                  </a:moveTo>
                  <a:cubicBezTo>
                    <a:pt x="158525" y="2253"/>
                    <a:pt x="158981" y="1655"/>
                    <a:pt x="159632" y="1567"/>
                  </a:cubicBezTo>
                  <a:cubicBezTo>
                    <a:pt x="159737" y="1552"/>
                    <a:pt x="159844" y="1552"/>
                    <a:pt x="159950" y="1567"/>
                  </a:cubicBezTo>
                  <a:lnTo>
                    <a:pt x="169165" y="1567"/>
                  </a:lnTo>
                  <a:cubicBezTo>
                    <a:pt x="169816" y="1479"/>
                    <a:pt x="170415" y="1935"/>
                    <a:pt x="170503" y="2586"/>
                  </a:cubicBezTo>
                  <a:cubicBezTo>
                    <a:pt x="170517" y="2691"/>
                    <a:pt x="170517" y="2798"/>
                    <a:pt x="170503" y="2904"/>
                  </a:cubicBezTo>
                  <a:lnTo>
                    <a:pt x="170503" y="91187"/>
                  </a:lnTo>
                  <a:cubicBezTo>
                    <a:pt x="170591" y="91837"/>
                    <a:pt x="170134" y="92436"/>
                    <a:pt x="169484" y="92524"/>
                  </a:cubicBezTo>
                  <a:cubicBezTo>
                    <a:pt x="169378" y="92539"/>
                    <a:pt x="169271" y="92539"/>
                    <a:pt x="169165" y="92524"/>
                  </a:cubicBezTo>
                  <a:lnTo>
                    <a:pt x="159950" y="92524"/>
                  </a:lnTo>
                  <a:cubicBezTo>
                    <a:pt x="159300" y="92612"/>
                    <a:pt x="158701" y="92156"/>
                    <a:pt x="158613" y="91505"/>
                  </a:cubicBezTo>
                  <a:cubicBezTo>
                    <a:pt x="158598" y="91400"/>
                    <a:pt x="158598" y="91293"/>
                    <a:pt x="158613" y="91187"/>
                  </a:cubicBezTo>
                  <a:close/>
                  <a:moveTo>
                    <a:pt x="216531" y="2904"/>
                  </a:moveTo>
                  <a:cubicBezTo>
                    <a:pt x="216663" y="2123"/>
                    <a:pt x="217345" y="1556"/>
                    <a:pt x="218137" y="1567"/>
                  </a:cubicBezTo>
                  <a:lnTo>
                    <a:pt x="226831" y="1567"/>
                  </a:lnTo>
                  <a:cubicBezTo>
                    <a:pt x="227662" y="1520"/>
                    <a:pt x="228402" y="2089"/>
                    <a:pt x="228570" y="2904"/>
                  </a:cubicBezTo>
                  <a:lnTo>
                    <a:pt x="259736" y="91187"/>
                  </a:lnTo>
                  <a:cubicBezTo>
                    <a:pt x="260004" y="92079"/>
                    <a:pt x="259692" y="92524"/>
                    <a:pt x="258800" y="92524"/>
                  </a:cubicBezTo>
                  <a:lnTo>
                    <a:pt x="249437" y="92524"/>
                  </a:lnTo>
                  <a:cubicBezTo>
                    <a:pt x="248606" y="92571"/>
                    <a:pt x="247866" y="92002"/>
                    <a:pt x="247698" y="91187"/>
                  </a:cubicBezTo>
                  <a:lnTo>
                    <a:pt x="240742" y="71390"/>
                  </a:lnTo>
                  <a:lnTo>
                    <a:pt x="203958" y="71390"/>
                  </a:lnTo>
                  <a:lnTo>
                    <a:pt x="197002" y="91187"/>
                  </a:lnTo>
                  <a:cubicBezTo>
                    <a:pt x="196788" y="91972"/>
                    <a:pt x="196077" y="92518"/>
                    <a:pt x="195263" y="92524"/>
                  </a:cubicBezTo>
                  <a:lnTo>
                    <a:pt x="185900" y="92524"/>
                  </a:lnTo>
                  <a:cubicBezTo>
                    <a:pt x="185008" y="92524"/>
                    <a:pt x="184696" y="92079"/>
                    <a:pt x="184964" y="91187"/>
                  </a:cubicBezTo>
                  <a:close/>
                  <a:moveTo>
                    <a:pt x="236863" y="60422"/>
                  </a:moveTo>
                  <a:lnTo>
                    <a:pt x="222551" y="19089"/>
                  </a:lnTo>
                  <a:lnTo>
                    <a:pt x="222283" y="19089"/>
                  </a:lnTo>
                  <a:lnTo>
                    <a:pt x="207837" y="60422"/>
                  </a:lnTo>
                  <a:close/>
                  <a:moveTo>
                    <a:pt x="284616" y="92524"/>
                  </a:moveTo>
                  <a:cubicBezTo>
                    <a:pt x="283965" y="92612"/>
                    <a:pt x="283366" y="92156"/>
                    <a:pt x="283278" y="91505"/>
                  </a:cubicBezTo>
                  <a:cubicBezTo>
                    <a:pt x="283264" y="91400"/>
                    <a:pt x="283264" y="91293"/>
                    <a:pt x="283278" y="91187"/>
                  </a:cubicBezTo>
                  <a:lnTo>
                    <a:pt x="283278" y="13457"/>
                  </a:lnTo>
                  <a:cubicBezTo>
                    <a:pt x="283333" y="13068"/>
                    <a:pt x="283063" y="12709"/>
                    <a:pt x="282674" y="12654"/>
                  </a:cubicBezTo>
                  <a:cubicBezTo>
                    <a:pt x="282608" y="12645"/>
                    <a:pt x="282542" y="12645"/>
                    <a:pt x="282476" y="12654"/>
                  </a:cubicBezTo>
                  <a:lnTo>
                    <a:pt x="257596" y="12654"/>
                  </a:lnTo>
                  <a:cubicBezTo>
                    <a:pt x="256946" y="12742"/>
                    <a:pt x="256347" y="12286"/>
                    <a:pt x="256259" y="11635"/>
                  </a:cubicBezTo>
                  <a:cubicBezTo>
                    <a:pt x="256244" y="11529"/>
                    <a:pt x="256244" y="11422"/>
                    <a:pt x="256259" y="11316"/>
                  </a:cubicBezTo>
                  <a:lnTo>
                    <a:pt x="256259" y="2904"/>
                  </a:lnTo>
                  <a:cubicBezTo>
                    <a:pt x="256171" y="2253"/>
                    <a:pt x="256627" y="1655"/>
                    <a:pt x="257278" y="1567"/>
                  </a:cubicBezTo>
                  <a:cubicBezTo>
                    <a:pt x="257383" y="1552"/>
                    <a:pt x="257490" y="1552"/>
                    <a:pt x="257596" y="1567"/>
                  </a:cubicBezTo>
                  <a:lnTo>
                    <a:pt x="320865" y="1567"/>
                  </a:lnTo>
                  <a:cubicBezTo>
                    <a:pt x="321516" y="1479"/>
                    <a:pt x="322114" y="1935"/>
                    <a:pt x="322203" y="2586"/>
                  </a:cubicBezTo>
                  <a:cubicBezTo>
                    <a:pt x="322218" y="2691"/>
                    <a:pt x="322218" y="2798"/>
                    <a:pt x="322203" y="2904"/>
                  </a:cubicBezTo>
                  <a:lnTo>
                    <a:pt x="322203" y="11331"/>
                  </a:lnTo>
                  <a:cubicBezTo>
                    <a:pt x="322292" y="11982"/>
                    <a:pt x="321834" y="12581"/>
                    <a:pt x="321183" y="12669"/>
                  </a:cubicBezTo>
                  <a:cubicBezTo>
                    <a:pt x="321079" y="12683"/>
                    <a:pt x="320972" y="12683"/>
                    <a:pt x="320865" y="12669"/>
                  </a:cubicBezTo>
                  <a:lnTo>
                    <a:pt x="295986" y="12669"/>
                  </a:lnTo>
                  <a:cubicBezTo>
                    <a:pt x="295596" y="12614"/>
                    <a:pt x="295237" y="12885"/>
                    <a:pt x="295183" y="13273"/>
                  </a:cubicBezTo>
                  <a:cubicBezTo>
                    <a:pt x="295174" y="13339"/>
                    <a:pt x="295174" y="13406"/>
                    <a:pt x="295183" y="13471"/>
                  </a:cubicBezTo>
                  <a:lnTo>
                    <a:pt x="295183" y="91187"/>
                  </a:lnTo>
                  <a:cubicBezTo>
                    <a:pt x="295272" y="91837"/>
                    <a:pt x="294815" y="92436"/>
                    <a:pt x="294164" y="92524"/>
                  </a:cubicBezTo>
                  <a:cubicBezTo>
                    <a:pt x="294058" y="92539"/>
                    <a:pt x="293951" y="92539"/>
                    <a:pt x="293846" y="92524"/>
                  </a:cubicBezTo>
                  <a:close/>
                  <a:moveTo>
                    <a:pt x="336382" y="2904"/>
                  </a:moveTo>
                  <a:cubicBezTo>
                    <a:pt x="336293" y="2253"/>
                    <a:pt x="336750" y="1655"/>
                    <a:pt x="337401" y="1567"/>
                  </a:cubicBezTo>
                  <a:cubicBezTo>
                    <a:pt x="337505" y="1552"/>
                    <a:pt x="337612" y="1552"/>
                    <a:pt x="337719" y="1567"/>
                  </a:cubicBezTo>
                  <a:lnTo>
                    <a:pt x="346934" y="1567"/>
                  </a:lnTo>
                  <a:cubicBezTo>
                    <a:pt x="347585" y="1479"/>
                    <a:pt x="348182" y="1935"/>
                    <a:pt x="348272" y="2586"/>
                  </a:cubicBezTo>
                  <a:cubicBezTo>
                    <a:pt x="348286" y="2691"/>
                    <a:pt x="348286" y="2798"/>
                    <a:pt x="348272" y="2904"/>
                  </a:cubicBezTo>
                  <a:lnTo>
                    <a:pt x="348272" y="91187"/>
                  </a:lnTo>
                  <a:cubicBezTo>
                    <a:pt x="348361" y="91837"/>
                    <a:pt x="347903" y="92436"/>
                    <a:pt x="347252" y="92524"/>
                  </a:cubicBezTo>
                  <a:cubicBezTo>
                    <a:pt x="347148" y="92539"/>
                    <a:pt x="347041" y="92539"/>
                    <a:pt x="346934" y="92524"/>
                  </a:cubicBezTo>
                  <a:lnTo>
                    <a:pt x="337719" y="92524"/>
                  </a:lnTo>
                  <a:cubicBezTo>
                    <a:pt x="337068" y="92612"/>
                    <a:pt x="336471" y="92156"/>
                    <a:pt x="336382" y="91505"/>
                  </a:cubicBezTo>
                  <a:cubicBezTo>
                    <a:pt x="336367" y="91400"/>
                    <a:pt x="336367" y="91293"/>
                    <a:pt x="336382" y="91187"/>
                  </a:cubicBezTo>
                  <a:close/>
                  <a:moveTo>
                    <a:pt x="400855" y="93996"/>
                  </a:moveTo>
                  <a:cubicBezTo>
                    <a:pt x="393976" y="94218"/>
                    <a:pt x="387190" y="92353"/>
                    <a:pt x="381391" y="88645"/>
                  </a:cubicBezTo>
                  <a:cubicBezTo>
                    <a:pt x="375877" y="84796"/>
                    <a:pt x="371843" y="79181"/>
                    <a:pt x="369956" y="72728"/>
                  </a:cubicBezTo>
                  <a:cubicBezTo>
                    <a:pt x="369504" y="71362"/>
                    <a:pt x="369124" y="69973"/>
                    <a:pt x="368820" y="68566"/>
                  </a:cubicBezTo>
                  <a:cubicBezTo>
                    <a:pt x="368473" y="66911"/>
                    <a:pt x="368229" y="65236"/>
                    <a:pt x="368083" y="63552"/>
                  </a:cubicBezTo>
                  <a:cubicBezTo>
                    <a:pt x="367905" y="61635"/>
                    <a:pt x="367771" y="59339"/>
                    <a:pt x="367682" y="56661"/>
                  </a:cubicBezTo>
                  <a:cubicBezTo>
                    <a:pt x="367593" y="53984"/>
                    <a:pt x="367542" y="50779"/>
                    <a:pt x="367533" y="47046"/>
                  </a:cubicBezTo>
                  <a:cubicBezTo>
                    <a:pt x="367533" y="43300"/>
                    <a:pt x="367578" y="40090"/>
                    <a:pt x="367667" y="37415"/>
                  </a:cubicBezTo>
                  <a:cubicBezTo>
                    <a:pt x="367756" y="34739"/>
                    <a:pt x="367890" y="32444"/>
                    <a:pt x="368068" y="30527"/>
                  </a:cubicBezTo>
                  <a:cubicBezTo>
                    <a:pt x="368214" y="28843"/>
                    <a:pt x="368458" y="27168"/>
                    <a:pt x="368805" y="25513"/>
                  </a:cubicBezTo>
                  <a:cubicBezTo>
                    <a:pt x="369109" y="24107"/>
                    <a:pt x="369489" y="22717"/>
                    <a:pt x="369941" y="21351"/>
                  </a:cubicBezTo>
                  <a:cubicBezTo>
                    <a:pt x="371831" y="14895"/>
                    <a:pt x="375871" y="9279"/>
                    <a:pt x="381391" y="5431"/>
                  </a:cubicBezTo>
                  <a:cubicBezTo>
                    <a:pt x="393432" y="-1703"/>
                    <a:pt x="408408" y="-1703"/>
                    <a:pt x="420449" y="5431"/>
                  </a:cubicBezTo>
                  <a:cubicBezTo>
                    <a:pt x="425963" y="9280"/>
                    <a:pt x="429997" y="14895"/>
                    <a:pt x="431887" y="21348"/>
                  </a:cubicBezTo>
                  <a:cubicBezTo>
                    <a:pt x="432339" y="22714"/>
                    <a:pt x="432720" y="24104"/>
                    <a:pt x="433023" y="25510"/>
                  </a:cubicBezTo>
                  <a:cubicBezTo>
                    <a:pt x="433371" y="27166"/>
                    <a:pt x="433614" y="28841"/>
                    <a:pt x="433760" y="30527"/>
                  </a:cubicBezTo>
                  <a:cubicBezTo>
                    <a:pt x="433938" y="32446"/>
                    <a:pt x="434072" y="34742"/>
                    <a:pt x="434161" y="37415"/>
                  </a:cubicBezTo>
                  <a:cubicBezTo>
                    <a:pt x="434251" y="40088"/>
                    <a:pt x="434295" y="43298"/>
                    <a:pt x="434295" y="47046"/>
                  </a:cubicBezTo>
                  <a:cubicBezTo>
                    <a:pt x="434295" y="50791"/>
                    <a:pt x="434251" y="54001"/>
                    <a:pt x="434161" y="56676"/>
                  </a:cubicBezTo>
                  <a:cubicBezTo>
                    <a:pt x="434072" y="59352"/>
                    <a:pt x="433938" y="61648"/>
                    <a:pt x="433760" y="63567"/>
                  </a:cubicBezTo>
                  <a:cubicBezTo>
                    <a:pt x="433614" y="65253"/>
                    <a:pt x="433371" y="66928"/>
                    <a:pt x="433023" y="68584"/>
                  </a:cubicBezTo>
                  <a:cubicBezTo>
                    <a:pt x="432720" y="69990"/>
                    <a:pt x="432339" y="71380"/>
                    <a:pt x="431887" y="72746"/>
                  </a:cubicBezTo>
                  <a:cubicBezTo>
                    <a:pt x="429997" y="79199"/>
                    <a:pt x="425963" y="84814"/>
                    <a:pt x="420449" y="88663"/>
                  </a:cubicBezTo>
                  <a:cubicBezTo>
                    <a:pt x="414605" y="92376"/>
                    <a:pt x="407775" y="94235"/>
                    <a:pt x="400855" y="93996"/>
                  </a:cubicBezTo>
                  <a:close/>
                  <a:moveTo>
                    <a:pt x="400855" y="82894"/>
                  </a:moveTo>
                  <a:cubicBezTo>
                    <a:pt x="405266" y="83088"/>
                    <a:pt x="409624" y="81870"/>
                    <a:pt x="413295" y="79416"/>
                  </a:cubicBezTo>
                  <a:cubicBezTo>
                    <a:pt x="416636" y="76911"/>
                    <a:pt x="419076" y="73391"/>
                    <a:pt x="420250" y="69384"/>
                  </a:cubicBezTo>
                  <a:cubicBezTo>
                    <a:pt x="420562" y="68398"/>
                    <a:pt x="420809" y="67392"/>
                    <a:pt x="420987" y="66373"/>
                  </a:cubicBezTo>
                  <a:cubicBezTo>
                    <a:pt x="421210" y="65168"/>
                    <a:pt x="421433" y="63674"/>
                    <a:pt x="421656" y="61893"/>
                  </a:cubicBezTo>
                  <a:cubicBezTo>
                    <a:pt x="421879" y="60112"/>
                    <a:pt x="422037" y="58016"/>
                    <a:pt x="422126" y="55606"/>
                  </a:cubicBezTo>
                  <a:cubicBezTo>
                    <a:pt x="422215" y="53199"/>
                    <a:pt x="422260" y="50345"/>
                    <a:pt x="422260" y="47046"/>
                  </a:cubicBezTo>
                  <a:cubicBezTo>
                    <a:pt x="422260" y="43746"/>
                    <a:pt x="422215" y="40892"/>
                    <a:pt x="422126" y="38485"/>
                  </a:cubicBezTo>
                  <a:cubicBezTo>
                    <a:pt x="422037" y="36077"/>
                    <a:pt x="421879" y="33981"/>
                    <a:pt x="421656" y="32198"/>
                  </a:cubicBezTo>
                  <a:cubicBezTo>
                    <a:pt x="421433" y="30415"/>
                    <a:pt x="421210" y="28921"/>
                    <a:pt x="420987" y="27718"/>
                  </a:cubicBezTo>
                  <a:cubicBezTo>
                    <a:pt x="420809" y="26699"/>
                    <a:pt x="420562" y="25693"/>
                    <a:pt x="420250" y="24707"/>
                  </a:cubicBezTo>
                  <a:cubicBezTo>
                    <a:pt x="419076" y="20699"/>
                    <a:pt x="416636" y="17180"/>
                    <a:pt x="413295" y="14675"/>
                  </a:cubicBezTo>
                  <a:cubicBezTo>
                    <a:pt x="409624" y="12221"/>
                    <a:pt x="405266" y="11003"/>
                    <a:pt x="400855" y="11197"/>
                  </a:cubicBezTo>
                  <a:cubicBezTo>
                    <a:pt x="396464" y="10996"/>
                    <a:pt x="392125" y="12215"/>
                    <a:pt x="388480" y="14675"/>
                  </a:cubicBezTo>
                  <a:cubicBezTo>
                    <a:pt x="385172" y="17198"/>
                    <a:pt x="382758" y="20714"/>
                    <a:pt x="381593" y="24707"/>
                  </a:cubicBezTo>
                  <a:cubicBezTo>
                    <a:pt x="381281" y="25693"/>
                    <a:pt x="381034" y="26699"/>
                    <a:pt x="380859" y="27718"/>
                  </a:cubicBezTo>
                  <a:cubicBezTo>
                    <a:pt x="380636" y="28921"/>
                    <a:pt x="380413" y="30415"/>
                    <a:pt x="380190" y="32198"/>
                  </a:cubicBezTo>
                  <a:cubicBezTo>
                    <a:pt x="379967" y="33981"/>
                    <a:pt x="379810" y="36077"/>
                    <a:pt x="379720" y="38485"/>
                  </a:cubicBezTo>
                  <a:cubicBezTo>
                    <a:pt x="379631" y="40892"/>
                    <a:pt x="379587" y="43746"/>
                    <a:pt x="379587" y="47046"/>
                  </a:cubicBezTo>
                  <a:cubicBezTo>
                    <a:pt x="379587" y="50345"/>
                    <a:pt x="379631" y="53199"/>
                    <a:pt x="379720" y="55606"/>
                  </a:cubicBezTo>
                  <a:cubicBezTo>
                    <a:pt x="379810" y="58014"/>
                    <a:pt x="379967" y="60110"/>
                    <a:pt x="380190" y="61893"/>
                  </a:cubicBezTo>
                  <a:cubicBezTo>
                    <a:pt x="380413" y="63677"/>
                    <a:pt x="380636" y="65170"/>
                    <a:pt x="380859" y="66373"/>
                  </a:cubicBezTo>
                  <a:cubicBezTo>
                    <a:pt x="381034" y="67392"/>
                    <a:pt x="381281" y="68398"/>
                    <a:pt x="381593" y="69384"/>
                  </a:cubicBezTo>
                  <a:cubicBezTo>
                    <a:pt x="382758" y="73377"/>
                    <a:pt x="385172" y="76893"/>
                    <a:pt x="388480" y="79416"/>
                  </a:cubicBezTo>
                  <a:cubicBezTo>
                    <a:pt x="392125" y="81876"/>
                    <a:pt x="396464" y="83095"/>
                    <a:pt x="400855" y="82894"/>
                  </a:cubicBezTo>
                  <a:close/>
                  <a:moveTo>
                    <a:pt x="453557" y="2904"/>
                  </a:moveTo>
                  <a:cubicBezTo>
                    <a:pt x="453468" y="2253"/>
                    <a:pt x="453925" y="1655"/>
                    <a:pt x="454576" y="1567"/>
                  </a:cubicBezTo>
                  <a:cubicBezTo>
                    <a:pt x="454680" y="1552"/>
                    <a:pt x="454787" y="1552"/>
                    <a:pt x="454894" y="1567"/>
                  </a:cubicBezTo>
                  <a:lnTo>
                    <a:pt x="463455" y="1567"/>
                  </a:lnTo>
                  <a:cubicBezTo>
                    <a:pt x="464415" y="1502"/>
                    <a:pt x="465319" y="2033"/>
                    <a:pt x="465729" y="2904"/>
                  </a:cubicBezTo>
                  <a:lnTo>
                    <a:pt x="506928" y="71123"/>
                  </a:lnTo>
                  <a:lnTo>
                    <a:pt x="507463" y="71123"/>
                  </a:lnTo>
                  <a:lnTo>
                    <a:pt x="507463" y="2904"/>
                  </a:lnTo>
                  <a:cubicBezTo>
                    <a:pt x="507373" y="2253"/>
                    <a:pt x="507831" y="1655"/>
                    <a:pt x="508482" y="1567"/>
                  </a:cubicBezTo>
                  <a:cubicBezTo>
                    <a:pt x="508586" y="1552"/>
                    <a:pt x="508693" y="1552"/>
                    <a:pt x="508800" y="1567"/>
                  </a:cubicBezTo>
                  <a:lnTo>
                    <a:pt x="517227" y="1567"/>
                  </a:lnTo>
                  <a:cubicBezTo>
                    <a:pt x="517878" y="1479"/>
                    <a:pt x="518476" y="1935"/>
                    <a:pt x="518565" y="2586"/>
                  </a:cubicBezTo>
                  <a:cubicBezTo>
                    <a:pt x="518580" y="2691"/>
                    <a:pt x="518580" y="2798"/>
                    <a:pt x="518565" y="2904"/>
                  </a:cubicBezTo>
                  <a:lnTo>
                    <a:pt x="518565" y="91187"/>
                  </a:lnTo>
                  <a:cubicBezTo>
                    <a:pt x="518654" y="91837"/>
                    <a:pt x="518196" y="92436"/>
                    <a:pt x="517545" y="92524"/>
                  </a:cubicBezTo>
                  <a:cubicBezTo>
                    <a:pt x="517441" y="92539"/>
                    <a:pt x="517334" y="92539"/>
                    <a:pt x="517227" y="92524"/>
                  </a:cubicBezTo>
                  <a:lnTo>
                    <a:pt x="508667" y="92524"/>
                  </a:lnTo>
                  <a:cubicBezTo>
                    <a:pt x="507706" y="92589"/>
                    <a:pt x="506803" y="92058"/>
                    <a:pt x="506393" y="91187"/>
                  </a:cubicBezTo>
                  <a:lnTo>
                    <a:pt x="465060" y="23236"/>
                  </a:lnTo>
                  <a:lnTo>
                    <a:pt x="464659" y="23236"/>
                  </a:lnTo>
                  <a:lnTo>
                    <a:pt x="464659" y="91187"/>
                  </a:lnTo>
                  <a:cubicBezTo>
                    <a:pt x="464748" y="91837"/>
                    <a:pt x="464290" y="92436"/>
                    <a:pt x="463639" y="92524"/>
                  </a:cubicBezTo>
                  <a:cubicBezTo>
                    <a:pt x="463535" y="92539"/>
                    <a:pt x="463428" y="92539"/>
                    <a:pt x="463321" y="92524"/>
                  </a:cubicBezTo>
                  <a:lnTo>
                    <a:pt x="454894" y="92524"/>
                  </a:lnTo>
                  <a:cubicBezTo>
                    <a:pt x="454243" y="92612"/>
                    <a:pt x="453646" y="92156"/>
                    <a:pt x="453557" y="91505"/>
                  </a:cubicBezTo>
                  <a:cubicBezTo>
                    <a:pt x="453542" y="91400"/>
                    <a:pt x="453542" y="91293"/>
                    <a:pt x="453557" y="91187"/>
                  </a:cubicBezTo>
                  <a:close/>
                  <a:moveTo>
                    <a:pt x="539164" y="79683"/>
                  </a:moveTo>
                  <a:cubicBezTo>
                    <a:pt x="539075" y="79033"/>
                    <a:pt x="539533" y="78434"/>
                    <a:pt x="540184" y="78346"/>
                  </a:cubicBezTo>
                  <a:cubicBezTo>
                    <a:pt x="540288" y="78331"/>
                    <a:pt x="540395" y="78331"/>
                    <a:pt x="540502" y="78346"/>
                  </a:cubicBezTo>
                  <a:lnTo>
                    <a:pt x="550668" y="78346"/>
                  </a:lnTo>
                  <a:cubicBezTo>
                    <a:pt x="551319" y="78258"/>
                    <a:pt x="551916" y="78714"/>
                    <a:pt x="552005" y="79365"/>
                  </a:cubicBezTo>
                  <a:cubicBezTo>
                    <a:pt x="552020" y="79470"/>
                    <a:pt x="552020" y="79577"/>
                    <a:pt x="552005" y="79683"/>
                  </a:cubicBezTo>
                  <a:lnTo>
                    <a:pt x="552005" y="91187"/>
                  </a:lnTo>
                  <a:cubicBezTo>
                    <a:pt x="552094" y="91837"/>
                    <a:pt x="551637" y="92436"/>
                    <a:pt x="550986" y="92524"/>
                  </a:cubicBezTo>
                  <a:cubicBezTo>
                    <a:pt x="550882" y="92539"/>
                    <a:pt x="550775" y="92539"/>
                    <a:pt x="550668" y="92524"/>
                  </a:cubicBezTo>
                  <a:lnTo>
                    <a:pt x="540502" y="92524"/>
                  </a:lnTo>
                  <a:cubicBezTo>
                    <a:pt x="539851" y="92612"/>
                    <a:pt x="539253" y="92156"/>
                    <a:pt x="539164" y="91505"/>
                  </a:cubicBezTo>
                  <a:cubicBezTo>
                    <a:pt x="539149" y="91400"/>
                    <a:pt x="539149" y="91293"/>
                    <a:pt x="539164" y="91187"/>
                  </a:cubicBezTo>
                  <a:close/>
                  <a:moveTo>
                    <a:pt x="601883" y="2904"/>
                  </a:moveTo>
                  <a:cubicBezTo>
                    <a:pt x="601794" y="2253"/>
                    <a:pt x="602252" y="1655"/>
                    <a:pt x="602903" y="1567"/>
                  </a:cubicBezTo>
                  <a:cubicBezTo>
                    <a:pt x="603007" y="1552"/>
                    <a:pt x="603114" y="1552"/>
                    <a:pt x="603221" y="1567"/>
                  </a:cubicBezTo>
                  <a:lnTo>
                    <a:pt x="612465" y="1567"/>
                  </a:lnTo>
                  <a:cubicBezTo>
                    <a:pt x="613116" y="1479"/>
                    <a:pt x="613714" y="1935"/>
                    <a:pt x="613803" y="2586"/>
                  </a:cubicBezTo>
                  <a:cubicBezTo>
                    <a:pt x="613818" y="2691"/>
                    <a:pt x="613818" y="2798"/>
                    <a:pt x="613803" y="2904"/>
                  </a:cubicBezTo>
                  <a:lnTo>
                    <a:pt x="613803" y="80620"/>
                  </a:lnTo>
                  <a:cubicBezTo>
                    <a:pt x="613750" y="81008"/>
                    <a:pt x="614020" y="81368"/>
                    <a:pt x="614406" y="81422"/>
                  </a:cubicBezTo>
                  <a:cubicBezTo>
                    <a:pt x="614472" y="81431"/>
                    <a:pt x="614540" y="81431"/>
                    <a:pt x="614606" y="81422"/>
                  </a:cubicBezTo>
                  <a:lnTo>
                    <a:pt x="657944" y="81422"/>
                  </a:lnTo>
                  <a:cubicBezTo>
                    <a:pt x="658595" y="81334"/>
                    <a:pt x="659193" y="81791"/>
                    <a:pt x="659282" y="82441"/>
                  </a:cubicBezTo>
                  <a:cubicBezTo>
                    <a:pt x="659297" y="82547"/>
                    <a:pt x="659297" y="82654"/>
                    <a:pt x="659282" y="82760"/>
                  </a:cubicBezTo>
                  <a:lnTo>
                    <a:pt x="659282" y="91187"/>
                  </a:lnTo>
                  <a:cubicBezTo>
                    <a:pt x="659371" y="91837"/>
                    <a:pt x="658913" y="92436"/>
                    <a:pt x="658262" y="92524"/>
                  </a:cubicBezTo>
                  <a:cubicBezTo>
                    <a:pt x="658158" y="92539"/>
                    <a:pt x="658051" y="92539"/>
                    <a:pt x="657944" y="92524"/>
                  </a:cubicBezTo>
                  <a:lnTo>
                    <a:pt x="603251" y="92524"/>
                  </a:lnTo>
                  <a:cubicBezTo>
                    <a:pt x="602600" y="92612"/>
                    <a:pt x="602002" y="92156"/>
                    <a:pt x="601913" y="91505"/>
                  </a:cubicBezTo>
                  <a:cubicBezTo>
                    <a:pt x="601898" y="91400"/>
                    <a:pt x="601898" y="91293"/>
                    <a:pt x="601913" y="91187"/>
                  </a:cubicBezTo>
                  <a:close/>
                  <a:moveTo>
                    <a:pt x="703958" y="93996"/>
                  </a:moveTo>
                  <a:cubicBezTo>
                    <a:pt x="697080" y="94218"/>
                    <a:pt x="690294" y="92353"/>
                    <a:pt x="684495" y="88645"/>
                  </a:cubicBezTo>
                  <a:cubicBezTo>
                    <a:pt x="678981" y="84796"/>
                    <a:pt x="674947" y="79181"/>
                    <a:pt x="673056" y="72728"/>
                  </a:cubicBezTo>
                  <a:cubicBezTo>
                    <a:pt x="672605" y="71362"/>
                    <a:pt x="672224" y="69973"/>
                    <a:pt x="671921" y="68566"/>
                  </a:cubicBezTo>
                  <a:cubicBezTo>
                    <a:pt x="671576" y="66911"/>
                    <a:pt x="671329" y="65236"/>
                    <a:pt x="671187" y="63552"/>
                  </a:cubicBezTo>
                  <a:cubicBezTo>
                    <a:pt x="671008" y="61635"/>
                    <a:pt x="670875" y="59339"/>
                    <a:pt x="670785" y="56661"/>
                  </a:cubicBezTo>
                  <a:cubicBezTo>
                    <a:pt x="670696" y="53984"/>
                    <a:pt x="670652" y="50774"/>
                    <a:pt x="670652" y="47031"/>
                  </a:cubicBezTo>
                  <a:cubicBezTo>
                    <a:pt x="670652" y="43285"/>
                    <a:pt x="670696" y="40075"/>
                    <a:pt x="670785" y="37400"/>
                  </a:cubicBezTo>
                  <a:cubicBezTo>
                    <a:pt x="670875" y="34725"/>
                    <a:pt x="671008" y="32429"/>
                    <a:pt x="671187" y="30513"/>
                  </a:cubicBezTo>
                  <a:cubicBezTo>
                    <a:pt x="671329" y="28832"/>
                    <a:pt x="671573" y="27161"/>
                    <a:pt x="671915" y="25510"/>
                  </a:cubicBezTo>
                  <a:cubicBezTo>
                    <a:pt x="672218" y="24104"/>
                    <a:pt x="672599" y="22714"/>
                    <a:pt x="673051" y="21348"/>
                  </a:cubicBezTo>
                  <a:cubicBezTo>
                    <a:pt x="674941" y="14894"/>
                    <a:pt x="678978" y="9279"/>
                    <a:pt x="684495" y="5431"/>
                  </a:cubicBezTo>
                  <a:cubicBezTo>
                    <a:pt x="696536" y="-1703"/>
                    <a:pt x="711511" y="-1703"/>
                    <a:pt x="723553" y="5431"/>
                  </a:cubicBezTo>
                  <a:cubicBezTo>
                    <a:pt x="729067" y="9280"/>
                    <a:pt x="733100" y="14895"/>
                    <a:pt x="734991" y="21348"/>
                  </a:cubicBezTo>
                  <a:cubicBezTo>
                    <a:pt x="735443" y="22714"/>
                    <a:pt x="735823" y="24104"/>
                    <a:pt x="736126" y="25510"/>
                  </a:cubicBezTo>
                  <a:cubicBezTo>
                    <a:pt x="736474" y="27166"/>
                    <a:pt x="736718" y="28841"/>
                    <a:pt x="736864" y="30527"/>
                  </a:cubicBezTo>
                  <a:cubicBezTo>
                    <a:pt x="737042" y="32446"/>
                    <a:pt x="737176" y="34742"/>
                    <a:pt x="737265" y="37415"/>
                  </a:cubicBezTo>
                  <a:cubicBezTo>
                    <a:pt x="737354" y="40088"/>
                    <a:pt x="737399" y="43298"/>
                    <a:pt x="737399" y="47046"/>
                  </a:cubicBezTo>
                  <a:cubicBezTo>
                    <a:pt x="737399" y="50791"/>
                    <a:pt x="737354" y="54001"/>
                    <a:pt x="737265" y="56676"/>
                  </a:cubicBezTo>
                  <a:cubicBezTo>
                    <a:pt x="737176" y="59352"/>
                    <a:pt x="737042" y="61648"/>
                    <a:pt x="736864" y="63567"/>
                  </a:cubicBezTo>
                  <a:cubicBezTo>
                    <a:pt x="736718" y="65253"/>
                    <a:pt x="736474" y="66928"/>
                    <a:pt x="736126" y="68584"/>
                  </a:cubicBezTo>
                  <a:cubicBezTo>
                    <a:pt x="735823" y="69990"/>
                    <a:pt x="735443" y="71380"/>
                    <a:pt x="734991" y="72746"/>
                  </a:cubicBezTo>
                  <a:cubicBezTo>
                    <a:pt x="733100" y="79199"/>
                    <a:pt x="729067" y="84814"/>
                    <a:pt x="723553" y="88663"/>
                  </a:cubicBezTo>
                  <a:cubicBezTo>
                    <a:pt x="717709" y="92376"/>
                    <a:pt x="710878" y="94235"/>
                    <a:pt x="703958" y="93996"/>
                  </a:cubicBezTo>
                  <a:close/>
                  <a:moveTo>
                    <a:pt x="703958" y="82894"/>
                  </a:moveTo>
                  <a:cubicBezTo>
                    <a:pt x="708369" y="83088"/>
                    <a:pt x="712727" y="81870"/>
                    <a:pt x="716398" y="79416"/>
                  </a:cubicBezTo>
                  <a:cubicBezTo>
                    <a:pt x="719739" y="76911"/>
                    <a:pt x="722180" y="73391"/>
                    <a:pt x="723354" y="69384"/>
                  </a:cubicBezTo>
                  <a:cubicBezTo>
                    <a:pt x="723666" y="68398"/>
                    <a:pt x="723913" y="67392"/>
                    <a:pt x="724091" y="66373"/>
                  </a:cubicBezTo>
                  <a:cubicBezTo>
                    <a:pt x="724314" y="65168"/>
                    <a:pt x="724537" y="63674"/>
                    <a:pt x="724760" y="61893"/>
                  </a:cubicBezTo>
                  <a:cubicBezTo>
                    <a:pt x="724983" y="60112"/>
                    <a:pt x="725140" y="58016"/>
                    <a:pt x="725229" y="55606"/>
                  </a:cubicBezTo>
                  <a:cubicBezTo>
                    <a:pt x="725319" y="53199"/>
                    <a:pt x="725363" y="50345"/>
                    <a:pt x="725363" y="47046"/>
                  </a:cubicBezTo>
                  <a:cubicBezTo>
                    <a:pt x="725363" y="43746"/>
                    <a:pt x="725319" y="40892"/>
                    <a:pt x="725229" y="38485"/>
                  </a:cubicBezTo>
                  <a:cubicBezTo>
                    <a:pt x="725140" y="36077"/>
                    <a:pt x="724983" y="33981"/>
                    <a:pt x="724760" y="32198"/>
                  </a:cubicBezTo>
                  <a:cubicBezTo>
                    <a:pt x="724537" y="30415"/>
                    <a:pt x="724314" y="28921"/>
                    <a:pt x="724091" y="27718"/>
                  </a:cubicBezTo>
                  <a:cubicBezTo>
                    <a:pt x="723913" y="26699"/>
                    <a:pt x="723666" y="25693"/>
                    <a:pt x="723354" y="24707"/>
                  </a:cubicBezTo>
                  <a:cubicBezTo>
                    <a:pt x="722180" y="20699"/>
                    <a:pt x="719739" y="17180"/>
                    <a:pt x="716398" y="14675"/>
                  </a:cubicBezTo>
                  <a:cubicBezTo>
                    <a:pt x="712727" y="12221"/>
                    <a:pt x="708369" y="11003"/>
                    <a:pt x="703958" y="11197"/>
                  </a:cubicBezTo>
                  <a:cubicBezTo>
                    <a:pt x="699568" y="10996"/>
                    <a:pt x="695228" y="12215"/>
                    <a:pt x="691584" y="14675"/>
                  </a:cubicBezTo>
                  <a:cubicBezTo>
                    <a:pt x="688276" y="17198"/>
                    <a:pt x="685862" y="20714"/>
                    <a:pt x="684697" y="24707"/>
                  </a:cubicBezTo>
                  <a:cubicBezTo>
                    <a:pt x="684385" y="25693"/>
                    <a:pt x="684138" y="26699"/>
                    <a:pt x="683962" y="27718"/>
                  </a:cubicBezTo>
                  <a:cubicBezTo>
                    <a:pt x="683740" y="28921"/>
                    <a:pt x="683517" y="30415"/>
                    <a:pt x="683294" y="32198"/>
                  </a:cubicBezTo>
                  <a:cubicBezTo>
                    <a:pt x="683071" y="33981"/>
                    <a:pt x="682913" y="36077"/>
                    <a:pt x="682824" y="38485"/>
                  </a:cubicBezTo>
                  <a:cubicBezTo>
                    <a:pt x="682735" y="40892"/>
                    <a:pt x="682690" y="43746"/>
                    <a:pt x="682690" y="47046"/>
                  </a:cubicBezTo>
                  <a:cubicBezTo>
                    <a:pt x="682690" y="50345"/>
                    <a:pt x="682735" y="53199"/>
                    <a:pt x="682824" y="55606"/>
                  </a:cubicBezTo>
                  <a:cubicBezTo>
                    <a:pt x="682913" y="58014"/>
                    <a:pt x="683071" y="60110"/>
                    <a:pt x="683294" y="61893"/>
                  </a:cubicBezTo>
                  <a:cubicBezTo>
                    <a:pt x="683517" y="63677"/>
                    <a:pt x="683740" y="65170"/>
                    <a:pt x="683962" y="66373"/>
                  </a:cubicBezTo>
                  <a:cubicBezTo>
                    <a:pt x="684138" y="67392"/>
                    <a:pt x="684385" y="68398"/>
                    <a:pt x="684697" y="69384"/>
                  </a:cubicBezTo>
                  <a:cubicBezTo>
                    <a:pt x="685862" y="73377"/>
                    <a:pt x="688276" y="76893"/>
                    <a:pt x="691584" y="79416"/>
                  </a:cubicBezTo>
                  <a:cubicBezTo>
                    <a:pt x="695228" y="81876"/>
                    <a:pt x="699568" y="83095"/>
                    <a:pt x="703958" y="82894"/>
                  </a:cubicBezTo>
                  <a:close/>
                  <a:moveTo>
                    <a:pt x="755858" y="72728"/>
                  </a:moveTo>
                  <a:cubicBezTo>
                    <a:pt x="755406" y="71367"/>
                    <a:pt x="755049" y="69976"/>
                    <a:pt x="754788" y="68566"/>
                  </a:cubicBezTo>
                  <a:cubicBezTo>
                    <a:pt x="754520" y="67139"/>
                    <a:pt x="754276" y="65468"/>
                    <a:pt x="754053" y="63552"/>
                  </a:cubicBezTo>
                  <a:cubicBezTo>
                    <a:pt x="753831" y="61635"/>
                    <a:pt x="753676" y="59339"/>
                    <a:pt x="753584" y="56661"/>
                  </a:cubicBezTo>
                  <a:cubicBezTo>
                    <a:pt x="753495" y="53986"/>
                    <a:pt x="753450" y="50776"/>
                    <a:pt x="753450" y="47031"/>
                  </a:cubicBezTo>
                  <a:cubicBezTo>
                    <a:pt x="753450" y="43285"/>
                    <a:pt x="753495" y="40075"/>
                    <a:pt x="753584" y="37400"/>
                  </a:cubicBezTo>
                  <a:cubicBezTo>
                    <a:pt x="753673" y="34725"/>
                    <a:pt x="753831" y="32429"/>
                    <a:pt x="754053" y="30513"/>
                  </a:cubicBezTo>
                  <a:cubicBezTo>
                    <a:pt x="754276" y="28596"/>
                    <a:pt x="754523" y="26925"/>
                    <a:pt x="754788" y="25498"/>
                  </a:cubicBezTo>
                  <a:cubicBezTo>
                    <a:pt x="755049" y="24088"/>
                    <a:pt x="755406" y="22698"/>
                    <a:pt x="755858" y="21337"/>
                  </a:cubicBezTo>
                  <a:cubicBezTo>
                    <a:pt x="757757" y="14874"/>
                    <a:pt x="761818" y="9259"/>
                    <a:pt x="767361" y="5431"/>
                  </a:cubicBezTo>
                  <a:cubicBezTo>
                    <a:pt x="773232" y="1717"/>
                    <a:pt x="780081" y="-147"/>
                    <a:pt x="787024" y="80"/>
                  </a:cubicBezTo>
                  <a:cubicBezTo>
                    <a:pt x="790683" y="33"/>
                    <a:pt x="794331" y="505"/>
                    <a:pt x="797859" y="1483"/>
                  </a:cubicBezTo>
                  <a:cubicBezTo>
                    <a:pt x="800891" y="2339"/>
                    <a:pt x="803777" y="3646"/>
                    <a:pt x="806420" y="5362"/>
                  </a:cubicBezTo>
                  <a:cubicBezTo>
                    <a:pt x="808839" y="6943"/>
                    <a:pt x="811003" y="8882"/>
                    <a:pt x="812840" y="11114"/>
                  </a:cubicBezTo>
                  <a:cubicBezTo>
                    <a:pt x="814600" y="13260"/>
                    <a:pt x="816083" y="15619"/>
                    <a:pt x="817254" y="18135"/>
                  </a:cubicBezTo>
                  <a:cubicBezTo>
                    <a:pt x="817682" y="18669"/>
                    <a:pt x="817593" y="19447"/>
                    <a:pt x="817061" y="19873"/>
                  </a:cubicBezTo>
                  <a:cubicBezTo>
                    <a:pt x="816996" y="19925"/>
                    <a:pt x="816927" y="19970"/>
                    <a:pt x="816853" y="20008"/>
                  </a:cubicBezTo>
                  <a:lnTo>
                    <a:pt x="808827" y="23872"/>
                  </a:lnTo>
                  <a:cubicBezTo>
                    <a:pt x="808034" y="24318"/>
                    <a:pt x="807409" y="24095"/>
                    <a:pt x="806955" y="23203"/>
                  </a:cubicBezTo>
                  <a:cubicBezTo>
                    <a:pt x="805109" y="19530"/>
                    <a:pt x="802344" y="16396"/>
                    <a:pt x="798929" y="14107"/>
                  </a:cubicBezTo>
                  <a:cubicBezTo>
                    <a:pt x="795323" y="12022"/>
                    <a:pt x="791201" y="11001"/>
                    <a:pt x="787039" y="11165"/>
                  </a:cubicBezTo>
                  <a:cubicBezTo>
                    <a:pt x="782566" y="10966"/>
                    <a:pt x="778139" y="12183"/>
                    <a:pt x="774397" y="14643"/>
                  </a:cubicBezTo>
                  <a:cubicBezTo>
                    <a:pt x="771020" y="17129"/>
                    <a:pt x="768553" y="20653"/>
                    <a:pt x="767373" y="24675"/>
                  </a:cubicBezTo>
                  <a:cubicBezTo>
                    <a:pt x="767106" y="25477"/>
                    <a:pt x="766838" y="26458"/>
                    <a:pt x="766571" y="27617"/>
                  </a:cubicBezTo>
                  <a:cubicBezTo>
                    <a:pt x="766270" y="29028"/>
                    <a:pt x="766071" y="30458"/>
                    <a:pt x="765976" y="31898"/>
                  </a:cubicBezTo>
                  <a:cubicBezTo>
                    <a:pt x="765842" y="33592"/>
                    <a:pt x="765732" y="35665"/>
                    <a:pt x="765643" y="38116"/>
                  </a:cubicBezTo>
                  <a:cubicBezTo>
                    <a:pt x="765554" y="40568"/>
                    <a:pt x="765503" y="43544"/>
                    <a:pt x="765489" y="47046"/>
                  </a:cubicBezTo>
                  <a:cubicBezTo>
                    <a:pt x="765489" y="50523"/>
                    <a:pt x="765533" y="53489"/>
                    <a:pt x="765622" y="55942"/>
                  </a:cubicBezTo>
                  <a:cubicBezTo>
                    <a:pt x="765712" y="58395"/>
                    <a:pt x="765822" y="60468"/>
                    <a:pt x="765955" y="62161"/>
                  </a:cubicBezTo>
                  <a:cubicBezTo>
                    <a:pt x="766050" y="63600"/>
                    <a:pt x="766250" y="65030"/>
                    <a:pt x="766550" y="66441"/>
                  </a:cubicBezTo>
                  <a:cubicBezTo>
                    <a:pt x="766817" y="67600"/>
                    <a:pt x="767085" y="68581"/>
                    <a:pt x="767352" y="69384"/>
                  </a:cubicBezTo>
                  <a:cubicBezTo>
                    <a:pt x="768532" y="73406"/>
                    <a:pt x="771003" y="76930"/>
                    <a:pt x="774376" y="79416"/>
                  </a:cubicBezTo>
                  <a:cubicBezTo>
                    <a:pt x="778119" y="81876"/>
                    <a:pt x="782545" y="83093"/>
                    <a:pt x="787018" y="82894"/>
                  </a:cubicBezTo>
                  <a:cubicBezTo>
                    <a:pt x="791319" y="82991"/>
                    <a:pt x="795555" y="81829"/>
                    <a:pt x="799205" y="79550"/>
                  </a:cubicBezTo>
                  <a:cubicBezTo>
                    <a:pt x="802728" y="77261"/>
                    <a:pt x="805335" y="73803"/>
                    <a:pt x="806562" y="69785"/>
                  </a:cubicBezTo>
                  <a:cubicBezTo>
                    <a:pt x="807082" y="67895"/>
                    <a:pt x="807481" y="65974"/>
                    <a:pt x="807751" y="64033"/>
                  </a:cubicBezTo>
                  <a:cubicBezTo>
                    <a:pt x="808141" y="61197"/>
                    <a:pt x="808322" y="58335"/>
                    <a:pt x="808286" y="55472"/>
                  </a:cubicBezTo>
                  <a:cubicBezTo>
                    <a:pt x="808340" y="55084"/>
                    <a:pt x="808069" y="54725"/>
                    <a:pt x="807683" y="54670"/>
                  </a:cubicBezTo>
                  <a:cubicBezTo>
                    <a:pt x="807618" y="54661"/>
                    <a:pt x="807549" y="54661"/>
                    <a:pt x="807484" y="54670"/>
                  </a:cubicBezTo>
                  <a:lnTo>
                    <a:pt x="789827" y="54670"/>
                  </a:lnTo>
                  <a:cubicBezTo>
                    <a:pt x="789176" y="54758"/>
                    <a:pt x="788579" y="54302"/>
                    <a:pt x="788490" y="53651"/>
                  </a:cubicBezTo>
                  <a:cubicBezTo>
                    <a:pt x="788475" y="53545"/>
                    <a:pt x="788475" y="53438"/>
                    <a:pt x="788490" y="53332"/>
                  </a:cubicBezTo>
                  <a:lnTo>
                    <a:pt x="788490" y="45559"/>
                  </a:lnTo>
                  <a:cubicBezTo>
                    <a:pt x="788400" y="44909"/>
                    <a:pt x="788858" y="44310"/>
                    <a:pt x="789509" y="44222"/>
                  </a:cubicBezTo>
                  <a:cubicBezTo>
                    <a:pt x="789613" y="44207"/>
                    <a:pt x="789720" y="44207"/>
                    <a:pt x="789827" y="44222"/>
                  </a:cubicBezTo>
                  <a:lnTo>
                    <a:pt x="818854" y="44222"/>
                  </a:lnTo>
                  <a:cubicBezTo>
                    <a:pt x="819504" y="44134"/>
                    <a:pt x="820102" y="44590"/>
                    <a:pt x="820191" y="45241"/>
                  </a:cubicBezTo>
                  <a:cubicBezTo>
                    <a:pt x="820206" y="45346"/>
                    <a:pt x="820206" y="45453"/>
                    <a:pt x="820191" y="45559"/>
                  </a:cubicBezTo>
                  <a:lnTo>
                    <a:pt x="820191" y="52396"/>
                  </a:lnTo>
                  <a:cubicBezTo>
                    <a:pt x="820209" y="56216"/>
                    <a:pt x="820010" y="60034"/>
                    <a:pt x="819597" y="63831"/>
                  </a:cubicBezTo>
                  <a:cubicBezTo>
                    <a:pt x="819314" y="66751"/>
                    <a:pt x="818755" y="69638"/>
                    <a:pt x="817926" y="72451"/>
                  </a:cubicBezTo>
                  <a:cubicBezTo>
                    <a:pt x="816042" y="78925"/>
                    <a:pt x="812008" y="84563"/>
                    <a:pt x="806488" y="88434"/>
                  </a:cubicBezTo>
                  <a:cubicBezTo>
                    <a:pt x="800727" y="92243"/>
                    <a:pt x="793932" y="94182"/>
                    <a:pt x="787027" y="93987"/>
                  </a:cubicBezTo>
                  <a:cubicBezTo>
                    <a:pt x="780084" y="94214"/>
                    <a:pt x="773235" y="92350"/>
                    <a:pt x="767364" y="88636"/>
                  </a:cubicBezTo>
                  <a:cubicBezTo>
                    <a:pt x="761821" y="84808"/>
                    <a:pt x="757757" y="79192"/>
                    <a:pt x="755858" y="72728"/>
                  </a:cubicBezTo>
                  <a:close/>
                  <a:moveTo>
                    <a:pt x="839459" y="2904"/>
                  </a:moveTo>
                  <a:cubicBezTo>
                    <a:pt x="839370" y="2253"/>
                    <a:pt x="839827" y="1655"/>
                    <a:pt x="840478" y="1567"/>
                  </a:cubicBezTo>
                  <a:cubicBezTo>
                    <a:pt x="840582" y="1552"/>
                    <a:pt x="840689" y="1552"/>
                    <a:pt x="840796" y="1567"/>
                  </a:cubicBezTo>
                  <a:lnTo>
                    <a:pt x="850011" y="1567"/>
                  </a:lnTo>
                  <a:cubicBezTo>
                    <a:pt x="850662" y="1479"/>
                    <a:pt x="851259" y="1935"/>
                    <a:pt x="851349" y="2586"/>
                  </a:cubicBezTo>
                  <a:cubicBezTo>
                    <a:pt x="851363" y="2691"/>
                    <a:pt x="851363" y="2798"/>
                    <a:pt x="851349" y="2904"/>
                  </a:cubicBezTo>
                  <a:lnTo>
                    <a:pt x="851349" y="91187"/>
                  </a:lnTo>
                  <a:cubicBezTo>
                    <a:pt x="851438" y="91837"/>
                    <a:pt x="850980" y="92436"/>
                    <a:pt x="850329" y="92524"/>
                  </a:cubicBezTo>
                  <a:cubicBezTo>
                    <a:pt x="850225" y="92539"/>
                    <a:pt x="850118" y="92539"/>
                    <a:pt x="850011" y="92524"/>
                  </a:cubicBezTo>
                  <a:lnTo>
                    <a:pt x="840796" y="92524"/>
                  </a:lnTo>
                  <a:cubicBezTo>
                    <a:pt x="840145" y="92612"/>
                    <a:pt x="839548" y="92156"/>
                    <a:pt x="839459" y="91505"/>
                  </a:cubicBezTo>
                  <a:cubicBezTo>
                    <a:pt x="839444" y="91400"/>
                    <a:pt x="839444" y="91293"/>
                    <a:pt x="839459" y="91187"/>
                  </a:cubicBezTo>
                  <a:close/>
                  <a:moveTo>
                    <a:pt x="901390" y="93996"/>
                  </a:moveTo>
                  <a:cubicBezTo>
                    <a:pt x="898201" y="93998"/>
                    <a:pt x="895020" y="93684"/>
                    <a:pt x="891893" y="93059"/>
                  </a:cubicBezTo>
                  <a:cubicBezTo>
                    <a:pt x="888891" y="92468"/>
                    <a:pt x="885939" y="91640"/>
                    <a:pt x="883065" y="90583"/>
                  </a:cubicBezTo>
                  <a:cubicBezTo>
                    <a:pt x="880419" y="89614"/>
                    <a:pt x="877866" y="88405"/>
                    <a:pt x="875441" y="86972"/>
                  </a:cubicBezTo>
                  <a:cubicBezTo>
                    <a:pt x="873300" y="85719"/>
                    <a:pt x="871285" y="84264"/>
                    <a:pt x="869421" y="82626"/>
                  </a:cubicBezTo>
                  <a:cubicBezTo>
                    <a:pt x="868833" y="82145"/>
                    <a:pt x="868747" y="81278"/>
                    <a:pt x="869225" y="80689"/>
                  </a:cubicBezTo>
                  <a:cubicBezTo>
                    <a:pt x="869246" y="80665"/>
                    <a:pt x="869267" y="80642"/>
                    <a:pt x="869288" y="80620"/>
                  </a:cubicBezTo>
                  <a:lnTo>
                    <a:pt x="875173" y="73664"/>
                  </a:lnTo>
                  <a:cubicBezTo>
                    <a:pt x="875568" y="73116"/>
                    <a:pt x="876335" y="72993"/>
                    <a:pt x="876882" y="73389"/>
                  </a:cubicBezTo>
                  <a:cubicBezTo>
                    <a:pt x="876942" y="73431"/>
                    <a:pt x="876995" y="73479"/>
                    <a:pt x="877046" y="73530"/>
                  </a:cubicBezTo>
                  <a:cubicBezTo>
                    <a:pt x="880428" y="76108"/>
                    <a:pt x="884111" y="78264"/>
                    <a:pt x="888014" y="79951"/>
                  </a:cubicBezTo>
                  <a:cubicBezTo>
                    <a:pt x="892565" y="81950"/>
                    <a:pt x="897490" y="82953"/>
                    <a:pt x="902460" y="82894"/>
                  </a:cubicBezTo>
                  <a:cubicBezTo>
                    <a:pt x="907734" y="83216"/>
                    <a:pt x="912956" y="81703"/>
                    <a:pt x="917242" y="78613"/>
                  </a:cubicBezTo>
                  <a:cubicBezTo>
                    <a:pt x="920688" y="75920"/>
                    <a:pt x="922649" y="71749"/>
                    <a:pt x="922525" y="67377"/>
                  </a:cubicBezTo>
                  <a:cubicBezTo>
                    <a:pt x="922548" y="65551"/>
                    <a:pt x="922230" y="63736"/>
                    <a:pt x="921588" y="62027"/>
                  </a:cubicBezTo>
                  <a:cubicBezTo>
                    <a:pt x="920919" y="60358"/>
                    <a:pt x="919838" y="58886"/>
                    <a:pt x="918446" y="57746"/>
                  </a:cubicBezTo>
                  <a:cubicBezTo>
                    <a:pt x="916707" y="56348"/>
                    <a:pt x="914737" y="55261"/>
                    <a:pt x="912626" y="54536"/>
                  </a:cubicBezTo>
                  <a:cubicBezTo>
                    <a:pt x="909681" y="53523"/>
                    <a:pt x="906628" y="52850"/>
                    <a:pt x="903531" y="52530"/>
                  </a:cubicBezTo>
                  <a:lnTo>
                    <a:pt x="898983" y="51861"/>
                  </a:lnTo>
                  <a:cubicBezTo>
                    <a:pt x="881148" y="49453"/>
                    <a:pt x="872230" y="41071"/>
                    <a:pt x="872230" y="26714"/>
                  </a:cubicBezTo>
                  <a:cubicBezTo>
                    <a:pt x="872183" y="22955"/>
                    <a:pt x="872890" y="19226"/>
                    <a:pt x="874311" y="15745"/>
                  </a:cubicBezTo>
                  <a:cubicBezTo>
                    <a:pt x="875634" y="12526"/>
                    <a:pt x="877667" y="9645"/>
                    <a:pt x="880256" y="7318"/>
                  </a:cubicBezTo>
                  <a:cubicBezTo>
                    <a:pt x="882982" y="4919"/>
                    <a:pt x="886168" y="3099"/>
                    <a:pt x="889619" y="1968"/>
                  </a:cubicBezTo>
                  <a:cubicBezTo>
                    <a:pt x="893590" y="670"/>
                    <a:pt x="897749" y="38"/>
                    <a:pt x="901925" y="95"/>
                  </a:cubicBezTo>
                  <a:cubicBezTo>
                    <a:pt x="907121" y="71"/>
                    <a:pt x="912287" y="861"/>
                    <a:pt x="917240" y="2435"/>
                  </a:cubicBezTo>
                  <a:cubicBezTo>
                    <a:pt x="921672" y="3779"/>
                    <a:pt x="925857" y="5835"/>
                    <a:pt x="929629" y="8522"/>
                  </a:cubicBezTo>
                  <a:cubicBezTo>
                    <a:pt x="930203" y="8842"/>
                    <a:pt x="930408" y="9566"/>
                    <a:pt x="930087" y="10140"/>
                  </a:cubicBezTo>
                  <a:cubicBezTo>
                    <a:pt x="930036" y="10233"/>
                    <a:pt x="929971" y="10319"/>
                    <a:pt x="929896" y="10395"/>
                  </a:cubicBezTo>
                  <a:lnTo>
                    <a:pt x="925348" y="17752"/>
                  </a:lnTo>
                  <a:cubicBezTo>
                    <a:pt x="924932" y="18339"/>
                    <a:pt x="924121" y="18478"/>
                    <a:pt x="923532" y="18063"/>
                  </a:cubicBezTo>
                  <a:cubicBezTo>
                    <a:pt x="923514" y="18049"/>
                    <a:pt x="923494" y="18034"/>
                    <a:pt x="923476" y="18019"/>
                  </a:cubicBezTo>
                  <a:cubicBezTo>
                    <a:pt x="920081" y="15865"/>
                    <a:pt x="916440" y="14133"/>
                    <a:pt x="912626" y="12862"/>
                  </a:cubicBezTo>
                  <a:cubicBezTo>
                    <a:pt x="909036" y="11731"/>
                    <a:pt x="905290" y="11167"/>
                    <a:pt x="901524" y="11191"/>
                  </a:cubicBezTo>
                  <a:cubicBezTo>
                    <a:pt x="896881" y="10866"/>
                    <a:pt x="892289" y="12324"/>
                    <a:pt x="888683" y="15270"/>
                  </a:cubicBezTo>
                  <a:cubicBezTo>
                    <a:pt x="885734" y="18002"/>
                    <a:pt x="884123" y="21885"/>
                    <a:pt x="884269" y="25902"/>
                  </a:cubicBezTo>
                  <a:cubicBezTo>
                    <a:pt x="884177" y="29535"/>
                    <a:pt x="885755" y="33009"/>
                    <a:pt x="888549" y="35331"/>
                  </a:cubicBezTo>
                  <a:cubicBezTo>
                    <a:pt x="892943" y="38358"/>
                    <a:pt x="898073" y="40139"/>
                    <a:pt x="903397" y="40482"/>
                  </a:cubicBezTo>
                  <a:lnTo>
                    <a:pt x="907811" y="41151"/>
                  </a:lnTo>
                  <a:cubicBezTo>
                    <a:pt x="915156" y="41744"/>
                    <a:pt x="922147" y="44541"/>
                    <a:pt x="927875" y="49177"/>
                  </a:cubicBezTo>
                  <a:cubicBezTo>
                    <a:pt x="932518" y="53730"/>
                    <a:pt x="934959" y="60074"/>
                    <a:pt x="934563" y="66566"/>
                  </a:cubicBezTo>
                  <a:cubicBezTo>
                    <a:pt x="934605" y="70345"/>
                    <a:pt x="933897" y="74095"/>
                    <a:pt x="932482" y="77600"/>
                  </a:cubicBezTo>
                  <a:cubicBezTo>
                    <a:pt x="931106" y="80934"/>
                    <a:pt x="928948" y="83890"/>
                    <a:pt x="926196" y="86220"/>
                  </a:cubicBezTo>
                  <a:cubicBezTo>
                    <a:pt x="923119" y="88775"/>
                    <a:pt x="919576" y="90706"/>
                    <a:pt x="915762" y="91906"/>
                  </a:cubicBezTo>
                  <a:cubicBezTo>
                    <a:pt x="911113" y="93368"/>
                    <a:pt x="906262" y="94074"/>
                    <a:pt x="901390" y="93996"/>
                  </a:cubicBezTo>
                  <a:close/>
                  <a:moveTo>
                    <a:pt x="971348" y="92524"/>
                  </a:moveTo>
                  <a:cubicBezTo>
                    <a:pt x="970697" y="92612"/>
                    <a:pt x="970099" y="92156"/>
                    <a:pt x="970010" y="91505"/>
                  </a:cubicBezTo>
                  <a:cubicBezTo>
                    <a:pt x="969995" y="91400"/>
                    <a:pt x="969995" y="91293"/>
                    <a:pt x="970010" y="91187"/>
                  </a:cubicBezTo>
                  <a:lnTo>
                    <a:pt x="970010" y="13457"/>
                  </a:lnTo>
                  <a:cubicBezTo>
                    <a:pt x="970063" y="13068"/>
                    <a:pt x="969793" y="12709"/>
                    <a:pt x="969407" y="12654"/>
                  </a:cubicBezTo>
                  <a:cubicBezTo>
                    <a:pt x="969341" y="12645"/>
                    <a:pt x="969273" y="12645"/>
                    <a:pt x="969207" y="12654"/>
                  </a:cubicBezTo>
                  <a:lnTo>
                    <a:pt x="944328" y="12654"/>
                  </a:lnTo>
                  <a:cubicBezTo>
                    <a:pt x="943677" y="12742"/>
                    <a:pt x="943079" y="12286"/>
                    <a:pt x="942990" y="11635"/>
                  </a:cubicBezTo>
                  <a:cubicBezTo>
                    <a:pt x="942975" y="11529"/>
                    <a:pt x="942975" y="11422"/>
                    <a:pt x="942990" y="11316"/>
                  </a:cubicBezTo>
                  <a:lnTo>
                    <a:pt x="942990" y="2904"/>
                  </a:lnTo>
                  <a:cubicBezTo>
                    <a:pt x="942901" y="2253"/>
                    <a:pt x="943359" y="1655"/>
                    <a:pt x="944010" y="1567"/>
                  </a:cubicBezTo>
                  <a:cubicBezTo>
                    <a:pt x="944114" y="1552"/>
                    <a:pt x="944221" y="1552"/>
                    <a:pt x="944328" y="1567"/>
                  </a:cubicBezTo>
                  <a:lnTo>
                    <a:pt x="1007597" y="1567"/>
                  </a:lnTo>
                  <a:cubicBezTo>
                    <a:pt x="1008248" y="1479"/>
                    <a:pt x="1008845" y="1935"/>
                    <a:pt x="1008935" y="2586"/>
                  </a:cubicBezTo>
                  <a:cubicBezTo>
                    <a:pt x="1008949" y="2691"/>
                    <a:pt x="1008949" y="2798"/>
                    <a:pt x="1008935" y="2904"/>
                  </a:cubicBezTo>
                  <a:lnTo>
                    <a:pt x="1008935" y="11331"/>
                  </a:lnTo>
                  <a:cubicBezTo>
                    <a:pt x="1009024" y="11982"/>
                    <a:pt x="1008566" y="12581"/>
                    <a:pt x="1007915" y="12669"/>
                  </a:cubicBezTo>
                  <a:cubicBezTo>
                    <a:pt x="1007811" y="12683"/>
                    <a:pt x="1007704" y="12683"/>
                    <a:pt x="1007597" y="12669"/>
                  </a:cubicBezTo>
                  <a:lnTo>
                    <a:pt x="982717" y="12669"/>
                  </a:lnTo>
                  <a:cubicBezTo>
                    <a:pt x="982328" y="12614"/>
                    <a:pt x="981968" y="12885"/>
                    <a:pt x="981915" y="13273"/>
                  </a:cubicBezTo>
                  <a:cubicBezTo>
                    <a:pt x="981906" y="13339"/>
                    <a:pt x="981906" y="13406"/>
                    <a:pt x="981915" y="13471"/>
                  </a:cubicBezTo>
                  <a:lnTo>
                    <a:pt x="981915" y="91187"/>
                  </a:lnTo>
                  <a:cubicBezTo>
                    <a:pt x="982004" y="91837"/>
                    <a:pt x="981546" y="92436"/>
                    <a:pt x="980895" y="92524"/>
                  </a:cubicBezTo>
                  <a:cubicBezTo>
                    <a:pt x="980791" y="92539"/>
                    <a:pt x="980684" y="92539"/>
                    <a:pt x="980577" y="92524"/>
                  </a:cubicBezTo>
                  <a:close/>
                  <a:moveTo>
                    <a:pt x="1023113" y="2904"/>
                  </a:moveTo>
                  <a:cubicBezTo>
                    <a:pt x="1023024" y="2253"/>
                    <a:pt x="1023482" y="1655"/>
                    <a:pt x="1024133" y="1567"/>
                  </a:cubicBezTo>
                  <a:cubicBezTo>
                    <a:pt x="1024237" y="1552"/>
                    <a:pt x="1024344" y="1552"/>
                    <a:pt x="1024451" y="1567"/>
                  </a:cubicBezTo>
                  <a:lnTo>
                    <a:pt x="1033666" y="1567"/>
                  </a:lnTo>
                  <a:cubicBezTo>
                    <a:pt x="1034317" y="1479"/>
                    <a:pt x="1034914" y="1935"/>
                    <a:pt x="1035003" y="2586"/>
                  </a:cubicBezTo>
                  <a:cubicBezTo>
                    <a:pt x="1035018" y="2691"/>
                    <a:pt x="1035018" y="2798"/>
                    <a:pt x="1035003" y="2904"/>
                  </a:cubicBezTo>
                  <a:lnTo>
                    <a:pt x="1035003" y="91187"/>
                  </a:lnTo>
                  <a:cubicBezTo>
                    <a:pt x="1035092" y="91837"/>
                    <a:pt x="1034635" y="92436"/>
                    <a:pt x="1033984" y="92524"/>
                  </a:cubicBezTo>
                  <a:cubicBezTo>
                    <a:pt x="1033880" y="92539"/>
                    <a:pt x="1033773" y="92539"/>
                    <a:pt x="1033666" y="92524"/>
                  </a:cubicBezTo>
                  <a:lnTo>
                    <a:pt x="1024451" y="92524"/>
                  </a:lnTo>
                  <a:cubicBezTo>
                    <a:pt x="1023800" y="92612"/>
                    <a:pt x="1023202" y="92156"/>
                    <a:pt x="1023113" y="91505"/>
                  </a:cubicBezTo>
                  <a:cubicBezTo>
                    <a:pt x="1023098" y="91400"/>
                    <a:pt x="1023098" y="91293"/>
                    <a:pt x="1023113" y="91187"/>
                  </a:cubicBezTo>
                  <a:close/>
                  <a:moveTo>
                    <a:pt x="1056702" y="72594"/>
                  </a:moveTo>
                  <a:cubicBezTo>
                    <a:pt x="1056256" y="71256"/>
                    <a:pt x="1055876" y="69897"/>
                    <a:pt x="1055564" y="68516"/>
                  </a:cubicBezTo>
                  <a:cubicBezTo>
                    <a:pt x="1055213" y="66883"/>
                    <a:pt x="1054969" y="65230"/>
                    <a:pt x="1054830" y="63567"/>
                  </a:cubicBezTo>
                  <a:cubicBezTo>
                    <a:pt x="1054651" y="61650"/>
                    <a:pt x="1054518" y="59354"/>
                    <a:pt x="1054428" y="56676"/>
                  </a:cubicBezTo>
                  <a:cubicBezTo>
                    <a:pt x="1054339" y="53999"/>
                    <a:pt x="1054295" y="50789"/>
                    <a:pt x="1054295" y="47046"/>
                  </a:cubicBezTo>
                  <a:cubicBezTo>
                    <a:pt x="1054295" y="43300"/>
                    <a:pt x="1054339" y="40090"/>
                    <a:pt x="1054428" y="37415"/>
                  </a:cubicBezTo>
                  <a:cubicBezTo>
                    <a:pt x="1054518" y="34739"/>
                    <a:pt x="1054651" y="32444"/>
                    <a:pt x="1054830" y="30527"/>
                  </a:cubicBezTo>
                  <a:cubicBezTo>
                    <a:pt x="1054969" y="28864"/>
                    <a:pt x="1055213" y="27211"/>
                    <a:pt x="1055564" y="25578"/>
                  </a:cubicBezTo>
                  <a:cubicBezTo>
                    <a:pt x="1055876" y="24191"/>
                    <a:pt x="1056256" y="22832"/>
                    <a:pt x="1056702" y="21500"/>
                  </a:cubicBezTo>
                  <a:cubicBezTo>
                    <a:pt x="1058507" y="15006"/>
                    <a:pt x="1062469" y="9321"/>
                    <a:pt x="1067938" y="5383"/>
                  </a:cubicBezTo>
                  <a:cubicBezTo>
                    <a:pt x="1073583" y="1724"/>
                    <a:pt x="1080209" y="-120"/>
                    <a:pt x="1086932" y="98"/>
                  </a:cubicBezTo>
                  <a:cubicBezTo>
                    <a:pt x="1093175" y="-45"/>
                    <a:pt x="1099325" y="1605"/>
                    <a:pt x="1104654" y="4854"/>
                  </a:cubicBezTo>
                  <a:cubicBezTo>
                    <a:pt x="1109764" y="8104"/>
                    <a:pt x="1113756" y="12842"/>
                    <a:pt x="1116092" y="18429"/>
                  </a:cubicBezTo>
                  <a:cubicBezTo>
                    <a:pt x="1116416" y="19058"/>
                    <a:pt x="1116179" y="19830"/>
                    <a:pt x="1115557" y="20168"/>
                  </a:cubicBezTo>
                  <a:lnTo>
                    <a:pt x="1107532" y="24047"/>
                  </a:lnTo>
                  <a:cubicBezTo>
                    <a:pt x="1107008" y="24443"/>
                    <a:pt x="1106262" y="24340"/>
                    <a:pt x="1105867" y="23816"/>
                  </a:cubicBezTo>
                  <a:cubicBezTo>
                    <a:pt x="1105769" y="23686"/>
                    <a:pt x="1105698" y="23537"/>
                    <a:pt x="1105659" y="23379"/>
                  </a:cubicBezTo>
                  <a:cubicBezTo>
                    <a:pt x="1103994" y="19957"/>
                    <a:pt x="1101569" y="16961"/>
                    <a:pt x="1098570" y="14619"/>
                  </a:cubicBezTo>
                  <a:cubicBezTo>
                    <a:pt x="1095184" y="12208"/>
                    <a:pt x="1091085" y="11007"/>
                    <a:pt x="1086932" y="11209"/>
                  </a:cubicBezTo>
                  <a:cubicBezTo>
                    <a:pt x="1082643" y="10998"/>
                    <a:pt x="1078407" y="12221"/>
                    <a:pt x="1074894" y="14687"/>
                  </a:cubicBezTo>
                  <a:cubicBezTo>
                    <a:pt x="1071690" y="17241"/>
                    <a:pt x="1069311" y="20685"/>
                    <a:pt x="1068057" y="24585"/>
                  </a:cubicBezTo>
                  <a:cubicBezTo>
                    <a:pt x="1067790" y="25576"/>
                    <a:pt x="1067546" y="26625"/>
                    <a:pt x="1067323" y="27730"/>
                  </a:cubicBezTo>
                  <a:cubicBezTo>
                    <a:pt x="1067064" y="29106"/>
                    <a:pt x="1066886" y="30496"/>
                    <a:pt x="1066788" y="31892"/>
                  </a:cubicBezTo>
                  <a:cubicBezTo>
                    <a:pt x="1066654" y="33541"/>
                    <a:pt x="1066541" y="35592"/>
                    <a:pt x="1066455" y="38045"/>
                  </a:cubicBezTo>
                  <a:cubicBezTo>
                    <a:pt x="1066369" y="40498"/>
                    <a:pt x="1066324" y="43508"/>
                    <a:pt x="1066321" y="47075"/>
                  </a:cubicBezTo>
                  <a:cubicBezTo>
                    <a:pt x="1066321" y="50642"/>
                    <a:pt x="1066366" y="53651"/>
                    <a:pt x="1066455" y="56103"/>
                  </a:cubicBezTo>
                  <a:cubicBezTo>
                    <a:pt x="1066544" y="58554"/>
                    <a:pt x="1066654" y="60605"/>
                    <a:pt x="1066788" y="62256"/>
                  </a:cubicBezTo>
                  <a:cubicBezTo>
                    <a:pt x="1066892" y="63669"/>
                    <a:pt x="1067070" y="65076"/>
                    <a:pt x="1067323" y="66471"/>
                  </a:cubicBezTo>
                  <a:cubicBezTo>
                    <a:pt x="1067516" y="67508"/>
                    <a:pt x="1067760" y="68535"/>
                    <a:pt x="1068057" y="69547"/>
                  </a:cubicBezTo>
                  <a:cubicBezTo>
                    <a:pt x="1069311" y="73448"/>
                    <a:pt x="1071690" y="76891"/>
                    <a:pt x="1074894" y="79446"/>
                  </a:cubicBezTo>
                  <a:cubicBezTo>
                    <a:pt x="1078407" y="81911"/>
                    <a:pt x="1082643" y="83135"/>
                    <a:pt x="1086932" y="82923"/>
                  </a:cubicBezTo>
                  <a:cubicBezTo>
                    <a:pt x="1091085" y="83125"/>
                    <a:pt x="1095184" y="81922"/>
                    <a:pt x="1098570" y="79511"/>
                  </a:cubicBezTo>
                  <a:cubicBezTo>
                    <a:pt x="1101569" y="77168"/>
                    <a:pt x="1103994" y="74172"/>
                    <a:pt x="1105659" y="70751"/>
                  </a:cubicBezTo>
                  <a:cubicBezTo>
                    <a:pt x="1105814" y="70113"/>
                    <a:pt x="1106456" y="69720"/>
                    <a:pt x="1107095" y="69875"/>
                  </a:cubicBezTo>
                  <a:cubicBezTo>
                    <a:pt x="1107252" y="69913"/>
                    <a:pt x="1107401" y="69984"/>
                    <a:pt x="1107532" y="70082"/>
                  </a:cubicBezTo>
                  <a:lnTo>
                    <a:pt x="1115557" y="73946"/>
                  </a:lnTo>
                  <a:cubicBezTo>
                    <a:pt x="1116179" y="74285"/>
                    <a:pt x="1116416" y="75057"/>
                    <a:pt x="1116092" y="75685"/>
                  </a:cubicBezTo>
                  <a:cubicBezTo>
                    <a:pt x="1113756" y="81273"/>
                    <a:pt x="1109764" y="86011"/>
                    <a:pt x="1104654" y="89261"/>
                  </a:cubicBezTo>
                  <a:cubicBezTo>
                    <a:pt x="1099325" y="92510"/>
                    <a:pt x="1093175" y="94160"/>
                    <a:pt x="1086932" y="94017"/>
                  </a:cubicBezTo>
                  <a:cubicBezTo>
                    <a:pt x="1080209" y="94235"/>
                    <a:pt x="1073583" y="92391"/>
                    <a:pt x="1067938" y="88732"/>
                  </a:cubicBezTo>
                  <a:cubicBezTo>
                    <a:pt x="1062463" y="84794"/>
                    <a:pt x="1058492" y="79107"/>
                    <a:pt x="1056687" y="72609"/>
                  </a:cubicBezTo>
                  <a:close/>
                  <a:moveTo>
                    <a:pt x="1160769" y="93996"/>
                  </a:moveTo>
                  <a:cubicBezTo>
                    <a:pt x="1157579" y="93998"/>
                    <a:pt x="1154399" y="93684"/>
                    <a:pt x="1151272" y="93059"/>
                  </a:cubicBezTo>
                  <a:cubicBezTo>
                    <a:pt x="1148269" y="92468"/>
                    <a:pt x="1145318" y="91640"/>
                    <a:pt x="1142443" y="90583"/>
                  </a:cubicBezTo>
                  <a:cubicBezTo>
                    <a:pt x="1139798" y="89614"/>
                    <a:pt x="1137245" y="88405"/>
                    <a:pt x="1134819" y="86972"/>
                  </a:cubicBezTo>
                  <a:cubicBezTo>
                    <a:pt x="1132673" y="85720"/>
                    <a:pt x="1130652" y="84264"/>
                    <a:pt x="1128785" y="82626"/>
                  </a:cubicBezTo>
                  <a:cubicBezTo>
                    <a:pt x="1128196" y="82145"/>
                    <a:pt x="1128110" y="81278"/>
                    <a:pt x="1128589" y="80689"/>
                  </a:cubicBezTo>
                  <a:cubicBezTo>
                    <a:pt x="1128609" y="80665"/>
                    <a:pt x="1128630" y="80642"/>
                    <a:pt x="1128651" y="80620"/>
                  </a:cubicBezTo>
                  <a:lnTo>
                    <a:pt x="1134537" y="73664"/>
                  </a:lnTo>
                  <a:cubicBezTo>
                    <a:pt x="1134932" y="73116"/>
                    <a:pt x="1135699" y="72993"/>
                    <a:pt x="1136246" y="73389"/>
                  </a:cubicBezTo>
                  <a:cubicBezTo>
                    <a:pt x="1136305" y="73431"/>
                    <a:pt x="1136359" y="73479"/>
                    <a:pt x="1136409" y="73530"/>
                  </a:cubicBezTo>
                  <a:cubicBezTo>
                    <a:pt x="1139792" y="76108"/>
                    <a:pt x="1143475" y="78264"/>
                    <a:pt x="1147378" y="79951"/>
                  </a:cubicBezTo>
                  <a:cubicBezTo>
                    <a:pt x="1151929" y="81950"/>
                    <a:pt x="1156854" y="82953"/>
                    <a:pt x="1161824" y="82894"/>
                  </a:cubicBezTo>
                  <a:cubicBezTo>
                    <a:pt x="1167097" y="83216"/>
                    <a:pt x="1172320" y="81703"/>
                    <a:pt x="1176606" y="78613"/>
                  </a:cubicBezTo>
                  <a:cubicBezTo>
                    <a:pt x="1180051" y="75920"/>
                    <a:pt x="1182013" y="71749"/>
                    <a:pt x="1181888" y="67377"/>
                  </a:cubicBezTo>
                  <a:cubicBezTo>
                    <a:pt x="1181912" y="65551"/>
                    <a:pt x="1181594" y="63736"/>
                    <a:pt x="1180952" y="62027"/>
                  </a:cubicBezTo>
                  <a:cubicBezTo>
                    <a:pt x="1180283" y="60358"/>
                    <a:pt x="1179201" y="58886"/>
                    <a:pt x="1177810" y="57746"/>
                  </a:cubicBezTo>
                  <a:cubicBezTo>
                    <a:pt x="1176071" y="56348"/>
                    <a:pt x="1174100" y="55261"/>
                    <a:pt x="1171990" y="54536"/>
                  </a:cubicBezTo>
                  <a:cubicBezTo>
                    <a:pt x="1169044" y="53523"/>
                    <a:pt x="1165991" y="52850"/>
                    <a:pt x="1162894" y="52530"/>
                  </a:cubicBezTo>
                  <a:lnTo>
                    <a:pt x="1158346" y="51861"/>
                  </a:lnTo>
                  <a:cubicBezTo>
                    <a:pt x="1140511" y="49453"/>
                    <a:pt x="1131594" y="41071"/>
                    <a:pt x="1131594" y="26714"/>
                  </a:cubicBezTo>
                  <a:cubicBezTo>
                    <a:pt x="1131546" y="22955"/>
                    <a:pt x="1132254" y="19226"/>
                    <a:pt x="1133675" y="15745"/>
                  </a:cubicBezTo>
                  <a:cubicBezTo>
                    <a:pt x="1134997" y="12526"/>
                    <a:pt x="1137031" y="9645"/>
                    <a:pt x="1139620" y="7318"/>
                  </a:cubicBezTo>
                  <a:cubicBezTo>
                    <a:pt x="1142345" y="4919"/>
                    <a:pt x="1145532" y="3099"/>
                    <a:pt x="1148983" y="1968"/>
                  </a:cubicBezTo>
                  <a:cubicBezTo>
                    <a:pt x="1152954" y="670"/>
                    <a:pt x="1157113" y="38"/>
                    <a:pt x="1161289" y="95"/>
                  </a:cubicBezTo>
                  <a:cubicBezTo>
                    <a:pt x="1166485" y="71"/>
                    <a:pt x="1171651" y="861"/>
                    <a:pt x="1176603" y="2435"/>
                  </a:cubicBezTo>
                  <a:cubicBezTo>
                    <a:pt x="1181029" y="3780"/>
                    <a:pt x="1185208" y="5836"/>
                    <a:pt x="1188978" y="8522"/>
                  </a:cubicBezTo>
                  <a:cubicBezTo>
                    <a:pt x="1189551" y="8842"/>
                    <a:pt x="1189756" y="9566"/>
                    <a:pt x="1189435" y="10140"/>
                  </a:cubicBezTo>
                  <a:cubicBezTo>
                    <a:pt x="1189385" y="10233"/>
                    <a:pt x="1189319" y="10319"/>
                    <a:pt x="1189245" y="10395"/>
                  </a:cubicBezTo>
                  <a:lnTo>
                    <a:pt x="1184697" y="17752"/>
                  </a:lnTo>
                  <a:cubicBezTo>
                    <a:pt x="1184281" y="18339"/>
                    <a:pt x="1183470" y="18478"/>
                    <a:pt x="1182881" y="18063"/>
                  </a:cubicBezTo>
                  <a:cubicBezTo>
                    <a:pt x="1182863" y="18049"/>
                    <a:pt x="1182842" y="18034"/>
                    <a:pt x="1182825" y="18019"/>
                  </a:cubicBezTo>
                  <a:cubicBezTo>
                    <a:pt x="1179436" y="15866"/>
                    <a:pt x="1175798" y="14134"/>
                    <a:pt x="1171990" y="12862"/>
                  </a:cubicBezTo>
                  <a:cubicBezTo>
                    <a:pt x="1168399" y="11733"/>
                    <a:pt x="1164654" y="11171"/>
                    <a:pt x="1160888" y="11197"/>
                  </a:cubicBezTo>
                  <a:cubicBezTo>
                    <a:pt x="1156245" y="10871"/>
                    <a:pt x="1151652" y="12330"/>
                    <a:pt x="1148047" y="15276"/>
                  </a:cubicBezTo>
                  <a:cubicBezTo>
                    <a:pt x="1145104" y="18012"/>
                    <a:pt x="1143496" y="21895"/>
                    <a:pt x="1143647" y="25911"/>
                  </a:cubicBezTo>
                  <a:cubicBezTo>
                    <a:pt x="1143555" y="29544"/>
                    <a:pt x="1145134" y="33018"/>
                    <a:pt x="1147928" y="35340"/>
                  </a:cubicBezTo>
                  <a:cubicBezTo>
                    <a:pt x="1152315" y="38370"/>
                    <a:pt x="1157440" y="40155"/>
                    <a:pt x="1162760" y="40506"/>
                  </a:cubicBezTo>
                  <a:lnTo>
                    <a:pt x="1167174" y="41175"/>
                  </a:lnTo>
                  <a:cubicBezTo>
                    <a:pt x="1174519" y="41767"/>
                    <a:pt x="1181511" y="44565"/>
                    <a:pt x="1187239" y="49201"/>
                  </a:cubicBezTo>
                  <a:cubicBezTo>
                    <a:pt x="1191882" y="53754"/>
                    <a:pt x="1194322" y="60098"/>
                    <a:pt x="1193927" y="66590"/>
                  </a:cubicBezTo>
                  <a:cubicBezTo>
                    <a:pt x="1193968" y="70369"/>
                    <a:pt x="1193261" y="74119"/>
                    <a:pt x="1191846" y="77623"/>
                  </a:cubicBezTo>
                  <a:cubicBezTo>
                    <a:pt x="1190470" y="80958"/>
                    <a:pt x="1188312" y="83913"/>
                    <a:pt x="1185559" y="86244"/>
                  </a:cubicBezTo>
                  <a:cubicBezTo>
                    <a:pt x="1182483" y="88799"/>
                    <a:pt x="1178939" y="90730"/>
                    <a:pt x="1175126" y="91930"/>
                  </a:cubicBezTo>
                  <a:cubicBezTo>
                    <a:pt x="1170477" y="93384"/>
                    <a:pt x="1165623" y="94081"/>
                    <a:pt x="1160754" y="93996"/>
                  </a:cubicBezTo>
                  <a:close/>
                </a:path>
              </a:pathLst>
            </a:custGeom>
            <a:solidFill>
              <a:schemeClr val="bg1"/>
            </a:solidFill>
            <a:ln w="2965" cap="flat">
              <a:noFill/>
              <a:prstDash val="solid"/>
              <a:miter/>
            </a:ln>
          </p:spPr>
          <p:txBody>
            <a:bodyPr rtlCol="0" anchor="ctr"/>
            <a:lstStyle/>
            <a:p>
              <a:endParaRPr lang="de-DE"/>
            </a:p>
          </p:txBody>
        </p:sp>
      </p:grpSp>
      <p:sp>
        <p:nvSpPr>
          <p:cNvPr id="47" name="Rectangle 46">
            <a:extLst>
              <a:ext uri="{FF2B5EF4-FFF2-40B4-BE49-F238E27FC236}">
                <a16:creationId xmlns:a16="http://schemas.microsoft.com/office/drawing/2014/main" id="{AC29FF16-C569-49A6-8430-17C2348BA3E1}"/>
              </a:ext>
            </a:extLst>
          </p:cNvPr>
          <p:cNvSpPr/>
          <p:nvPr userDrawn="1"/>
        </p:nvSpPr>
        <p:spPr>
          <a:xfrm>
            <a:off x="407988" y="1600201"/>
            <a:ext cx="4808248" cy="50395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dk1"/>
              </a:solidFill>
            </a:endParaRPr>
          </a:p>
        </p:txBody>
      </p:sp>
      <p:sp>
        <p:nvSpPr>
          <p:cNvPr id="48" name="Picture Placeholder 4">
            <a:extLst>
              <a:ext uri="{FF2B5EF4-FFF2-40B4-BE49-F238E27FC236}">
                <a16:creationId xmlns:a16="http://schemas.microsoft.com/office/drawing/2014/main" id="{E3A45EFA-D0BD-4CB9-B511-00FA49FA5E4A}"/>
              </a:ext>
            </a:extLst>
          </p:cNvPr>
          <p:cNvSpPr>
            <a:spLocks noGrp="1"/>
          </p:cNvSpPr>
          <p:nvPr>
            <p:ph type="pic" sz="quarter" idx="10"/>
          </p:nvPr>
        </p:nvSpPr>
        <p:spPr>
          <a:xfrm>
            <a:off x="1115828" y="2563885"/>
            <a:ext cx="3384000" cy="3384000"/>
          </a:xfrm>
          <a:prstGeom prst="ellipse">
            <a:avLst/>
          </a:prstGeom>
          <a:noFill/>
        </p:spPr>
        <p:txBody>
          <a:bodyPr anchor="ctr" anchorCtr="0"/>
          <a:lstStyle>
            <a:lvl1pPr algn="ctr">
              <a:defRPr/>
            </a:lvl1pPr>
          </a:lstStyle>
          <a:p>
            <a:r>
              <a:rPr lang="de-DE"/>
              <a:t>Bild durch Klicken auf Symbol hinzufügen</a:t>
            </a:r>
            <a:endParaRPr lang="en-US"/>
          </a:p>
        </p:txBody>
      </p:sp>
      <p:grpSp>
        <p:nvGrpSpPr>
          <p:cNvPr id="49" name="Gruppieren 22">
            <a:extLst>
              <a:ext uri="{FF2B5EF4-FFF2-40B4-BE49-F238E27FC236}">
                <a16:creationId xmlns:a16="http://schemas.microsoft.com/office/drawing/2014/main" id="{46EC1B59-8FEB-4023-840D-F5BEE7B7D7DD}"/>
              </a:ext>
            </a:extLst>
          </p:cNvPr>
          <p:cNvGrpSpPr/>
          <p:nvPr userDrawn="1"/>
        </p:nvGrpSpPr>
        <p:grpSpPr>
          <a:xfrm>
            <a:off x="773828" y="2221884"/>
            <a:ext cx="4068000" cy="4068000"/>
            <a:chOff x="11752263" y="8521491"/>
            <a:chExt cx="1188991" cy="1193561"/>
          </a:xfrm>
          <a:solidFill>
            <a:schemeClr val="bg1"/>
          </a:solidFill>
        </p:grpSpPr>
        <p:sp>
          <p:nvSpPr>
            <p:cNvPr id="50" name="Freihandform: Form 25">
              <a:extLst>
                <a:ext uri="{FF2B5EF4-FFF2-40B4-BE49-F238E27FC236}">
                  <a16:creationId xmlns:a16="http://schemas.microsoft.com/office/drawing/2014/main" id="{822434F9-7976-4B30-9158-6F3990C8CF75}"/>
                </a:ext>
              </a:extLst>
            </p:cNvPr>
            <p:cNvSpPr/>
            <p:nvPr/>
          </p:nvSpPr>
          <p:spPr>
            <a:xfrm>
              <a:off x="11752263" y="8646486"/>
              <a:ext cx="293656" cy="950722"/>
            </a:xfrm>
            <a:custGeom>
              <a:avLst/>
              <a:gdLst>
                <a:gd name="connsiteX0" fmla="*/ 105543 w 293656"/>
                <a:gd name="connsiteY0" fmla="*/ 471773 h 950722"/>
                <a:gd name="connsiteX1" fmla="*/ 286887 w 293656"/>
                <a:gd name="connsiteY1" fmla="*/ 91067 h 950722"/>
                <a:gd name="connsiteX2" fmla="*/ 232653 w 293656"/>
                <a:gd name="connsiteY2" fmla="*/ 0 h 950722"/>
                <a:gd name="connsiteX3" fmla="*/ 0 w 293656"/>
                <a:gd name="connsiteY3" fmla="*/ 471773 h 950722"/>
                <a:gd name="connsiteX4" fmla="*/ 242217 w 293656"/>
                <a:gd name="connsiteY4" fmla="*/ 950722 h 950722"/>
                <a:gd name="connsiteX5" fmla="*/ 293657 w 293656"/>
                <a:gd name="connsiteY5" fmla="*/ 857556 h 950722"/>
                <a:gd name="connsiteX6" fmla="*/ 105543 w 293656"/>
                <a:gd name="connsiteY6" fmla="*/ 471773 h 950722"/>
                <a:gd name="connsiteX7" fmla="*/ 105543 w 293656"/>
                <a:gd name="connsiteY7" fmla="*/ 471773 h 95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656" h="950722">
                  <a:moveTo>
                    <a:pt x="105543" y="471773"/>
                  </a:moveTo>
                  <a:cubicBezTo>
                    <a:pt x="105543" y="318333"/>
                    <a:pt x="176333" y="181215"/>
                    <a:pt x="286887" y="91067"/>
                  </a:cubicBezTo>
                  <a:lnTo>
                    <a:pt x="232653" y="0"/>
                  </a:lnTo>
                  <a:cubicBezTo>
                    <a:pt x="91453" y="109238"/>
                    <a:pt x="0" y="279826"/>
                    <a:pt x="0" y="471773"/>
                  </a:cubicBezTo>
                  <a:cubicBezTo>
                    <a:pt x="0" y="668010"/>
                    <a:pt x="95612" y="841878"/>
                    <a:pt x="242217" y="950722"/>
                  </a:cubicBezTo>
                  <a:lnTo>
                    <a:pt x="293657" y="857556"/>
                  </a:lnTo>
                  <a:cubicBezTo>
                    <a:pt x="179337" y="767539"/>
                    <a:pt x="105543" y="628243"/>
                    <a:pt x="105543" y="471773"/>
                  </a:cubicBezTo>
                  <a:lnTo>
                    <a:pt x="105543" y="471773"/>
                  </a:lnTo>
                  <a:close/>
                </a:path>
              </a:pathLst>
            </a:custGeom>
            <a:grpFill/>
            <a:ln w="13" cap="flat">
              <a:noFill/>
              <a:prstDash val="solid"/>
              <a:miter/>
            </a:ln>
          </p:spPr>
          <p:txBody>
            <a:bodyPr rtlCol="0" anchor="ctr"/>
            <a:lstStyle/>
            <a:p>
              <a:endParaRPr lang="de-DE" sz="895"/>
            </a:p>
          </p:txBody>
        </p:sp>
        <p:sp>
          <p:nvSpPr>
            <p:cNvPr id="51" name="Freihandform: Form 28">
              <a:extLst>
                <a:ext uri="{FF2B5EF4-FFF2-40B4-BE49-F238E27FC236}">
                  <a16:creationId xmlns:a16="http://schemas.microsoft.com/office/drawing/2014/main" id="{36BBFE58-09EA-420C-9C50-C6CB50D51F87}"/>
                </a:ext>
              </a:extLst>
            </p:cNvPr>
            <p:cNvSpPr/>
            <p:nvPr/>
          </p:nvSpPr>
          <p:spPr>
            <a:xfrm>
              <a:off x="12121406" y="9188149"/>
              <a:ext cx="819848" cy="526903"/>
            </a:xfrm>
            <a:custGeom>
              <a:avLst/>
              <a:gdLst>
                <a:gd name="connsiteX0" fmla="*/ 227589 w 819848"/>
                <a:gd name="connsiteY0" fmla="*/ 421352 h 526903"/>
                <a:gd name="connsiteX1" fmla="*/ 51571 w 819848"/>
                <a:gd name="connsiteY1" fmla="*/ 388171 h 526903"/>
                <a:gd name="connsiteX2" fmla="*/ 0 w 819848"/>
                <a:gd name="connsiteY2" fmla="*/ 481573 h 526903"/>
                <a:gd name="connsiteX3" fmla="*/ 227589 w 819848"/>
                <a:gd name="connsiteY3" fmla="*/ 526903 h 526903"/>
                <a:gd name="connsiteX4" fmla="*/ 819848 w 819848"/>
                <a:gd name="connsiteY4" fmla="*/ 0 h 526903"/>
                <a:gd name="connsiteX5" fmla="*/ 713190 w 819848"/>
                <a:gd name="connsiteY5" fmla="*/ 0 h 526903"/>
                <a:gd name="connsiteX6" fmla="*/ 227589 w 819848"/>
                <a:gd name="connsiteY6" fmla="*/ 421352 h 526903"/>
                <a:gd name="connsiteX7" fmla="*/ 227589 w 819848"/>
                <a:gd name="connsiteY7" fmla="*/ 421352 h 526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848" h="526903">
                  <a:moveTo>
                    <a:pt x="227589" y="421352"/>
                  </a:moveTo>
                  <a:cubicBezTo>
                    <a:pt x="165497" y="421352"/>
                    <a:pt x="106304" y="409308"/>
                    <a:pt x="51571" y="388171"/>
                  </a:cubicBezTo>
                  <a:lnTo>
                    <a:pt x="0" y="481573"/>
                  </a:lnTo>
                  <a:cubicBezTo>
                    <a:pt x="70187" y="510661"/>
                    <a:pt x="146999" y="526903"/>
                    <a:pt x="227589" y="526903"/>
                  </a:cubicBezTo>
                  <a:cubicBezTo>
                    <a:pt x="532948" y="526903"/>
                    <a:pt x="785083" y="296226"/>
                    <a:pt x="819848" y="0"/>
                  </a:cubicBezTo>
                  <a:lnTo>
                    <a:pt x="713190" y="0"/>
                  </a:lnTo>
                  <a:cubicBezTo>
                    <a:pt x="679081" y="237789"/>
                    <a:pt x="474647" y="421352"/>
                    <a:pt x="227589" y="421352"/>
                  </a:cubicBezTo>
                  <a:lnTo>
                    <a:pt x="227589" y="421352"/>
                  </a:lnTo>
                  <a:close/>
                </a:path>
              </a:pathLst>
            </a:custGeom>
            <a:grpFill/>
            <a:ln w="13" cap="flat">
              <a:noFill/>
              <a:prstDash val="solid"/>
              <a:miter/>
            </a:ln>
          </p:spPr>
          <p:txBody>
            <a:bodyPr rtlCol="0" anchor="ctr"/>
            <a:lstStyle/>
            <a:p>
              <a:endParaRPr lang="de-DE" sz="895"/>
            </a:p>
          </p:txBody>
        </p:sp>
        <p:sp>
          <p:nvSpPr>
            <p:cNvPr id="52" name="Freihandform: Form 29">
              <a:extLst>
                <a:ext uri="{FF2B5EF4-FFF2-40B4-BE49-F238E27FC236}">
                  <a16:creationId xmlns:a16="http://schemas.microsoft.com/office/drawing/2014/main" id="{685FAB41-D05E-4525-902F-C737BACBA316}"/>
                </a:ext>
              </a:extLst>
            </p:cNvPr>
            <p:cNvSpPr/>
            <p:nvPr/>
          </p:nvSpPr>
          <p:spPr>
            <a:xfrm>
              <a:off x="12110465" y="8521491"/>
              <a:ext cx="829805" cy="520474"/>
            </a:xfrm>
            <a:custGeom>
              <a:avLst/>
              <a:gdLst>
                <a:gd name="connsiteX0" fmla="*/ 238530 w 829805"/>
                <a:gd name="connsiteY0" fmla="*/ 105564 h 520474"/>
                <a:gd name="connsiteX1" fmla="*/ 723148 w 829805"/>
                <a:gd name="connsiteY1" fmla="*/ 520474 h 520474"/>
                <a:gd name="connsiteX2" fmla="*/ 829805 w 829805"/>
                <a:gd name="connsiteY2" fmla="*/ 520474 h 520474"/>
                <a:gd name="connsiteX3" fmla="*/ 239304 w 829805"/>
                <a:gd name="connsiteY3" fmla="*/ 0 h 520474"/>
                <a:gd name="connsiteX4" fmla="*/ 235749 w 829805"/>
                <a:gd name="connsiteY4" fmla="*/ 0 h 520474"/>
                <a:gd name="connsiteX5" fmla="*/ 0 w 829805"/>
                <a:gd name="connsiteY5" fmla="*/ 50093 h 520474"/>
                <a:gd name="connsiteX6" fmla="*/ 54523 w 829805"/>
                <a:gd name="connsiteY6" fmla="*/ 141658 h 520474"/>
                <a:gd name="connsiteX7" fmla="*/ 238530 w 829805"/>
                <a:gd name="connsiteY7" fmla="*/ 105564 h 520474"/>
                <a:gd name="connsiteX8" fmla="*/ 238530 w 829805"/>
                <a:gd name="connsiteY8" fmla="*/ 105564 h 520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805" h="520474">
                  <a:moveTo>
                    <a:pt x="238530" y="105564"/>
                  </a:moveTo>
                  <a:cubicBezTo>
                    <a:pt x="483345" y="105564"/>
                    <a:pt x="686309" y="285821"/>
                    <a:pt x="723148" y="520474"/>
                  </a:cubicBezTo>
                  <a:lnTo>
                    <a:pt x="829805" y="520474"/>
                  </a:lnTo>
                  <a:cubicBezTo>
                    <a:pt x="792180" y="227647"/>
                    <a:pt x="542092" y="394"/>
                    <a:pt x="239304" y="0"/>
                  </a:cubicBezTo>
                  <a:lnTo>
                    <a:pt x="235749" y="0"/>
                  </a:lnTo>
                  <a:cubicBezTo>
                    <a:pt x="151945" y="394"/>
                    <a:pt x="72352" y="18408"/>
                    <a:pt x="0" y="50093"/>
                  </a:cubicBezTo>
                  <a:lnTo>
                    <a:pt x="54523" y="141658"/>
                  </a:lnTo>
                  <a:cubicBezTo>
                    <a:pt x="111433" y="118566"/>
                    <a:pt x="173434" y="105564"/>
                    <a:pt x="238530" y="105564"/>
                  </a:cubicBezTo>
                  <a:lnTo>
                    <a:pt x="238530" y="105564"/>
                  </a:lnTo>
                  <a:close/>
                </a:path>
              </a:pathLst>
            </a:custGeom>
            <a:grpFill/>
            <a:ln w="13" cap="flat">
              <a:noFill/>
              <a:prstDash val="solid"/>
              <a:miter/>
            </a:ln>
          </p:spPr>
          <p:txBody>
            <a:bodyPr rtlCol="0" anchor="ctr"/>
            <a:lstStyle/>
            <a:p>
              <a:endParaRPr lang="de-DE" sz="895"/>
            </a:p>
          </p:txBody>
        </p:sp>
      </p:grpSp>
    </p:spTree>
    <p:extLst>
      <p:ext uri="{BB962C8B-B14F-4D97-AF65-F5344CB8AC3E}">
        <p14:creationId xmlns:p14="http://schemas.microsoft.com/office/powerpoint/2010/main" val="8417332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und Inhalt - full width">
    <p:spTree>
      <p:nvGrpSpPr>
        <p:cNvPr id="1" name=""/>
        <p:cNvGrpSpPr/>
        <p:nvPr/>
      </p:nvGrpSpPr>
      <p:grpSpPr>
        <a:xfrm>
          <a:off x="0" y="0"/>
          <a:ext cx="0" cy="0"/>
          <a:chOff x="0" y="0"/>
          <a:chExt cx="0" cy="0"/>
        </a:xfrm>
      </p:grpSpPr>
      <p:sp>
        <p:nvSpPr>
          <p:cNvPr id="2" name="Title 1"/>
          <p:cNvSpPr>
            <a:spLocks noGrp="1"/>
          </p:cNvSpPr>
          <p:nvPr>
            <p:ph type="title"/>
          </p:nvPr>
        </p:nvSpPr>
        <p:spPr>
          <a:xfrm>
            <a:off x="410152" y="307250"/>
            <a:ext cx="8891999" cy="829054"/>
          </a:xfrm>
        </p:spPr>
        <p:txBody>
          <a:bodyPr/>
          <a:lstStyle/>
          <a:p>
            <a:r>
              <a:rPr lang="de-DE"/>
              <a:t>Mastertitelformat bearbeiten</a:t>
            </a:r>
            <a:endParaRPr lang="en-US"/>
          </a:p>
        </p:txBody>
      </p:sp>
      <p:grpSp>
        <p:nvGrpSpPr>
          <p:cNvPr id="3" name="Grafik 11">
            <a:extLst>
              <a:ext uri="{FF2B5EF4-FFF2-40B4-BE49-F238E27FC236}">
                <a16:creationId xmlns:a16="http://schemas.microsoft.com/office/drawing/2014/main" id="{201FB819-9372-486E-858A-26E01AA23246}"/>
              </a:ext>
            </a:extLst>
          </p:cNvPr>
          <p:cNvGrpSpPr/>
          <p:nvPr/>
        </p:nvGrpSpPr>
        <p:grpSpPr>
          <a:xfrm>
            <a:off x="9990772" y="481832"/>
            <a:ext cx="1787285" cy="596782"/>
            <a:chOff x="9990772" y="481832"/>
            <a:chExt cx="1787285" cy="596782"/>
          </a:xfrm>
          <a:solidFill>
            <a:schemeClr val="bg2"/>
          </a:solidFill>
        </p:grpSpPr>
        <p:sp>
          <p:nvSpPr>
            <p:cNvPr id="5" name="Freeform: Shape 4">
              <a:extLst>
                <a:ext uri="{FF2B5EF4-FFF2-40B4-BE49-F238E27FC236}">
                  <a16:creationId xmlns:a16="http://schemas.microsoft.com/office/drawing/2014/main" id="{98288D34-AA92-4A6A-A400-8FA92EB31356}"/>
                </a:ext>
              </a:extLst>
            </p:cNvPr>
            <p:cNvSpPr/>
            <p:nvPr/>
          </p:nvSpPr>
          <p:spPr>
            <a:xfrm>
              <a:off x="9990772" y="544329"/>
              <a:ext cx="147751" cy="475361"/>
            </a:xfrm>
            <a:custGeom>
              <a:avLst/>
              <a:gdLst>
                <a:gd name="connsiteX0" fmla="*/ 53103 w 147751"/>
                <a:gd name="connsiteY0" fmla="*/ 235887 h 475361"/>
                <a:gd name="connsiteX1" fmla="*/ 144346 w 147751"/>
                <a:gd name="connsiteY1" fmla="*/ 45533 h 475361"/>
                <a:gd name="connsiteX2" fmla="*/ 117058 w 147751"/>
                <a:gd name="connsiteY2" fmla="*/ 0 h 475361"/>
                <a:gd name="connsiteX3" fmla="*/ 0 w 147751"/>
                <a:gd name="connsiteY3" fmla="*/ 235887 h 475361"/>
                <a:gd name="connsiteX4" fmla="*/ 121870 w 147751"/>
                <a:gd name="connsiteY4" fmla="*/ 475362 h 475361"/>
                <a:gd name="connsiteX5" fmla="*/ 147752 w 147751"/>
                <a:gd name="connsiteY5" fmla="*/ 428779 h 475361"/>
                <a:gd name="connsiteX6" fmla="*/ 53103 w 147751"/>
                <a:gd name="connsiteY6" fmla="*/ 235887 h 475361"/>
                <a:gd name="connsiteX7" fmla="*/ 53103 w 147751"/>
                <a:gd name="connsiteY7" fmla="*/ 235887 h 47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751" h="475361">
                  <a:moveTo>
                    <a:pt x="53103" y="235887"/>
                  </a:moveTo>
                  <a:cubicBezTo>
                    <a:pt x="53103" y="159167"/>
                    <a:pt x="88721" y="90608"/>
                    <a:pt x="144346" y="45533"/>
                  </a:cubicBezTo>
                  <a:lnTo>
                    <a:pt x="117058" y="0"/>
                  </a:lnTo>
                  <a:cubicBezTo>
                    <a:pt x="46014" y="54619"/>
                    <a:pt x="0" y="139913"/>
                    <a:pt x="0" y="235887"/>
                  </a:cubicBezTo>
                  <a:cubicBezTo>
                    <a:pt x="0" y="334006"/>
                    <a:pt x="48106" y="420940"/>
                    <a:pt x="121870" y="475362"/>
                  </a:cubicBezTo>
                  <a:lnTo>
                    <a:pt x="147752" y="428779"/>
                  </a:lnTo>
                  <a:cubicBezTo>
                    <a:pt x="90233" y="383770"/>
                    <a:pt x="53103" y="314122"/>
                    <a:pt x="53103" y="235887"/>
                  </a:cubicBezTo>
                  <a:lnTo>
                    <a:pt x="53103" y="235887"/>
                  </a:lnTo>
                  <a:close/>
                </a:path>
              </a:pathLst>
            </a:custGeom>
            <a:solidFill>
              <a:schemeClr val="bg2"/>
            </a:solidFill>
            <a:ln w="7" cap="flat">
              <a:noFill/>
              <a:prstDash val="solid"/>
              <a:miter/>
            </a:ln>
          </p:spPr>
          <p:txBody>
            <a:bodyPr rtlCol="0" anchor="ctr"/>
            <a:lstStyle/>
            <a:p>
              <a:endParaRPr lang="de-DE"/>
            </a:p>
          </p:txBody>
        </p:sp>
        <p:sp>
          <p:nvSpPr>
            <p:cNvPr id="6" name="Freeform: Shape 5">
              <a:extLst>
                <a:ext uri="{FF2B5EF4-FFF2-40B4-BE49-F238E27FC236}">
                  <a16:creationId xmlns:a16="http://schemas.microsoft.com/office/drawing/2014/main" id="{EF14F8F4-812A-4A4C-8887-08DA3933E2B2}"/>
                </a:ext>
              </a:extLst>
            </p:cNvPr>
            <p:cNvSpPr/>
            <p:nvPr/>
          </p:nvSpPr>
          <p:spPr>
            <a:xfrm>
              <a:off x="10176504" y="815161"/>
              <a:ext cx="412502" cy="263452"/>
            </a:xfrm>
            <a:custGeom>
              <a:avLst/>
              <a:gdLst>
                <a:gd name="connsiteX0" fmla="*/ 114510 w 412502"/>
                <a:gd name="connsiteY0" fmla="*/ 210676 h 263452"/>
                <a:gd name="connsiteX1" fmla="*/ 25948 w 412502"/>
                <a:gd name="connsiteY1" fmla="*/ 194086 h 263452"/>
                <a:gd name="connsiteX2" fmla="*/ 0 w 412502"/>
                <a:gd name="connsiteY2" fmla="*/ 240787 h 263452"/>
                <a:gd name="connsiteX3" fmla="*/ 114510 w 412502"/>
                <a:gd name="connsiteY3" fmla="*/ 263452 h 263452"/>
                <a:gd name="connsiteX4" fmla="*/ 412502 w 412502"/>
                <a:gd name="connsiteY4" fmla="*/ 0 h 263452"/>
                <a:gd name="connsiteX5" fmla="*/ 358838 w 412502"/>
                <a:gd name="connsiteY5" fmla="*/ 0 h 263452"/>
                <a:gd name="connsiteX6" fmla="*/ 114510 w 412502"/>
                <a:gd name="connsiteY6" fmla="*/ 210676 h 263452"/>
                <a:gd name="connsiteX7" fmla="*/ 114510 w 412502"/>
                <a:gd name="connsiteY7" fmla="*/ 210676 h 26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502" h="263452">
                  <a:moveTo>
                    <a:pt x="114510" y="210676"/>
                  </a:moveTo>
                  <a:cubicBezTo>
                    <a:pt x="83269" y="210676"/>
                    <a:pt x="53486" y="204654"/>
                    <a:pt x="25948" y="194086"/>
                  </a:cubicBezTo>
                  <a:lnTo>
                    <a:pt x="0" y="240787"/>
                  </a:lnTo>
                  <a:cubicBezTo>
                    <a:pt x="35314" y="255331"/>
                    <a:pt x="73962" y="263452"/>
                    <a:pt x="114510" y="263452"/>
                  </a:cubicBezTo>
                  <a:cubicBezTo>
                    <a:pt x="268150" y="263452"/>
                    <a:pt x="395010" y="148113"/>
                    <a:pt x="412502" y="0"/>
                  </a:cubicBezTo>
                  <a:lnTo>
                    <a:pt x="358838" y="0"/>
                  </a:lnTo>
                  <a:cubicBezTo>
                    <a:pt x="341676" y="118895"/>
                    <a:pt x="238816" y="210676"/>
                    <a:pt x="114510" y="210676"/>
                  </a:cubicBezTo>
                  <a:lnTo>
                    <a:pt x="114510" y="210676"/>
                  </a:lnTo>
                  <a:close/>
                </a:path>
              </a:pathLst>
            </a:custGeom>
            <a:solidFill>
              <a:schemeClr val="bg2"/>
            </a:solidFill>
            <a:ln w="7" cap="flat">
              <a:noFill/>
              <a:prstDash val="solid"/>
              <a:miter/>
            </a:ln>
          </p:spPr>
          <p:txBody>
            <a:bodyPr rtlCol="0" anchor="ctr"/>
            <a:lstStyle/>
            <a:p>
              <a:endParaRPr lang="de-DE"/>
            </a:p>
          </p:txBody>
        </p:sp>
        <p:sp>
          <p:nvSpPr>
            <p:cNvPr id="7" name="Freeform: Shape 6">
              <a:extLst>
                <a:ext uri="{FF2B5EF4-FFF2-40B4-BE49-F238E27FC236}">
                  <a16:creationId xmlns:a16="http://schemas.microsoft.com/office/drawing/2014/main" id="{01CCF149-6826-4787-8A8D-6B757893ABA2}"/>
                </a:ext>
              </a:extLst>
            </p:cNvPr>
            <p:cNvSpPr/>
            <p:nvPr/>
          </p:nvSpPr>
          <p:spPr>
            <a:xfrm>
              <a:off x="10170999" y="481832"/>
              <a:ext cx="417512" cy="260237"/>
            </a:xfrm>
            <a:custGeom>
              <a:avLst/>
              <a:gdLst>
                <a:gd name="connsiteX0" fmla="*/ 120015 w 417512"/>
                <a:gd name="connsiteY0" fmla="*/ 52782 h 260237"/>
                <a:gd name="connsiteX1" fmla="*/ 363848 w 417512"/>
                <a:gd name="connsiteY1" fmla="*/ 260238 h 260237"/>
                <a:gd name="connsiteX2" fmla="*/ 417512 w 417512"/>
                <a:gd name="connsiteY2" fmla="*/ 260238 h 260237"/>
                <a:gd name="connsiteX3" fmla="*/ 120405 w 417512"/>
                <a:gd name="connsiteY3" fmla="*/ 0 h 260237"/>
                <a:gd name="connsiteX4" fmla="*/ 118616 w 417512"/>
                <a:gd name="connsiteY4" fmla="*/ 0 h 260237"/>
                <a:gd name="connsiteX5" fmla="*/ 0 w 417512"/>
                <a:gd name="connsiteY5" fmla="*/ 25046 h 260237"/>
                <a:gd name="connsiteX6" fmla="*/ 27433 w 417512"/>
                <a:gd name="connsiteY6" fmla="*/ 70829 h 260237"/>
                <a:gd name="connsiteX7" fmla="*/ 120015 w 417512"/>
                <a:gd name="connsiteY7" fmla="*/ 52782 h 260237"/>
                <a:gd name="connsiteX8" fmla="*/ 120015 w 417512"/>
                <a:gd name="connsiteY8" fmla="*/ 52782 h 26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512" h="260237">
                  <a:moveTo>
                    <a:pt x="120015" y="52782"/>
                  </a:moveTo>
                  <a:cubicBezTo>
                    <a:pt x="243192" y="52782"/>
                    <a:pt x="345313" y="142911"/>
                    <a:pt x="363848" y="260238"/>
                  </a:cubicBezTo>
                  <a:lnTo>
                    <a:pt x="417512" y="260238"/>
                  </a:lnTo>
                  <a:cubicBezTo>
                    <a:pt x="398581" y="113824"/>
                    <a:pt x="272751" y="197"/>
                    <a:pt x="120405" y="0"/>
                  </a:cubicBezTo>
                  <a:lnTo>
                    <a:pt x="118616" y="0"/>
                  </a:lnTo>
                  <a:cubicBezTo>
                    <a:pt x="76450" y="197"/>
                    <a:pt x="36403" y="9204"/>
                    <a:pt x="0" y="25046"/>
                  </a:cubicBezTo>
                  <a:lnTo>
                    <a:pt x="27433" y="70829"/>
                  </a:lnTo>
                  <a:cubicBezTo>
                    <a:pt x="56067" y="59283"/>
                    <a:pt x="87262" y="52782"/>
                    <a:pt x="120015" y="52782"/>
                  </a:cubicBezTo>
                  <a:lnTo>
                    <a:pt x="120015" y="52782"/>
                  </a:lnTo>
                  <a:close/>
                </a:path>
              </a:pathLst>
            </a:custGeom>
            <a:solidFill>
              <a:schemeClr val="bg2"/>
            </a:solidFill>
            <a:ln w="7" cap="flat">
              <a:noFill/>
              <a:prstDash val="solid"/>
              <a:miter/>
            </a:ln>
          </p:spPr>
          <p:txBody>
            <a:bodyPr rtlCol="0" anchor="ctr"/>
            <a:lstStyle/>
            <a:p>
              <a:endParaRPr lang="de-DE"/>
            </a:p>
          </p:txBody>
        </p:sp>
        <p:sp>
          <p:nvSpPr>
            <p:cNvPr id="8" name="Freeform: Shape 7">
              <a:extLst>
                <a:ext uri="{FF2B5EF4-FFF2-40B4-BE49-F238E27FC236}">
                  <a16:creationId xmlns:a16="http://schemas.microsoft.com/office/drawing/2014/main" id="{1B0F35EF-5E10-4273-9E70-925557D7FA3C}"/>
                </a:ext>
              </a:extLst>
            </p:cNvPr>
            <p:cNvSpPr/>
            <p:nvPr/>
          </p:nvSpPr>
          <p:spPr>
            <a:xfrm>
              <a:off x="10716638" y="509266"/>
              <a:ext cx="108306" cy="130604"/>
            </a:xfrm>
            <a:custGeom>
              <a:avLst/>
              <a:gdLst>
                <a:gd name="connsiteX0" fmla="*/ 45744 w 108306"/>
                <a:gd name="connsiteY0" fmla="*/ 1909 h 130604"/>
                <a:gd name="connsiteX1" fmla="*/ 48054 w 108306"/>
                <a:gd name="connsiteY1" fmla="*/ 0 h 130604"/>
                <a:gd name="connsiteX2" fmla="*/ 60629 w 108306"/>
                <a:gd name="connsiteY2" fmla="*/ 0 h 130604"/>
                <a:gd name="connsiteX3" fmla="*/ 63137 w 108306"/>
                <a:gd name="connsiteY3" fmla="*/ 1909 h 130604"/>
                <a:gd name="connsiteX4" fmla="*/ 108174 w 108306"/>
                <a:gd name="connsiteY4" fmla="*/ 128682 h 130604"/>
                <a:gd name="connsiteX5" fmla="*/ 106821 w 108306"/>
                <a:gd name="connsiteY5" fmla="*/ 130604 h 130604"/>
                <a:gd name="connsiteX6" fmla="*/ 93296 w 108306"/>
                <a:gd name="connsiteY6" fmla="*/ 130604 h 130604"/>
                <a:gd name="connsiteX7" fmla="*/ 90781 w 108306"/>
                <a:gd name="connsiteY7" fmla="*/ 128682 h 130604"/>
                <a:gd name="connsiteX8" fmla="*/ 80722 w 108306"/>
                <a:gd name="connsiteY8" fmla="*/ 100257 h 130604"/>
                <a:gd name="connsiteX9" fmla="*/ 27566 w 108306"/>
                <a:gd name="connsiteY9" fmla="*/ 100257 h 130604"/>
                <a:gd name="connsiteX10" fmla="*/ 17532 w 108306"/>
                <a:gd name="connsiteY10" fmla="*/ 128682 h 130604"/>
                <a:gd name="connsiteX11" fmla="*/ 15018 w 108306"/>
                <a:gd name="connsiteY11" fmla="*/ 130604 h 130604"/>
                <a:gd name="connsiteX12" fmla="*/ 1473 w 108306"/>
                <a:gd name="connsiteY12" fmla="*/ 130604 h 130604"/>
                <a:gd name="connsiteX13" fmla="*/ 139 w 108306"/>
                <a:gd name="connsiteY13" fmla="*/ 128682 h 130604"/>
                <a:gd name="connsiteX14" fmla="*/ 45744 w 108306"/>
                <a:gd name="connsiteY14" fmla="*/ 1909 h 130604"/>
                <a:gd name="connsiteX15" fmla="*/ 75118 w 108306"/>
                <a:gd name="connsiteY15" fmla="*/ 84513 h 130604"/>
                <a:gd name="connsiteX16" fmla="*/ 54431 w 108306"/>
                <a:gd name="connsiteY16" fmla="*/ 25158 h 130604"/>
                <a:gd name="connsiteX17" fmla="*/ 54048 w 108306"/>
                <a:gd name="connsiteY17" fmla="*/ 25158 h 130604"/>
                <a:gd name="connsiteX18" fmla="*/ 33176 w 108306"/>
                <a:gd name="connsiteY18" fmla="*/ 84513 h 130604"/>
                <a:gd name="connsiteX19" fmla="*/ 75118 w 108306"/>
                <a:gd name="connsiteY19" fmla="*/ 84513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306" h="130604">
                  <a:moveTo>
                    <a:pt x="45744" y="1909"/>
                  </a:moveTo>
                  <a:cubicBezTo>
                    <a:pt x="46120" y="636"/>
                    <a:pt x="46899" y="0"/>
                    <a:pt x="48054" y="0"/>
                  </a:cubicBezTo>
                  <a:lnTo>
                    <a:pt x="60629" y="0"/>
                  </a:lnTo>
                  <a:cubicBezTo>
                    <a:pt x="61903" y="0"/>
                    <a:pt x="62754" y="636"/>
                    <a:pt x="63137" y="1909"/>
                  </a:cubicBezTo>
                  <a:lnTo>
                    <a:pt x="108174" y="128682"/>
                  </a:lnTo>
                  <a:cubicBezTo>
                    <a:pt x="108557" y="129961"/>
                    <a:pt x="108108" y="130604"/>
                    <a:pt x="106821" y="130604"/>
                  </a:cubicBezTo>
                  <a:lnTo>
                    <a:pt x="93296" y="130604"/>
                  </a:lnTo>
                  <a:cubicBezTo>
                    <a:pt x="92002" y="130604"/>
                    <a:pt x="91171" y="129961"/>
                    <a:pt x="90781" y="128682"/>
                  </a:cubicBezTo>
                  <a:lnTo>
                    <a:pt x="80722" y="100257"/>
                  </a:lnTo>
                  <a:lnTo>
                    <a:pt x="27566" y="100257"/>
                  </a:lnTo>
                  <a:lnTo>
                    <a:pt x="17532" y="128682"/>
                  </a:lnTo>
                  <a:cubicBezTo>
                    <a:pt x="17011" y="129961"/>
                    <a:pt x="16179" y="130604"/>
                    <a:pt x="15018" y="130604"/>
                  </a:cubicBezTo>
                  <a:lnTo>
                    <a:pt x="1473" y="130604"/>
                  </a:lnTo>
                  <a:cubicBezTo>
                    <a:pt x="192" y="130604"/>
                    <a:pt x="-257" y="129961"/>
                    <a:pt x="139" y="128682"/>
                  </a:cubicBezTo>
                  <a:lnTo>
                    <a:pt x="45744" y="1909"/>
                  </a:lnTo>
                  <a:close/>
                  <a:moveTo>
                    <a:pt x="75118" y="84513"/>
                  </a:moveTo>
                  <a:lnTo>
                    <a:pt x="54431" y="25158"/>
                  </a:lnTo>
                  <a:lnTo>
                    <a:pt x="54048" y="25158"/>
                  </a:lnTo>
                  <a:lnTo>
                    <a:pt x="33176" y="84513"/>
                  </a:lnTo>
                  <a:lnTo>
                    <a:pt x="75118" y="84513"/>
                  </a:lnTo>
                  <a:close/>
                </a:path>
              </a:pathLst>
            </a:custGeom>
            <a:solidFill>
              <a:schemeClr val="bg2"/>
            </a:solidFill>
            <a:ln w="7" cap="flat">
              <a:noFill/>
              <a:prstDash val="solid"/>
              <a:miter/>
            </a:ln>
          </p:spPr>
          <p:txBody>
            <a:bodyPr rtlCol="0" anchor="ctr"/>
            <a:lstStyle/>
            <a:p>
              <a:endParaRPr lang="de-DE"/>
            </a:p>
          </p:txBody>
        </p:sp>
        <p:sp>
          <p:nvSpPr>
            <p:cNvPr id="9" name="Freeform: Shape 8">
              <a:extLst>
                <a:ext uri="{FF2B5EF4-FFF2-40B4-BE49-F238E27FC236}">
                  <a16:creationId xmlns:a16="http://schemas.microsoft.com/office/drawing/2014/main" id="{A9FC4AB3-29CD-4F05-B371-CFC02D23A9ED}"/>
                </a:ext>
              </a:extLst>
            </p:cNvPr>
            <p:cNvSpPr/>
            <p:nvPr/>
          </p:nvSpPr>
          <p:spPr>
            <a:xfrm>
              <a:off x="10847618" y="509259"/>
              <a:ext cx="93313" cy="130610"/>
            </a:xfrm>
            <a:custGeom>
              <a:avLst/>
              <a:gdLst>
                <a:gd name="connsiteX0" fmla="*/ 76186 w 93313"/>
                <a:gd name="connsiteY0" fmla="*/ 130611 h 130610"/>
                <a:gd name="connsiteX1" fmla="*/ 73645 w 93313"/>
                <a:gd name="connsiteY1" fmla="*/ 128682 h 130610"/>
                <a:gd name="connsiteX2" fmla="*/ 47446 w 93313"/>
                <a:gd name="connsiteY2" fmla="*/ 75296 h 130610"/>
                <a:gd name="connsiteX3" fmla="*/ 18555 w 93313"/>
                <a:gd name="connsiteY3" fmla="*/ 75296 h 130610"/>
                <a:gd name="connsiteX4" fmla="*/ 17393 w 93313"/>
                <a:gd name="connsiteY4" fmla="*/ 76444 h 130610"/>
                <a:gd name="connsiteX5" fmla="*/ 17393 w 93313"/>
                <a:gd name="connsiteY5" fmla="*/ 128682 h 130610"/>
                <a:gd name="connsiteX6" fmla="*/ 15446 w 93313"/>
                <a:gd name="connsiteY6" fmla="*/ 130611 h 130610"/>
                <a:gd name="connsiteX7" fmla="*/ 1954 w 93313"/>
                <a:gd name="connsiteY7" fmla="*/ 130611 h 130610"/>
                <a:gd name="connsiteX8" fmla="*/ 0 w 93313"/>
                <a:gd name="connsiteY8" fmla="*/ 128682 h 130610"/>
                <a:gd name="connsiteX9" fmla="*/ 0 w 93313"/>
                <a:gd name="connsiteY9" fmla="*/ 1922 h 130610"/>
                <a:gd name="connsiteX10" fmla="*/ 1934 w 93313"/>
                <a:gd name="connsiteY10" fmla="*/ 0 h 130610"/>
                <a:gd name="connsiteX11" fmla="*/ 49592 w 93313"/>
                <a:gd name="connsiteY11" fmla="*/ 0 h 130610"/>
                <a:gd name="connsiteX12" fmla="*/ 66430 w 93313"/>
                <a:gd name="connsiteY12" fmla="*/ 2690 h 130610"/>
                <a:gd name="connsiteX13" fmla="*/ 79414 w 93313"/>
                <a:gd name="connsiteY13" fmla="*/ 10273 h 130610"/>
                <a:gd name="connsiteX14" fmla="*/ 87837 w 93313"/>
                <a:gd name="connsiteY14" fmla="*/ 22186 h 130610"/>
                <a:gd name="connsiteX15" fmla="*/ 90846 w 93313"/>
                <a:gd name="connsiteY15" fmla="*/ 37642 h 130610"/>
                <a:gd name="connsiteX16" fmla="*/ 83876 w 93313"/>
                <a:gd name="connsiteY16" fmla="*/ 60123 h 130610"/>
                <a:gd name="connsiteX17" fmla="*/ 64945 w 93313"/>
                <a:gd name="connsiteY17" fmla="*/ 73184 h 130610"/>
                <a:gd name="connsiteX18" fmla="*/ 92972 w 93313"/>
                <a:gd name="connsiteY18" fmla="*/ 128308 h 130610"/>
                <a:gd name="connsiteX19" fmla="*/ 93157 w 93313"/>
                <a:gd name="connsiteY19" fmla="*/ 129935 h 130610"/>
                <a:gd name="connsiteX20" fmla="*/ 91810 w 93313"/>
                <a:gd name="connsiteY20" fmla="*/ 130611 h 130610"/>
                <a:gd name="connsiteX21" fmla="*/ 76186 w 93313"/>
                <a:gd name="connsiteY21" fmla="*/ 130611 h 130610"/>
                <a:gd name="connsiteX22" fmla="*/ 49176 w 93313"/>
                <a:gd name="connsiteY22" fmla="*/ 59355 h 130610"/>
                <a:gd name="connsiteX23" fmla="*/ 67097 w 93313"/>
                <a:gd name="connsiteY23" fmla="*/ 53681 h 130610"/>
                <a:gd name="connsiteX24" fmla="*/ 73447 w 93313"/>
                <a:gd name="connsiteY24" fmla="*/ 37642 h 130610"/>
                <a:gd name="connsiteX25" fmla="*/ 67097 w 93313"/>
                <a:gd name="connsiteY25" fmla="*/ 21615 h 130610"/>
                <a:gd name="connsiteX26" fmla="*/ 49176 w 93313"/>
                <a:gd name="connsiteY26" fmla="*/ 15948 h 130610"/>
                <a:gd name="connsiteX27" fmla="*/ 18555 w 93313"/>
                <a:gd name="connsiteY27" fmla="*/ 15948 h 130610"/>
                <a:gd name="connsiteX28" fmla="*/ 17393 w 93313"/>
                <a:gd name="connsiteY28" fmla="*/ 17102 h 130610"/>
                <a:gd name="connsiteX29" fmla="*/ 17393 w 93313"/>
                <a:gd name="connsiteY29" fmla="*/ 58194 h 130610"/>
                <a:gd name="connsiteX30" fmla="*/ 18555 w 93313"/>
                <a:gd name="connsiteY30" fmla="*/ 59355 h 130610"/>
                <a:gd name="connsiteX31" fmla="*/ 49176 w 93313"/>
                <a:gd name="connsiteY31" fmla="*/ 59355 h 13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3313" h="130610">
                  <a:moveTo>
                    <a:pt x="76186" y="130611"/>
                  </a:moveTo>
                  <a:cubicBezTo>
                    <a:pt x="75018" y="130611"/>
                    <a:pt x="74160" y="129968"/>
                    <a:pt x="73645" y="128682"/>
                  </a:cubicBezTo>
                  <a:lnTo>
                    <a:pt x="47446" y="75296"/>
                  </a:lnTo>
                  <a:lnTo>
                    <a:pt x="18555" y="75296"/>
                  </a:lnTo>
                  <a:cubicBezTo>
                    <a:pt x="17776" y="75296"/>
                    <a:pt x="17393" y="75690"/>
                    <a:pt x="17393" y="76444"/>
                  </a:cubicBezTo>
                  <a:lnTo>
                    <a:pt x="17393" y="128682"/>
                  </a:lnTo>
                  <a:cubicBezTo>
                    <a:pt x="17393" y="129968"/>
                    <a:pt x="16740" y="130611"/>
                    <a:pt x="15446" y="130611"/>
                  </a:cubicBezTo>
                  <a:lnTo>
                    <a:pt x="1954" y="130611"/>
                  </a:lnTo>
                  <a:cubicBezTo>
                    <a:pt x="653" y="130611"/>
                    <a:pt x="0" y="129968"/>
                    <a:pt x="0" y="128682"/>
                  </a:cubicBezTo>
                  <a:lnTo>
                    <a:pt x="0" y="1922"/>
                  </a:lnTo>
                  <a:cubicBezTo>
                    <a:pt x="0" y="643"/>
                    <a:pt x="640" y="0"/>
                    <a:pt x="1934" y="0"/>
                  </a:cubicBezTo>
                  <a:lnTo>
                    <a:pt x="49592" y="0"/>
                  </a:lnTo>
                  <a:cubicBezTo>
                    <a:pt x="55777" y="0"/>
                    <a:pt x="61394" y="905"/>
                    <a:pt x="66430" y="2690"/>
                  </a:cubicBezTo>
                  <a:cubicBezTo>
                    <a:pt x="71473" y="4481"/>
                    <a:pt x="75797" y="7013"/>
                    <a:pt x="79414" y="10273"/>
                  </a:cubicBezTo>
                  <a:cubicBezTo>
                    <a:pt x="83025" y="13547"/>
                    <a:pt x="85843" y="17515"/>
                    <a:pt x="87837" y="22186"/>
                  </a:cubicBezTo>
                  <a:cubicBezTo>
                    <a:pt x="89843" y="26863"/>
                    <a:pt x="90846" y="32013"/>
                    <a:pt x="90846" y="37642"/>
                  </a:cubicBezTo>
                  <a:cubicBezTo>
                    <a:pt x="90846" y="46478"/>
                    <a:pt x="88516" y="53970"/>
                    <a:pt x="83876" y="60123"/>
                  </a:cubicBezTo>
                  <a:cubicBezTo>
                    <a:pt x="79242" y="66263"/>
                    <a:pt x="72939" y="70619"/>
                    <a:pt x="64945" y="73184"/>
                  </a:cubicBezTo>
                  <a:lnTo>
                    <a:pt x="92972" y="128308"/>
                  </a:lnTo>
                  <a:cubicBezTo>
                    <a:pt x="93355" y="128951"/>
                    <a:pt x="93414" y="129496"/>
                    <a:pt x="93157" y="129935"/>
                  </a:cubicBezTo>
                  <a:cubicBezTo>
                    <a:pt x="92893" y="130394"/>
                    <a:pt x="92457" y="130611"/>
                    <a:pt x="91810" y="130611"/>
                  </a:cubicBezTo>
                  <a:lnTo>
                    <a:pt x="76186" y="130611"/>
                  </a:lnTo>
                  <a:close/>
                  <a:moveTo>
                    <a:pt x="49176" y="59355"/>
                  </a:moveTo>
                  <a:cubicBezTo>
                    <a:pt x="56879" y="59355"/>
                    <a:pt x="62846" y="57460"/>
                    <a:pt x="67097" y="53681"/>
                  </a:cubicBezTo>
                  <a:cubicBezTo>
                    <a:pt x="71328" y="49909"/>
                    <a:pt x="73447" y="44563"/>
                    <a:pt x="73447" y="37642"/>
                  </a:cubicBezTo>
                  <a:cubicBezTo>
                    <a:pt x="73447" y="30727"/>
                    <a:pt x="71328" y="25374"/>
                    <a:pt x="67097" y="21615"/>
                  </a:cubicBezTo>
                  <a:cubicBezTo>
                    <a:pt x="62846" y="17830"/>
                    <a:pt x="56879" y="15948"/>
                    <a:pt x="49176" y="15948"/>
                  </a:cubicBezTo>
                  <a:lnTo>
                    <a:pt x="18555" y="15948"/>
                  </a:lnTo>
                  <a:cubicBezTo>
                    <a:pt x="17776" y="15948"/>
                    <a:pt x="17393" y="16335"/>
                    <a:pt x="17393" y="17102"/>
                  </a:cubicBezTo>
                  <a:lnTo>
                    <a:pt x="17393" y="58194"/>
                  </a:lnTo>
                  <a:cubicBezTo>
                    <a:pt x="17393" y="58962"/>
                    <a:pt x="17776" y="59355"/>
                    <a:pt x="18555" y="59355"/>
                  </a:cubicBezTo>
                  <a:lnTo>
                    <a:pt x="49176" y="59355"/>
                  </a:lnTo>
                  <a:close/>
                </a:path>
              </a:pathLst>
            </a:custGeom>
            <a:solidFill>
              <a:schemeClr val="bg2"/>
            </a:solidFill>
            <a:ln w="7" cap="flat">
              <a:noFill/>
              <a:prstDash val="solid"/>
              <a:miter/>
            </a:ln>
          </p:spPr>
          <p:txBody>
            <a:bodyPr rtlCol="0" anchor="ctr"/>
            <a:lstStyle/>
            <a:p>
              <a:endParaRPr lang="de-DE"/>
            </a:p>
          </p:txBody>
        </p:sp>
        <p:sp>
          <p:nvSpPr>
            <p:cNvPr id="11" name="Freeform: Shape 10">
              <a:extLst>
                <a:ext uri="{FF2B5EF4-FFF2-40B4-BE49-F238E27FC236}">
                  <a16:creationId xmlns:a16="http://schemas.microsoft.com/office/drawing/2014/main" id="{5B97524C-7178-4A54-99E1-5C38A3285FA6}"/>
                </a:ext>
              </a:extLst>
            </p:cNvPr>
            <p:cNvSpPr/>
            <p:nvPr/>
          </p:nvSpPr>
          <p:spPr>
            <a:xfrm>
              <a:off x="10968788" y="509266"/>
              <a:ext cx="93929" cy="130604"/>
            </a:xfrm>
            <a:custGeom>
              <a:avLst/>
              <a:gdLst>
                <a:gd name="connsiteX0" fmla="*/ 0 w 93929"/>
                <a:gd name="connsiteY0" fmla="*/ 1909 h 130604"/>
                <a:gd name="connsiteX1" fmla="*/ 1941 w 93929"/>
                <a:gd name="connsiteY1" fmla="*/ 0 h 130604"/>
                <a:gd name="connsiteX2" fmla="*/ 14304 w 93929"/>
                <a:gd name="connsiteY2" fmla="*/ 0 h 130604"/>
                <a:gd name="connsiteX3" fmla="*/ 17598 w 93929"/>
                <a:gd name="connsiteY3" fmla="*/ 1909 h 130604"/>
                <a:gd name="connsiteX4" fmla="*/ 77123 w 93929"/>
                <a:gd name="connsiteY4" fmla="*/ 99877 h 130604"/>
                <a:gd name="connsiteX5" fmla="*/ 77896 w 93929"/>
                <a:gd name="connsiteY5" fmla="*/ 99877 h 130604"/>
                <a:gd name="connsiteX6" fmla="*/ 77896 w 93929"/>
                <a:gd name="connsiteY6" fmla="*/ 1909 h 130604"/>
                <a:gd name="connsiteX7" fmla="*/ 79823 w 93929"/>
                <a:gd name="connsiteY7" fmla="*/ 0 h 130604"/>
                <a:gd name="connsiteX8" fmla="*/ 92008 w 93929"/>
                <a:gd name="connsiteY8" fmla="*/ 0 h 130604"/>
                <a:gd name="connsiteX9" fmla="*/ 93929 w 93929"/>
                <a:gd name="connsiteY9" fmla="*/ 1909 h 130604"/>
                <a:gd name="connsiteX10" fmla="*/ 93929 w 93929"/>
                <a:gd name="connsiteY10" fmla="*/ 128682 h 130604"/>
                <a:gd name="connsiteX11" fmla="*/ 92008 w 93929"/>
                <a:gd name="connsiteY11" fmla="*/ 130604 h 130604"/>
                <a:gd name="connsiteX12" fmla="*/ 79625 w 93929"/>
                <a:gd name="connsiteY12" fmla="*/ 130604 h 130604"/>
                <a:gd name="connsiteX13" fmla="*/ 76351 w 93929"/>
                <a:gd name="connsiteY13" fmla="*/ 128682 h 130604"/>
                <a:gd name="connsiteX14" fmla="*/ 16634 w 93929"/>
                <a:gd name="connsiteY14" fmla="*/ 31108 h 130604"/>
                <a:gd name="connsiteX15" fmla="*/ 16046 w 93929"/>
                <a:gd name="connsiteY15" fmla="*/ 31108 h 130604"/>
                <a:gd name="connsiteX16" fmla="*/ 16046 w 93929"/>
                <a:gd name="connsiteY16" fmla="*/ 128682 h 130604"/>
                <a:gd name="connsiteX17" fmla="*/ 14112 w 93929"/>
                <a:gd name="connsiteY17" fmla="*/ 130604 h 130604"/>
                <a:gd name="connsiteX18" fmla="*/ 1941 w 93929"/>
                <a:gd name="connsiteY18" fmla="*/ 130604 h 130604"/>
                <a:gd name="connsiteX19" fmla="*/ 0 w 93929"/>
                <a:gd name="connsiteY19" fmla="*/ 128682 h 130604"/>
                <a:gd name="connsiteX20" fmla="*/ 0 w 93929"/>
                <a:gd name="connsiteY20"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29" h="130604">
                  <a:moveTo>
                    <a:pt x="0" y="1909"/>
                  </a:moveTo>
                  <a:cubicBezTo>
                    <a:pt x="0" y="636"/>
                    <a:pt x="647" y="0"/>
                    <a:pt x="1941" y="0"/>
                  </a:cubicBezTo>
                  <a:lnTo>
                    <a:pt x="14304" y="0"/>
                  </a:lnTo>
                  <a:cubicBezTo>
                    <a:pt x="15848" y="0"/>
                    <a:pt x="16951" y="636"/>
                    <a:pt x="17598" y="1909"/>
                  </a:cubicBezTo>
                  <a:lnTo>
                    <a:pt x="77123" y="99877"/>
                  </a:lnTo>
                  <a:lnTo>
                    <a:pt x="77896" y="99877"/>
                  </a:lnTo>
                  <a:lnTo>
                    <a:pt x="77896" y="1909"/>
                  </a:lnTo>
                  <a:cubicBezTo>
                    <a:pt x="77896" y="636"/>
                    <a:pt x="78536" y="0"/>
                    <a:pt x="79823" y="0"/>
                  </a:cubicBezTo>
                  <a:lnTo>
                    <a:pt x="92008" y="0"/>
                  </a:lnTo>
                  <a:cubicBezTo>
                    <a:pt x="93282" y="0"/>
                    <a:pt x="93929" y="636"/>
                    <a:pt x="93929" y="1909"/>
                  </a:cubicBezTo>
                  <a:lnTo>
                    <a:pt x="93929" y="128682"/>
                  </a:lnTo>
                  <a:cubicBezTo>
                    <a:pt x="93929" y="129961"/>
                    <a:pt x="93282" y="130604"/>
                    <a:pt x="92008" y="130604"/>
                  </a:cubicBezTo>
                  <a:lnTo>
                    <a:pt x="79625" y="130604"/>
                  </a:lnTo>
                  <a:cubicBezTo>
                    <a:pt x="78081" y="130604"/>
                    <a:pt x="76985" y="129961"/>
                    <a:pt x="76351" y="128682"/>
                  </a:cubicBezTo>
                  <a:lnTo>
                    <a:pt x="16634" y="31108"/>
                  </a:lnTo>
                  <a:lnTo>
                    <a:pt x="16046" y="31108"/>
                  </a:lnTo>
                  <a:lnTo>
                    <a:pt x="16046" y="128682"/>
                  </a:lnTo>
                  <a:cubicBezTo>
                    <a:pt x="16046" y="129961"/>
                    <a:pt x="15400" y="130604"/>
                    <a:pt x="14112" y="130604"/>
                  </a:cubicBezTo>
                  <a:lnTo>
                    <a:pt x="1941" y="130604"/>
                  </a:lnTo>
                  <a:cubicBezTo>
                    <a:pt x="647" y="130604"/>
                    <a:pt x="0" y="129961"/>
                    <a:pt x="0" y="128682"/>
                  </a:cubicBezTo>
                  <a:lnTo>
                    <a:pt x="0" y="1909"/>
                  </a:lnTo>
                  <a:close/>
                </a:path>
              </a:pathLst>
            </a:custGeom>
            <a:solidFill>
              <a:schemeClr val="bg2"/>
            </a:solidFill>
            <a:ln w="7" cap="flat">
              <a:noFill/>
              <a:prstDash val="solid"/>
              <a:miter/>
            </a:ln>
          </p:spPr>
          <p:txBody>
            <a:bodyPr rtlCol="0" anchor="ctr"/>
            <a:lstStyle/>
            <a:p>
              <a:endParaRPr lang="de-DE"/>
            </a:p>
          </p:txBody>
        </p:sp>
        <p:sp>
          <p:nvSpPr>
            <p:cNvPr id="13" name="Freeform: Shape 12">
              <a:extLst>
                <a:ext uri="{FF2B5EF4-FFF2-40B4-BE49-F238E27FC236}">
                  <a16:creationId xmlns:a16="http://schemas.microsoft.com/office/drawing/2014/main" id="{2BD88C51-B20B-455C-8EFD-29B3CE2E815D}"/>
                </a:ext>
              </a:extLst>
            </p:cNvPr>
            <p:cNvSpPr/>
            <p:nvPr/>
          </p:nvSpPr>
          <p:spPr>
            <a:xfrm>
              <a:off x="11097134" y="509266"/>
              <a:ext cx="83103" cy="130604"/>
            </a:xfrm>
            <a:custGeom>
              <a:avLst/>
              <a:gdLst>
                <a:gd name="connsiteX0" fmla="*/ 0 w 83103"/>
                <a:gd name="connsiteY0" fmla="*/ 1909 h 130604"/>
                <a:gd name="connsiteX1" fmla="*/ 1947 w 83103"/>
                <a:gd name="connsiteY1" fmla="*/ 0 h 130604"/>
                <a:gd name="connsiteX2" fmla="*/ 81183 w 83103"/>
                <a:gd name="connsiteY2" fmla="*/ 0 h 130604"/>
                <a:gd name="connsiteX3" fmla="*/ 83104 w 83103"/>
                <a:gd name="connsiteY3" fmla="*/ 1909 h 130604"/>
                <a:gd name="connsiteX4" fmla="*/ 83104 w 83103"/>
                <a:gd name="connsiteY4" fmla="*/ 14012 h 130604"/>
                <a:gd name="connsiteX5" fmla="*/ 81183 w 83103"/>
                <a:gd name="connsiteY5" fmla="*/ 15941 h 130604"/>
                <a:gd name="connsiteX6" fmla="*/ 18555 w 83103"/>
                <a:gd name="connsiteY6" fmla="*/ 15941 h 130604"/>
                <a:gd name="connsiteX7" fmla="*/ 17406 w 83103"/>
                <a:gd name="connsiteY7" fmla="*/ 17096 h 130604"/>
                <a:gd name="connsiteX8" fmla="*/ 17406 w 83103"/>
                <a:gd name="connsiteY8" fmla="*/ 55505 h 130604"/>
                <a:gd name="connsiteX9" fmla="*/ 18555 w 83103"/>
                <a:gd name="connsiteY9" fmla="*/ 56646 h 130604"/>
                <a:gd name="connsiteX10" fmla="*/ 71698 w 83103"/>
                <a:gd name="connsiteY10" fmla="*/ 56646 h 130604"/>
                <a:gd name="connsiteX11" fmla="*/ 73645 w 83103"/>
                <a:gd name="connsiteY11" fmla="*/ 58575 h 130604"/>
                <a:gd name="connsiteX12" fmla="*/ 73645 w 83103"/>
                <a:gd name="connsiteY12" fmla="*/ 70678 h 130604"/>
                <a:gd name="connsiteX13" fmla="*/ 71698 w 83103"/>
                <a:gd name="connsiteY13" fmla="*/ 72600 h 130604"/>
                <a:gd name="connsiteX14" fmla="*/ 18555 w 83103"/>
                <a:gd name="connsiteY14" fmla="*/ 72600 h 130604"/>
                <a:gd name="connsiteX15" fmla="*/ 17406 w 83103"/>
                <a:gd name="connsiteY15" fmla="*/ 73748 h 130604"/>
                <a:gd name="connsiteX16" fmla="*/ 17406 w 83103"/>
                <a:gd name="connsiteY16" fmla="*/ 113509 h 130604"/>
                <a:gd name="connsiteX17" fmla="*/ 18555 w 83103"/>
                <a:gd name="connsiteY17" fmla="*/ 114670 h 130604"/>
                <a:gd name="connsiteX18" fmla="*/ 81183 w 83103"/>
                <a:gd name="connsiteY18" fmla="*/ 114670 h 130604"/>
                <a:gd name="connsiteX19" fmla="*/ 83104 w 83103"/>
                <a:gd name="connsiteY19" fmla="*/ 116599 h 130604"/>
                <a:gd name="connsiteX20" fmla="*/ 83104 w 83103"/>
                <a:gd name="connsiteY20" fmla="*/ 128682 h 130604"/>
                <a:gd name="connsiteX21" fmla="*/ 81183 w 83103"/>
                <a:gd name="connsiteY21" fmla="*/ 130604 h 130604"/>
                <a:gd name="connsiteX22" fmla="*/ 1947 w 83103"/>
                <a:gd name="connsiteY22" fmla="*/ 130604 h 130604"/>
                <a:gd name="connsiteX23" fmla="*/ 0 w 83103"/>
                <a:gd name="connsiteY23" fmla="*/ 128682 h 130604"/>
                <a:gd name="connsiteX24" fmla="*/ 0 w 83103"/>
                <a:gd name="connsiteY24"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09"/>
                  </a:moveTo>
                  <a:cubicBezTo>
                    <a:pt x="0" y="636"/>
                    <a:pt x="653" y="0"/>
                    <a:pt x="1947" y="0"/>
                  </a:cubicBezTo>
                  <a:lnTo>
                    <a:pt x="81183" y="0"/>
                  </a:lnTo>
                  <a:cubicBezTo>
                    <a:pt x="82463" y="0"/>
                    <a:pt x="83104" y="636"/>
                    <a:pt x="83104" y="1909"/>
                  </a:cubicBezTo>
                  <a:lnTo>
                    <a:pt x="83104" y="14012"/>
                  </a:lnTo>
                  <a:cubicBezTo>
                    <a:pt x="83104" y="15298"/>
                    <a:pt x="82463" y="15941"/>
                    <a:pt x="81183" y="15941"/>
                  </a:cubicBezTo>
                  <a:lnTo>
                    <a:pt x="18555" y="15941"/>
                  </a:lnTo>
                  <a:cubicBezTo>
                    <a:pt x="17782" y="15941"/>
                    <a:pt x="17406" y="16328"/>
                    <a:pt x="17406" y="17096"/>
                  </a:cubicBezTo>
                  <a:lnTo>
                    <a:pt x="17406" y="55505"/>
                  </a:lnTo>
                  <a:cubicBezTo>
                    <a:pt x="17406" y="56272"/>
                    <a:pt x="17782" y="56646"/>
                    <a:pt x="18555" y="56646"/>
                  </a:cubicBezTo>
                  <a:lnTo>
                    <a:pt x="71698" y="56646"/>
                  </a:lnTo>
                  <a:cubicBezTo>
                    <a:pt x="72991" y="56646"/>
                    <a:pt x="73645" y="57289"/>
                    <a:pt x="73645" y="58575"/>
                  </a:cubicBezTo>
                  <a:lnTo>
                    <a:pt x="73645" y="70678"/>
                  </a:lnTo>
                  <a:cubicBezTo>
                    <a:pt x="73645" y="71964"/>
                    <a:pt x="72991" y="72600"/>
                    <a:pt x="71698" y="72600"/>
                  </a:cubicBezTo>
                  <a:lnTo>
                    <a:pt x="18555" y="72600"/>
                  </a:lnTo>
                  <a:cubicBezTo>
                    <a:pt x="17782" y="72600"/>
                    <a:pt x="17406" y="72981"/>
                    <a:pt x="17406" y="73748"/>
                  </a:cubicBezTo>
                  <a:lnTo>
                    <a:pt x="17406" y="113509"/>
                  </a:lnTo>
                  <a:cubicBezTo>
                    <a:pt x="17406" y="114283"/>
                    <a:pt x="17782" y="114670"/>
                    <a:pt x="18555" y="114670"/>
                  </a:cubicBezTo>
                  <a:lnTo>
                    <a:pt x="81183" y="114670"/>
                  </a:lnTo>
                  <a:cubicBezTo>
                    <a:pt x="82463" y="114670"/>
                    <a:pt x="83104" y="115313"/>
                    <a:pt x="83104" y="116599"/>
                  </a:cubicBezTo>
                  <a:lnTo>
                    <a:pt x="83104" y="128682"/>
                  </a:lnTo>
                  <a:cubicBezTo>
                    <a:pt x="83104" y="129961"/>
                    <a:pt x="82463" y="130604"/>
                    <a:pt x="81183" y="130604"/>
                  </a:cubicBezTo>
                  <a:lnTo>
                    <a:pt x="1947" y="130604"/>
                  </a:lnTo>
                  <a:cubicBezTo>
                    <a:pt x="653" y="130604"/>
                    <a:pt x="0" y="129961"/>
                    <a:pt x="0" y="128682"/>
                  </a:cubicBezTo>
                  <a:lnTo>
                    <a:pt x="0" y="1909"/>
                  </a:lnTo>
                  <a:close/>
                </a:path>
              </a:pathLst>
            </a:custGeom>
            <a:solidFill>
              <a:schemeClr val="bg2"/>
            </a:solidFill>
            <a:ln w="7" cap="flat">
              <a:noFill/>
              <a:prstDash val="solid"/>
              <a:miter/>
            </a:ln>
          </p:spPr>
          <p:txBody>
            <a:bodyPr rtlCol="0" anchor="ctr"/>
            <a:lstStyle/>
            <a:p>
              <a:endParaRPr lang="de-DE"/>
            </a:p>
          </p:txBody>
        </p:sp>
        <p:sp>
          <p:nvSpPr>
            <p:cNvPr id="14" name="Freeform: Shape 13">
              <a:extLst>
                <a:ext uri="{FF2B5EF4-FFF2-40B4-BE49-F238E27FC236}">
                  <a16:creationId xmlns:a16="http://schemas.microsoft.com/office/drawing/2014/main" id="{6AFB8CF4-B894-4AB7-A2DD-452DA302ED92}"/>
                </a:ext>
              </a:extLst>
            </p:cNvPr>
            <p:cNvSpPr/>
            <p:nvPr/>
          </p:nvSpPr>
          <p:spPr>
            <a:xfrm>
              <a:off x="11203241" y="507147"/>
              <a:ext cx="89457" cy="134835"/>
            </a:xfrm>
            <a:custGeom>
              <a:avLst/>
              <a:gdLst>
                <a:gd name="connsiteX0" fmla="*/ 3485 w 89457"/>
                <a:gd name="connsiteY0" fmla="*/ 104102 h 134835"/>
                <a:gd name="connsiteX1" fmla="*/ 1835 w 89457"/>
                <a:gd name="connsiteY1" fmla="*/ 98250 h 134835"/>
                <a:gd name="connsiteX2" fmla="*/ 779 w 89457"/>
                <a:gd name="connsiteY2" fmla="*/ 91146 h 134835"/>
                <a:gd name="connsiteX3" fmla="*/ 178 w 89457"/>
                <a:gd name="connsiteY3" fmla="*/ 81246 h 134835"/>
                <a:gd name="connsiteX4" fmla="*/ 0 w 89457"/>
                <a:gd name="connsiteY4" fmla="*/ 67424 h 134835"/>
                <a:gd name="connsiteX5" fmla="*/ 178 w 89457"/>
                <a:gd name="connsiteY5" fmla="*/ 53589 h 134835"/>
                <a:gd name="connsiteX6" fmla="*/ 779 w 89457"/>
                <a:gd name="connsiteY6" fmla="*/ 43690 h 134835"/>
                <a:gd name="connsiteX7" fmla="*/ 1835 w 89457"/>
                <a:gd name="connsiteY7" fmla="*/ 36579 h 134835"/>
                <a:gd name="connsiteX8" fmla="*/ 3485 w 89457"/>
                <a:gd name="connsiteY8" fmla="*/ 30734 h 134835"/>
                <a:gd name="connsiteX9" fmla="*/ 19717 w 89457"/>
                <a:gd name="connsiteY9" fmla="*/ 7583 h 134835"/>
                <a:gd name="connsiteX10" fmla="*/ 47143 w 89457"/>
                <a:gd name="connsiteY10" fmla="*/ 0 h 134835"/>
                <a:gd name="connsiteX11" fmla="*/ 72760 w 89457"/>
                <a:gd name="connsiteY11" fmla="*/ 6829 h 134835"/>
                <a:gd name="connsiteX12" fmla="*/ 89289 w 89457"/>
                <a:gd name="connsiteY12" fmla="*/ 26306 h 134835"/>
                <a:gd name="connsiteX13" fmla="*/ 88516 w 89457"/>
                <a:gd name="connsiteY13" fmla="*/ 28805 h 134835"/>
                <a:gd name="connsiteX14" fmla="*/ 76912 w 89457"/>
                <a:gd name="connsiteY14" fmla="*/ 34381 h 134835"/>
                <a:gd name="connsiteX15" fmla="*/ 74206 w 89457"/>
                <a:gd name="connsiteY15" fmla="*/ 33410 h 134835"/>
                <a:gd name="connsiteX16" fmla="*/ 63988 w 89457"/>
                <a:gd name="connsiteY16" fmla="*/ 20841 h 134835"/>
                <a:gd name="connsiteX17" fmla="*/ 47143 w 89457"/>
                <a:gd name="connsiteY17" fmla="*/ 15948 h 134835"/>
                <a:gd name="connsiteX18" fmla="*/ 29769 w 89457"/>
                <a:gd name="connsiteY18" fmla="*/ 20946 h 134835"/>
                <a:gd name="connsiteX19" fmla="*/ 19915 w 89457"/>
                <a:gd name="connsiteY19" fmla="*/ 35142 h 134835"/>
                <a:gd name="connsiteX20" fmla="*/ 18852 w 89457"/>
                <a:gd name="connsiteY20" fmla="*/ 39662 h 134835"/>
                <a:gd name="connsiteX21" fmla="*/ 18066 w 89457"/>
                <a:gd name="connsiteY21" fmla="*/ 45619 h 134835"/>
                <a:gd name="connsiteX22" fmla="*/ 17591 w 89457"/>
                <a:gd name="connsiteY22" fmla="*/ 54455 h 134835"/>
                <a:gd name="connsiteX23" fmla="*/ 17400 w 89457"/>
                <a:gd name="connsiteY23" fmla="*/ 67424 h 134835"/>
                <a:gd name="connsiteX24" fmla="*/ 17591 w 89457"/>
                <a:gd name="connsiteY24" fmla="*/ 80380 h 134835"/>
                <a:gd name="connsiteX25" fmla="*/ 18066 w 89457"/>
                <a:gd name="connsiteY25" fmla="*/ 89217 h 134835"/>
                <a:gd name="connsiteX26" fmla="*/ 18852 w 89457"/>
                <a:gd name="connsiteY26" fmla="*/ 95272 h 134835"/>
                <a:gd name="connsiteX27" fmla="*/ 19915 w 89457"/>
                <a:gd name="connsiteY27" fmla="*/ 99693 h 134835"/>
                <a:gd name="connsiteX28" fmla="*/ 29769 w 89457"/>
                <a:gd name="connsiteY28" fmla="*/ 113902 h 134835"/>
                <a:gd name="connsiteX29" fmla="*/ 47143 w 89457"/>
                <a:gd name="connsiteY29" fmla="*/ 118901 h 134835"/>
                <a:gd name="connsiteX30" fmla="*/ 63988 w 89457"/>
                <a:gd name="connsiteY30" fmla="*/ 114001 h 134835"/>
                <a:gd name="connsiteX31" fmla="*/ 74206 w 89457"/>
                <a:gd name="connsiteY31" fmla="*/ 101412 h 134835"/>
                <a:gd name="connsiteX32" fmla="*/ 76912 w 89457"/>
                <a:gd name="connsiteY32" fmla="*/ 100461 h 134835"/>
                <a:gd name="connsiteX33" fmla="*/ 88516 w 89457"/>
                <a:gd name="connsiteY33" fmla="*/ 106030 h 134835"/>
                <a:gd name="connsiteX34" fmla="*/ 89289 w 89457"/>
                <a:gd name="connsiteY34" fmla="*/ 108530 h 134835"/>
                <a:gd name="connsiteX35" fmla="*/ 72760 w 89457"/>
                <a:gd name="connsiteY35" fmla="*/ 128013 h 134835"/>
                <a:gd name="connsiteX36" fmla="*/ 47143 w 89457"/>
                <a:gd name="connsiteY36" fmla="*/ 134836 h 134835"/>
                <a:gd name="connsiteX37" fmla="*/ 19717 w 89457"/>
                <a:gd name="connsiteY37" fmla="*/ 127246 h 134835"/>
                <a:gd name="connsiteX38" fmla="*/ 3485 w 89457"/>
                <a:gd name="connsiteY38" fmla="*/ 104102 h 134835"/>
                <a:gd name="connsiteX39" fmla="*/ 3485 w 89457"/>
                <a:gd name="connsiteY39" fmla="*/ 104102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9457" h="134835">
                  <a:moveTo>
                    <a:pt x="3485" y="104102"/>
                  </a:moveTo>
                  <a:cubicBezTo>
                    <a:pt x="2825" y="102180"/>
                    <a:pt x="2284" y="100238"/>
                    <a:pt x="1835" y="98250"/>
                  </a:cubicBezTo>
                  <a:cubicBezTo>
                    <a:pt x="1373" y="96275"/>
                    <a:pt x="1036" y="93894"/>
                    <a:pt x="779" y="91146"/>
                  </a:cubicBezTo>
                  <a:cubicBezTo>
                    <a:pt x="521" y="88390"/>
                    <a:pt x="323" y="85091"/>
                    <a:pt x="178" y="81246"/>
                  </a:cubicBezTo>
                  <a:cubicBezTo>
                    <a:pt x="59" y="77415"/>
                    <a:pt x="0" y="72804"/>
                    <a:pt x="0" y="67424"/>
                  </a:cubicBezTo>
                  <a:cubicBezTo>
                    <a:pt x="0" y="62039"/>
                    <a:pt x="59" y="57427"/>
                    <a:pt x="178" y="53589"/>
                  </a:cubicBezTo>
                  <a:cubicBezTo>
                    <a:pt x="323" y="49745"/>
                    <a:pt x="515" y="46452"/>
                    <a:pt x="779" y="43690"/>
                  </a:cubicBezTo>
                  <a:cubicBezTo>
                    <a:pt x="1036" y="40941"/>
                    <a:pt x="1373" y="38580"/>
                    <a:pt x="1835" y="36579"/>
                  </a:cubicBezTo>
                  <a:cubicBezTo>
                    <a:pt x="2284" y="34598"/>
                    <a:pt x="2825" y="32643"/>
                    <a:pt x="3485" y="30734"/>
                  </a:cubicBezTo>
                  <a:cubicBezTo>
                    <a:pt x="6819" y="20362"/>
                    <a:pt x="12244" y="12641"/>
                    <a:pt x="19717" y="7583"/>
                  </a:cubicBezTo>
                  <a:cubicBezTo>
                    <a:pt x="27189" y="2532"/>
                    <a:pt x="36344" y="0"/>
                    <a:pt x="47143" y="0"/>
                  </a:cubicBezTo>
                  <a:cubicBezTo>
                    <a:pt x="56945" y="0"/>
                    <a:pt x="65493" y="2270"/>
                    <a:pt x="72760" y="6829"/>
                  </a:cubicBezTo>
                  <a:cubicBezTo>
                    <a:pt x="80054" y="11362"/>
                    <a:pt x="85553" y="17856"/>
                    <a:pt x="89289" y="26306"/>
                  </a:cubicBezTo>
                  <a:cubicBezTo>
                    <a:pt x="89665" y="27460"/>
                    <a:pt x="89414" y="28307"/>
                    <a:pt x="88516" y="28805"/>
                  </a:cubicBezTo>
                  <a:lnTo>
                    <a:pt x="76912" y="34381"/>
                  </a:lnTo>
                  <a:cubicBezTo>
                    <a:pt x="75638" y="35024"/>
                    <a:pt x="74727" y="34696"/>
                    <a:pt x="74206" y="33410"/>
                  </a:cubicBezTo>
                  <a:cubicBezTo>
                    <a:pt x="71625" y="28307"/>
                    <a:pt x="68232" y="24115"/>
                    <a:pt x="63988" y="20841"/>
                  </a:cubicBezTo>
                  <a:cubicBezTo>
                    <a:pt x="59730" y="17574"/>
                    <a:pt x="54120" y="15948"/>
                    <a:pt x="47143" y="15948"/>
                  </a:cubicBezTo>
                  <a:cubicBezTo>
                    <a:pt x="39941" y="15948"/>
                    <a:pt x="34146" y="17607"/>
                    <a:pt x="29769" y="20946"/>
                  </a:cubicBezTo>
                  <a:cubicBezTo>
                    <a:pt x="25380" y="24272"/>
                    <a:pt x="22106" y="29002"/>
                    <a:pt x="19915" y="35142"/>
                  </a:cubicBezTo>
                  <a:cubicBezTo>
                    <a:pt x="19518" y="36553"/>
                    <a:pt x="19169" y="38068"/>
                    <a:pt x="18852" y="39662"/>
                  </a:cubicBezTo>
                  <a:cubicBezTo>
                    <a:pt x="18528" y="41263"/>
                    <a:pt x="18271" y="43250"/>
                    <a:pt x="18066" y="45619"/>
                  </a:cubicBezTo>
                  <a:cubicBezTo>
                    <a:pt x="17895" y="47987"/>
                    <a:pt x="17710" y="50932"/>
                    <a:pt x="17591" y="54455"/>
                  </a:cubicBezTo>
                  <a:cubicBezTo>
                    <a:pt x="17452" y="57978"/>
                    <a:pt x="17400" y="62288"/>
                    <a:pt x="17400" y="67424"/>
                  </a:cubicBezTo>
                  <a:cubicBezTo>
                    <a:pt x="17400" y="72541"/>
                    <a:pt x="17452" y="76864"/>
                    <a:pt x="17591" y="80380"/>
                  </a:cubicBezTo>
                  <a:cubicBezTo>
                    <a:pt x="17710" y="83910"/>
                    <a:pt x="17895" y="86849"/>
                    <a:pt x="18066" y="89217"/>
                  </a:cubicBezTo>
                  <a:cubicBezTo>
                    <a:pt x="18271" y="91585"/>
                    <a:pt x="18528" y="93612"/>
                    <a:pt x="18852" y="95272"/>
                  </a:cubicBezTo>
                  <a:cubicBezTo>
                    <a:pt x="19169" y="96938"/>
                    <a:pt x="19518" y="98408"/>
                    <a:pt x="19915" y="99693"/>
                  </a:cubicBezTo>
                  <a:cubicBezTo>
                    <a:pt x="22106" y="105833"/>
                    <a:pt x="25373" y="110576"/>
                    <a:pt x="29769" y="113902"/>
                  </a:cubicBezTo>
                  <a:cubicBezTo>
                    <a:pt x="34146" y="117241"/>
                    <a:pt x="39941" y="118901"/>
                    <a:pt x="47143" y="118901"/>
                  </a:cubicBezTo>
                  <a:cubicBezTo>
                    <a:pt x="54120" y="118901"/>
                    <a:pt x="59730" y="117268"/>
                    <a:pt x="63988" y="114001"/>
                  </a:cubicBezTo>
                  <a:cubicBezTo>
                    <a:pt x="68232" y="110734"/>
                    <a:pt x="71625" y="106542"/>
                    <a:pt x="74206" y="101412"/>
                  </a:cubicBezTo>
                  <a:cubicBezTo>
                    <a:pt x="74727" y="100146"/>
                    <a:pt x="75638" y="99824"/>
                    <a:pt x="76912" y="100461"/>
                  </a:cubicBezTo>
                  <a:lnTo>
                    <a:pt x="88516" y="106030"/>
                  </a:lnTo>
                  <a:cubicBezTo>
                    <a:pt x="89414" y="106542"/>
                    <a:pt x="89665" y="107369"/>
                    <a:pt x="89289" y="108530"/>
                  </a:cubicBezTo>
                  <a:cubicBezTo>
                    <a:pt x="85553" y="116979"/>
                    <a:pt x="80048" y="123480"/>
                    <a:pt x="72760" y="128013"/>
                  </a:cubicBezTo>
                  <a:cubicBezTo>
                    <a:pt x="65493" y="132566"/>
                    <a:pt x="56945" y="134836"/>
                    <a:pt x="47143" y="134836"/>
                  </a:cubicBezTo>
                  <a:cubicBezTo>
                    <a:pt x="36344" y="134836"/>
                    <a:pt x="27189" y="132303"/>
                    <a:pt x="19717" y="127246"/>
                  </a:cubicBezTo>
                  <a:cubicBezTo>
                    <a:pt x="12244" y="122194"/>
                    <a:pt x="6819" y="114486"/>
                    <a:pt x="3485" y="104102"/>
                  </a:cubicBezTo>
                  <a:lnTo>
                    <a:pt x="3485" y="104102"/>
                  </a:lnTo>
                  <a:close/>
                </a:path>
              </a:pathLst>
            </a:custGeom>
            <a:solidFill>
              <a:schemeClr val="bg2"/>
            </a:solidFill>
            <a:ln w="7" cap="flat">
              <a:noFill/>
              <a:prstDash val="solid"/>
              <a:miter/>
            </a:ln>
          </p:spPr>
          <p:txBody>
            <a:bodyPr rtlCol="0" anchor="ctr"/>
            <a:lstStyle/>
            <a:p>
              <a:endParaRPr lang="de-DE"/>
            </a:p>
          </p:txBody>
        </p:sp>
        <p:sp>
          <p:nvSpPr>
            <p:cNvPr id="15" name="Freeform: Shape 14">
              <a:extLst>
                <a:ext uri="{FF2B5EF4-FFF2-40B4-BE49-F238E27FC236}">
                  <a16:creationId xmlns:a16="http://schemas.microsoft.com/office/drawing/2014/main" id="{DB69C59B-8D34-4BF5-88EE-57A6553D6E85}"/>
                </a:ext>
              </a:extLst>
            </p:cNvPr>
            <p:cNvSpPr/>
            <p:nvPr/>
          </p:nvSpPr>
          <p:spPr>
            <a:xfrm>
              <a:off x="11319197" y="509266"/>
              <a:ext cx="97302" cy="130604"/>
            </a:xfrm>
            <a:custGeom>
              <a:avLst/>
              <a:gdLst>
                <a:gd name="connsiteX0" fmla="*/ 0 w 97302"/>
                <a:gd name="connsiteY0" fmla="*/ 1909 h 130604"/>
                <a:gd name="connsiteX1" fmla="*/ 1947 w 97302"/>
                <a:gd name="connsiteY1" fmla="*/ 0 h 130604"/>
                <a:gd name="connsiteX2" fmla="*/ 15439 w 97302"/>
                <a:gd name="connsiteY2" fmla="*/ 0 h 130604"/>
                <a:gd name="connsiteX3" fmla="*/ 17413 w 97302"/>
                <a:gd name="connsiteY3" fmla="*/ 1909 h 130604"/>
                <a:gd name="connsiteX4" fmla="*/ 17413 w 97302"/>
                <a:gd name="connsiteY4" fmla="*/ 69911 h 130604"/>
                <a:gd name="connsiteX5" fmla="*/ 73051 w 97302"/>
                <a:gd name="connsiteY5" fmla="*/ 1725 h 130604"/>
                <a:gd name="connsiteX6" fmla="*/ 76153 w 97302"/>
                <a:gd name="connsiteY6" fmla="*/ 0 h 130604"/>
                <a:gd name="connsiteX7" fmla="*/ 92002 w 97302"/>
                <a:gd name="connsiteY7" fmla="*/ 0 h 130604"/>
                <a:gd name="connsiteX8" fmla="*/ 93256 w 97302"/>
                <a:gd name="connsiteY8" fmla="*/ 669 h 130604"/>
                <a:gd name="connsiteX9" fmla="*/ 92774 w 97302"/>
                <a:gd name="connsiteY9" fmla="*/ 2296 h 130604"/>
                <a:gd name="connsiteX10" fmla="*/ 51796 w 97302"/>
                <a:gd name="connsiteY10" fmla="*/ 51280 h 130604"/>
                <a:gd name="connsiteX11" fmla="*/ 96833 w 97302"/>
                <a:gd name="connsiteY11" fmla="*/ 128485 h 130604"/>
                <a:gd name="connsiteX12" fmla="*/ 95678 w 97302"/>
                <a:gd name="connsiteY12" fmla="*/ 130604 h 130604"/>
                <a:gd name="connsiteX13" fmla="*/ 80206 w 97302"/>
                <a:gd name="connsiteY13" fmla="*/ 130604 h 130604"/>
                <a:gd name="connsiteX14" fmla="*/ 77500 w 97302"/>
                <a:gd name="connsiteY14" fmla="*/ 128872 h 130604"/>
                <a:gd name="connsiteX15" fmla="*/ 40714 w 97302"/>
                <a:gd name="connsiteY15" fmla="*/ 64531 h 130604"/>
                <a:gd name="connsiteX16" fmla="*/ 17413 w 97302"/>
                <a:gd name="connsiteY16" fmla="*/ 92582 h 130604"/>
                <a:gd name="connsiteX17" fmla="*/ 17413 w 97302"/>
                <a:gd name="connsiteY17" fmla="*/ 128682 h 130604"/>
                <a:gd name="connsiteX18" fmla="*/ 15439 w 97302"/>
                <a:gd name="connsiteY18" fmla="*/ 130604 h 130604"/>
                <a:gd name="connsiteX19" fmla="*/ 1947 w 97302"/>
                <a:gd name="connsiteY19" fmla="*/ 130604 h 130604"/>
                <a:gd name="connsiteX20" fmla="*/ 0 w 97302"/>
                <a:gd name="connsiteY20" fmla="*/ 128682 h 130604"/>
                <a:gd name="connsiteX21" fmla="*/ 0 w 97302"/>
                <a:gd name="connsiteY21"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302" h="130604">
                  <a:moveTo>
                    <a:pt x="0" y="1909"/>
                  </a:moveTo>
                  <a:cubicBezTo>
                    <a:pt x="0" y="636"/>
                    <a:pt x="653" y="0"/>
                    <a:pt x="1947" y="0"/>
                  </a:cubicBezTo>
                  <a:lnTo>
                    <a:pt x="15439" y="0"/>
                  </a:lnTo>
                  <a:cubicBezTo>
                    <a:pt x="16753" y="0"/>
                    <a:pt x="17413" y="636"/>
                    <a:pt x="17413" y="1909"/>
                  </a:cubicBezTo>
                  <a:lnTo>
                    <a:pt x="17413" y="69911"/>
                  </a:lnTo>
                  <a:lnTo>
                    <a:pt x="73051" y="1725"/>
                  </a:lnTo>
                  <a:cubicBezTo>
                    <a:pt x="73823" y="571"/>
                    <a:pt x="74859" y="0"/>
                    <a:pt x="76153" y="0"/>
                  </a:cubicBezTo>
                  <a:lnTo>
                    <a:pt x="92002" y="0"/>
                  </a:lnTo>
                  <a:cubicBezTo>
                    <a:pt x="92642" y="0"/>
                    <a:pt x="93058" y="223"/>
                    <a:pt x="93256" y="669"/>
                  </a:cubicBezTo>
                  <a:cubicBezTo>
                    <a:pt x="93454" y="1122"/>
                    <a:pt x="93276" y="1666"/>
                    <a:pt x="92774" y="2296"/>
                  </a:cubicBezTo>
                  <a:lnTo>
                    <a:pt x="51796" y="51280"/>
                  </a:lnTo>
                  <a:lnTo>
                    <a:pt x="96833" y="128485"/>
                  </a:lnTo>
                  <a:cubicBezTo>
                    <a:pt x="97724" y="129909"/>
                    <a:pt x="97348" y="130604"/>
                    <a:pt x="95678" y="130604"/>
                  </a:cubicBezTo>
                  <a:lnTo>
                    <a:pt x="80206" y="130604"/>
                  </a:lnTo>
                  <a:cubicBezTo>
                    <a:pt x="79057" y="130604"/>
                    <a:pt x="78140" y="130034"/>
                    <a:pt x="77500" y="128872"/>
                  </a:cubicBezTo>
                  <a:lnTo>
                    <a:pt x="40714" y="64531"/>
                  </a:lnTo>
                  <a:lnTo>
                    <a:pt x="17413" y="92582"/>
                  </a:lnTo>
                  <a:lnTo>
                    <a:pt x="17413" y="128682"/>
                  </a:lnTo>
                  <a:cubicBezTo>
                    <a:pt x="17413" y="129961"/>
                    <a:pt x="16753" y="130604"/>
                    <a:pt x="15439" y="130604"/>
                  </a:cubicBezTo>
                  <a:lnTo>
                    <a:pt x="1947" y="130604"/>
                  </a:lnTo>
                  <a:cubicBezTo>
                    <a:pt x="653" y="130604"/>
                    <a:pt x="0" y="129961"/>
                    <a:pt x="0" y="128682"/>
                  </a:cubicBezTo>
                  <a:lnTo>
                    <a:pt x="0" y="1909"/>
                  </a:lnTo>
                  <a:close/>
                </a:path>
              </a:pathLst>
            </a:custGeom>
            <a:solidFill>
              <a:schemeClr val="bg2"/>
            </a:solidFill>
            <a:ln w="7" cap="flat">
              <a:noFill/>
              <a:prstDash val="solid"/>
              <a:miter/>
            </a:ln>
          </p:spPr>
          <p:txBody>
            <a:bodyPr rtlCol="0" anchor="ctr"/>
            <a:lstStyle/>
            <a:p>
              <a:endParaRPr lang="de-DE"/>
            </a:p>
          </p:txBody>
        </p:sp>
        <p:sp>
          <p:nvSpPr>
            <p:cNvPr id="16" name="Freeform: Shape 15">
              <a:extLst>
                <a:ext uri="{FF2B5EF4-FFF2-40B4-BE49-F238E27FC236}">
                  <a16:creationId xmlns:a16="http://schemas.microsoft.com/office/drawing/2014/main" id="{5C2FE0B7-3524-4B56-A9C8-A1E85127309B}"/>
                </a:ext>
              </a:extLst>
            </p:cNvPr>
            <p:cNvSpPr/>
            <p:nvPr/>
          </p:nvSpPr>
          <p:spPr>
            <a:xfrm>
              <a:off x="11440183" y="509266"/>
              <a:ext cx="83123" cy="130604"/>
            </a:xfrm>
            <a:custGeom>
              <a:avLst/>
              <a:gdLst>
                <a:gd name="connsiteX0" fmla="*/ 0 w 83123"/>
                <a:gd name="connsiteY0" fmla="*/ 1909 h 130604"/>
                <a:gd name="connsiteX1" fmla="*/ 1947 w 83123"/>
                <a:gd name="connsiteY1" fmla="*/ 0 h 130604"/>
                <a:gd name="connsiteX2" fmla="*/ 81190 w 83123"/>
                <a:gd name="connsiteY2" fmla="*/ 0 h 130604"/>
                <a:gd name="connsiteX3" fmla="*/ 83124 w 83123"/>
                <a:gd name="connsiteY3" fmla="*/ 1909 h 130604"/>
                <a:gd name="connsiteX4" fmla="*/ 83124 w 83123"/>
                <a:gd name="connsiteY4" fmla="*/ 14012 h 130604"/>
                <a:gd name="connsiteX5" fmla="*/ 81190 w 83123"/>
                <a:gd name="connsiteY5" fmla="*/ 15941 h 130604"/>
                <a:gd name="connsiteX6" fmla="*/ 18555 w 83123"/>
                <a:gd name="connsiteY6" fmla="*/ 15941 h 130604"/>
                <a:gd name="connsiteX7" fmla="*/ 17406 w 83123"/>
                <a:gd name="connsiteY7" fmla="*/ 17096 h 130604"/>
                <a:gd name="connsiteX8" fmla="*/ 17406 w 83123"/>
                <a:gd name="connsiteY8" fmla="*/ 55505 h 130604"/>
                <a:gd name="connsiteX9" fmla="*/ 18555 w 83123"/>
                <a:gd name="connsiteY9" fmla="*/ 56646 h 130604"/>
                <a:gd name="connsiteX10" fmla="*/ 71704 w 83123"/>
                <a:gd name="connsiteY10" fmla="*/ 56646 h 130604"/>
                <a:gd name="connsiteX11" fmla="*/ 73658 w 83123"/>
                <a:gd name="connsiteY11" fmla="*/ 58575 h 130604"/>
                <a:gd name="connsiteX12" fmla="*/ 73658 w 83123"/>
                <a:gd name="connsiteY12" fmla="*/ 70678 h 130604"/>
                <a:gd name="connsiteX13" fmla="*/ 71704 w 83123"/>
                <a:gd name="connsiteY13" fmla="*/ 72600 h 130604"/>
                <a:gd name="connsiteX14" fmla="*/ 18555 w 83123"/>
                <a:gd name="connsiteY14" fmla="*/ 72600 h 130604"/>
                <a:gd name="connsiteX15" fmla="*/ 17406 w 83123"/>
                <a:gd name="connsiteY15" fmla="*/ 73748 h 130604"/>
                <a:gd name="connsiteX16" fmla="*/ 17406 w 83123"/>
                <a:gd name="connsiteY16" fmla="*/ 113509 h 130604"/>
                <a:gd name="connsiteX17" fmla="*/ 18555 w 83123"/>
                <a:gd name="connsiteY17" fmla="*/ 114670 h 130604"/>
                <a:gd name="connsiteX18" fmla="*/ 81190 w 83123"/>
                <a:gd name="connsiteY18" fmla="*/ 114670 h 130604"/>
                <a:gd name="connsiteX19" fmla="*/ 83124 w 83123"/>
                <a:gd name="connsiteY19" fmla="*/ 116599 h 130604"/>
                <a:gd name="connsiteX20" fmla="*/ 83124 w 83123"/>
                <a:gd name="connsiteY20" fmla="*/ 128682 h 130604"/>
                <a:gd name="connsiteX21" fmla="*/ 81190 w 83123"/>
                <a:gd name="connsiteY21" fmla="*/ 130604 h 130604"/>
                <a:gd name="connsiteX22" fmla="*/ 1954 w 83123"/>
                <a:gd name="connsiteY22" fmla="*/ 130604 h 130604"/>
                <a:gd name="connsiteX23" fmla="*/ 0 w 83123"/>
                <a:gd name="connsiteY23" fmla="*/ 128682 h 130604"/>
                <a:gd name="connsiteX24" fmla="*/ 0 w 83123"/>
                <a:gd name="connsiteY24"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23" h="130604">
                  <a:moveTo>
                    <a:pt x="0" y="1909"/>
                  </a:moveTo>
                  <a:cubicBezTo>
                    <a:pt x="0" y="636"/>
                    <a:pt x="660" y="0"/>
                    <a:pt x="1947" y="0"/>
                  </a:cubicBezTo>
                  <a:lnTo>
                    <a:pt x="81190" y="0"/>
                  </a:lnTo>
                  <a:cubicBezTo>
                    <a:pt x="82483" y="0"/>
                    <a:pt x="83124" y="636"/>
                    <a:pt x="83124" y="1909"/>
                  </a:cubicBezTo>
                  <a:lnTo>
                    <a:pt x="83124" y="14012"/>
                  </a:lnTo>
                  <a:cubicBezTo>
                    <a:pt x="83124" y="15298"/>
                    <a:pt x="82483" y="15941"/>
                    <a:pt x="81190" y="15941"/>
                  </a:cubicBezTo>
                  <a:lnTo>
                    <a:pt x="18555" y="15941"/>
                  </a:lnTo>
                  <a:cubicBezTo>
                    <a:pt x="17782" y="15941"/>
                    <a:pt x="17406" y="16328"/>
                    <a:pt x="17406" y="17096"/>
                  </a:cubicBezTo>
                  <a:lnTo>
                    <a:pt x="17406" y="55505"/>
                  </a:lnTo>
                  <a:cubicBezTo>
                    <a:pt x="17406" y="56272"/>
                    <a:pt x="17782" y="56646"/>
                    <a:pt x="18555" y="56646"/>
                  </a:cubicBezTo>
                  <a:lnTo>
                    <a:pt x="71704" y="56646"/>
                  </a:lnTo>
                  <a:cubicBezTo>
                    <a:pt x="73005" y="56646"/>
                    <a:pt x="73658" y="57289"/>
                    <a:pt x="73658" y="58575"/>
                  </a:cubicBezTo>
                  <a:lnTo>
                    <a:pt x="73658" y="70678"/>
                  </a:lnTo>
                  <a:cubicBezTo>
                    <a:pt x="73658" y="71964"/>
                    <a:pt x="72998" y="72600"/>
                    <a:pt x="71704" y="72600"/>
                  </a:cubicBezTo>
                  <a:lnTo>
                    <a:pt x="18555" y="72600"/>
                  </a:lnTo>
                  <a:cubicBezTo>
                    <a:pt x="17782" y="72600"/>
                    <a:pt x="17406" y="72981"/>
                    <a:pt x="17406" y="73748"/>
                  </a:cubicBezTo>
                  <a:lnTo>
                    <a:pt x="17406" y="113509"/>
                  </a:lnTo>
                  <a:cubicBezTo>
                    <a:pt x="17406" y="114283"/>
                    <a:pt x="17782" y="114670"/>
                    <a:pt x="18555" y="114670"/>
                  </a:cubicBezTo>
                  <a:lnTo>
                    <a:pt x="81190" y="114670"/>
                  </a:lnTo>
                  <a:cubicBezTo>
                    <a:pt x="82483" y="114670"/>
                    <a:pt x="83124" y="115313"/>
                    <a:pt x="83124" y="116599"/>
                  </a:cubicBezTo>
                  <a:lnTo>
                    <a:pt x="83124" y="128682"/>
                  </a:lnTo>
                  <a:cubicBezTo>
                    <a:pt x="83124" y="129961"/>
                    <a:pt x="82483" y="130604"/>
                    <a:pt x="81190" y="130604"/>
                  </a:cubicBezTo>
                  <a:lnTo>
                    <a:pt x="1954" y="130604"/>
                  </a:lnTo>
                  <a:cubicBezTo>
                    <a:pt x="660" y="130604"/>
                    <a:pt x="0" y="129961"/>
                    <a:pt x="0" y="128682"/>
                  </a:cubicBezTo>
                  <a:lnTo>
                    <a:pt x="0" y="1909"/>
                  </a:lnTo>
                  <a:close/>
                </a:path>
              </a:pathLst>
            </a:custGeom>
            <a:solidFill>
              <a:schemeClr val="bg2"/>
            </a:solidFill>
            <a:ln w="7" cap="flat">
              <a:noFill/>
              <a:prstDash val="solid"/>
              <a:miter/>
            </a:ln>
          </p:spPr>
          <p:txBody>
            <a:bodyPr rtlCol="0" anchor="ctr"/>
            <a:lstStyle/>
            <a:p>
              <a:endParaRPr lang="de-DE"/>
            </a:p>
          </p:txBody>
        </p:sp>
        <p:sp>
          <p:nvSpPr>
            <p:cNvPr id="18" name="Freeform: Shape 17">
              <a:extLst>
                <a:ext uri="{FF2B5EF4-FFF2-40B4-BE49-F238E27FC236}">
                  <a16:creationId xmlns:a16="http://schemas.microsoft.com/office/drawing/2014/main" id="{22840E7A-E5C3-44FE-9850-5A476174C683}"/>
                </a:ext>
              </a:extLst>
            </p:cNvPr>
            <p:cNvSpPr/>
            <p:nvPr/>
          </p:nvSpPr>
          <p:spPr>
            <a:xfrm>
              <a:off x="10721255" y="713389"/>
              <a:ext cx="94851" cy="134835"/>
            </a:xfrm>
            <a:custGeom>
              <a:avLst/>
              <a:gdLst>
                <a:gd name="connsiteX0" fmla="*/ 46917 w 94851"/>
                <a:gd name="connsiteY0" fmla="*/ 134836 h 134835"/>
                <a:gd name="connsiteX1" fmla="*/ 33194 w 94851"/>
                <a:gd name="connsiteY1" fmla="*/ 133484 h 134835"/>
                <a:gd name="connsiteX2" fmla="*/ 20434 w 94851"/>
                <a:gd name="connsiteY2" fmla="*/ 129929 h 134835"/>
                <a:gd name="connsiteX3" fmla="*/ 9437 w 94851"/>
                <a:gd name="connsiteY3" fmla="*/ 124753 h 134835"/>
                <a:gd name="connsiteX4" fmla="*/ 724 w 94851"/>
                <a:gd name="connsiteY4" fmla="*/ 118508 h 134835"/>
                <a:gd name="connsiteX5" fmla="*/ 539 w 94851"/>
                <a:gd name="connsiteY5" fmla="*/ 115628 h 134835"/>
                <a:gd name="connsiteX6" fmla="*/ 9048 w 94851"/>
                <a:gd name="connsiteY6" fmla="*/ 105643 h 134835"/>
                <a:gd name="connsiteX7" fmla="*/ 11748 w 94851"/>
                <a:gd name="connsiteY7" fmla="*/ 105446 h 134835"/>
                <a:gd name="connsiteX8" fmla="*/ 27596 w 94851"/>
                <a:gd name="connsiteY8" fmla="*/ 114670 h 134835"/>
                <a:gd name="connsiteX9" fmla="*/ 48468 w 94851"/>
                <a:gd name="connsiteY9" fmla="*/ 118888 h 134835"/>
                <a:gd name="connsiteX10" fmla="*/ 69828 w 94851"/>
                <a:gd name="connsiteY10" fmla="*/ 112748 h 134835"/>
                <a:gd name="connsiteX11" fmla="*/ 77458 w 94851"/>
                <a:gd name="connsiteY11" fmla="*/ 96610 h 134835"/>
                <a:gd name="connsiteX12" fmla="*/ 76105 w 94851"/>
                <a:gd name="connsiteY12" fmla="*/ 88928 h 134835"/>
                <a:gd name="connsiteX13" fmla="*/ 71564 w 94851"/>
                <a:gd name="connsiteY13" fmla="*/ 82781 h 134835"/>
                <a:gd name="connsiteX14" fmla="*/ 63168 w 94851"/>
                <a:gd name="connsiteY14" fmla="*/ 78163 h 134835"/>
                <a:gd name="connsiteX15" fmla="*/ 50012 w 94851"/>
                <a:gd name="connsiteY15" fmla="*/ 75303 h 134835"/>
                <a:gd name="connsiteX16" fmla="*/ 43438 w 94851"/>
                <a:gd name="connsiteY16" fmla="*/ 74326 h 134835"/>
                <a:gd name="connsiteX17" fmla="*/ 4790 w 94851"/>
                <a:gd name="connsiteY17" fmla="*/ 38219 h 134835"/>
                <a:gd name="connsiteX18" fmla="*/ 7781 w 94851"/>
                <a:gd name="connsiteY18" fmla="*/ 22462 h 134835"/>
                <a:gd name="connsiteX19" fmla="*/ 16388 w 94851"/>
                <a:gd name="connsiteY19" fmla="*/ 10371 h 134835"/>
                <a:gd name="connsiteX20" fmla="*/ 29906 w 94851"/>
                <a:gd name="connsiteY20" fmla="*/ 2683 h 134835"/>
                <a:gd name="connsiteX21" fmla="*/ 47689 w 94851"/>
                <a:gd name="connsiteY21" fmla="*/ 0 h 134835"/>
                <a:gd name="connsiteX22" fmla="*/ 69828 w 94851"/>
                <a:gd name="connsiteY22" fmla="*/ 3352 h 134835"/>
                <a:gd name="connsiteX23" fmla="*/ 87703 w 94851"/>
                <a:gd name="connsiteY23" fmla="*/ 12097 h 134835"/>
                <a:gd name="connsiteX24" fmla="*/ 88086 w 94851"/>
                <a:gd name="connsiteY24" fmla="*/ 14786 h 134835"/>
                <a:gd name="connsiteX25" fmla="*/ 81518 w 94851"/>
                <a:gd name="connsiteY25" fmla="*/ 25348 h 134835"/>
                <a:gd name="connsiteX26" fmla="*/ 78811 w 94851"/>
                <a:gd name="connsiteY26" fmla="*/ 25729 h 134835"/>
                <a:gd name="connsiteX27" fmla="*/ 63168 w 94851"/>
                <a:gd name="connsiteY27" fmla="*/ 18329 h 134835"/>
                <a:gd name="connsiteX28" fmla="*/ 47115 w 94851"/>
                <a:gd name="connsiteY28" fmla="*/ 15941 h 134835"/>
                <a:gd name="connsiteX29" fmla="*/ 28553 w 94851"/>
                <a:gd name="connsiteY29" fmla="*/ 21793 h 134835"/>
                <a:gd name="connsiteX30" fmla="*/ 22177 w 94851"/>
                <a:gd name="connsiteY30" fmla="*/ 37064 h 134835"/>
                <a:gd name="connsiteX31" fmla="*/ 28362 w 94851"/>
                <a:gd name="connsiteY31" fmla="*/ 50611 h 134835"/>
                <a:gd name="connsiteX32" fmla="*/ 49821 w 94851"/>
                <a:gd name="connsiteY32" fmla="*/ 58004 h 134835"/>
                <a:gd name="connsiteX33" fmla="*/ 56197 w 94851"/>
                <a:gd name="connsiteY33" fmla="*/ 58968 h 134835"/>
                <a:gd name="connsiteX34" fmla="*/ 85201 w 94851"/>
                <a:gd name="connsiteY34" fmla="*/ 70488 h 134835"/>
                <a:gd name="connsiteX35" fmla="*/ 94851 w 94851"/>
                <a:gd name="connsiteY35" fmla="*/ 95469 h 134835"/>
                <a:gd name="connsiteX36" fmla="*/ 91855 w 94851"/>
                <a:gd name="connsiteY36" fmla="*/ 111311 h 134835"/>
                <a:gd name="connsiteX37" fmla="*/ 82772 w 94851"/>
                <a:gd name="connsiteY37" fmla="*/ 123697 h 134835"/>
                <a:gd name="connsiteX38" fmla="*/ 67702 w 94851"/>
                <a:gd name="connsiteY38" fmla="*/ 131851 h 134835"/>
                <a:gd name="connsiteX39" fmla="*/ 46917 w 94851"/>
                <a:gd name="connsiteY39" fmla="*/ 134836 h 134835"/>
                <a:gd name="connsiteX40" fmla="*/ 46917 w 94851"/>
                <a:gd name="connsiteY40" fmla="*/ 134836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4851" h="134835">
                  <a:moveTo>
                    <a:pt x="46917" y="134836"/>
                  </a:moveTo>
                  <a:cubicBezTo>
                    <a:pt x="42283" y="134836"/>
                    <a:pt x="37715" y="134376"/>
                    <a:pt x="33194" y="133484"/>
                  </a:cubicBezTo>
                  <a:cubicBezTo>
                    <a:pt x="28692" y="132592"/>
                    <a:pt x="24434" y="131405"/>
                    <a:pt x="20434" y="129929"/>
                  </a:cubicBezTo>
                  <a:cubicBezTo>
                    <a:pt x="16461" y="128466"/>
                    <a:pt x="12777" y="126734"/>
                    <a:pt x="9437" y="124753"/>
                  </a:cubicBezTo>
                  <a:cubicBezTo>
                    <a:pt x="6071" y="122772"/>
                    <a:pt x="3173" y="120685"/>
                    <a:pt x="724" y="118508"/>
                  </a:cubicBezTo>
                  <a:cubicBezTo>
                    <a:pt x="-180" y="117615"/>
                    <a:pt x="-233" y="116644"/>
                    <a:pt x="539" y="115628"/>
                  </a:cubicBezTo>
                  <a:lnTo>
                    <a:pt x="9048" y="105643"/>
                  </a:lnTo>
                  <a:cubicBezTo>
                    <a:pt x="9820" y="104738"/>
                    <a:pt x="10711" y="104672"/>
                    <a:pt x="11748" y="105446"/>
                  </a:cubicBezTo>
                  <a:cubicBezTo>
                    <a:pt x="15998" y="108786"/>
                    <a:pt x="21279" y="111856"/>
                    <a:pt x="27596" y="114670"/>
                  </a:cubicBezTo>
                  <a:cubicBezTo>
                    <a:pt x="33900" y="117491"/>
                    <a:pt x="40864" y="118888"/>
                    <a:pt x="48468" y="118888"/>
                  </a:cubicBezTo>
                  <a:cubicBezTo>
                    <a:pt x="57616" y="118888"/>
                    <a:pt x="64732" y="116848"/>
                    <a:pt x="69828" y="112748"/>
                  </a:cubicBezTo>
                  <a:cubicBezTo>
                    <a:pt x="74917" y="108654"/>
                    <a:pt x="77458" y="103275"/>
                    <a:pt x="77458" y="96610"/>
                  </a:cubicBezTo>
                  <a:cubicBezTo>
                    <a:pt x="77458" y="93796"/>
                    <a:pt x="77016" y="91237"/>
                    <a:pt x="76105" y="88928"/>
                  </a:cubicBezTo>
                  <a:cubicBezTo>
                    <a:pt x="75201" y="86626"/>
                    <a:pt x="73689" y="84572"/>
                    <a:pt x="71564" y="82781"/>
                  </a:cubicBezTo>
                  <a:cubicBezTo>
                    <a:pt x="69432" y="80984"/>
                    <a:pt x="66640" y="79449"/>
                    <a:pt x="63168" y="78163"/>
                  </a:cubicBezTo>
                  <a:cubicBezTo>
                    <a:pt x="59676" y="76897"/>
                    <a:pt x="55293" y="75933"/>
                    <a:pt x="50012" y="75303"/>
                  </a:cubicBezTo>
                  <a:lnTo>
                    <a:pt x="43438" y="74326"/>
                  </a:lnTo>
                  <a:cubicBezTo>
                    <a:pt x="17682" y="70868"/>
                    <a:pt x="4790" y="58831"/>
                    <a:pt x="4790" y="38219"/>
                  </a:cubicBezTo>
                  <a:cubicBezTo>
                    <a:pt x="4790" y="32446"/>
                    <a:pt x="5787" y="27198"/>
                    <a:pt x="7781" y="22462"/>
                  </a:cubicBezTo>
                  <a:cubicBezTo>
                    <a:pt x="9781" y="17732"/>
                    <a:pt x="12652" y="13697"/>
                    <a:pt x="16388" y="10371"/>
                  </a:cubicBezTo>
                  <a:cubicBezTo>
                    <a:pt x="20111" y="7039"/>
                    <a:pt x="24626" y="4487"/>
                    <a:pt x="29906" y="2683"/>
                  </a:cubicBezTo>
                  <a:cubicBezTo>
                    <a:pt x="35194" y="899"/>
                    <a:pt x="41128" y="0"/>
                    <a:pt x="47689" y="0"/>
                  </a:cubicBezTo>
                  <a:cubicBezTo>
                    <a:pt x="55418" y="0"/>
                    <a:pt x="62805" y="1122"/>
                    <a:pt x="69828" y="3352"/>
                  </a:cubicBezTo>
                  <a:cubicBezTo>
                    <a:pt x="76851" y="5596"/>
                    <a:pt x="82805" y="8522"/>
                    <a:pt x="87703" y="12097"/>
                  </a:cubicBezTo>
                  <a:cubicBezTo>
                    <a:pt x="88732" y="12858"/>
                    <a:pt x="88864" y="13756"/>
                    <a:pt x="88086" y="14786"/>
                  </a:cubicBezTo>
                  <a:lnTo>
                    <a:pt x="81518" y="25348"/>
                  </a:lnTo>
                  <a:cubicBezTo>
                    <a:pt x="80752" y="26247"/>
                    <a:pt x="79841" y="26371"/>
                    <a:pt x="78811" y="25729"/>
                  </a:cubicBezTo>
                  <a:cubicBezTo>
                    <a:pt x="73405" y="22403"/>
                    <a:pt x="68171" y="19936"/>
                    <a:pt x="63168" y="18329"/>
                  </a:cubicBezTo>
                  <a:cubicBezTo>
                    <a:pt x="58138" y="16741"/>
                    <a:pt x="52785" y="15941"/>
                    <a:pt x="47115" y="15941"/>
                  </a:cubicBezTo>
                  <a:cubicBezTo>
                    <a:pt x="39002" y="15941"/>
                    <a:pt x="32811" y="17889"/>
                    <a:pt x="28553" y="21793"/>
                  </a:cubicBezTo>
                  <a:cubicBezTo>
                    <a:pt x="24309" y="25702"/>
                    <a:pt x="22177" y="30806"/>
                    <a:pt x="22177" y="37064"/>
                  </a:cubicBezTo>
                  <a:cubicBezTo>
                    <a:pt x="22177" y="42568"/>
                    <a:pt x="24230" y="47082"/>
                    <a:pt x="28362" y="50611"/>
                  </a:cubicBezTo>
                  <a:cubicBezTo>
                    <a:pt x="32481" y="54134"/>
                    <a:pt x="39636" y="56587"/>
                    <a:pt x="49821" y="58004"/>
                  </a:cubicBezTo>
                  <a:lnTo>
                    <a:pt x="56197" y="58968"/>
                  </a:lnTo>
                  <a:cubicBezTo>
                    <a:pt x="69082" y="60759"/>
                    <a:pt x="78752" y="64597"/>
                    <a:pt x="85201" y="70488"/>
                  </a:cubicBezTo>
                  <a:cubicBezTo>
                    <a:pt x="91630" y="76385"/>
                    <a:pt x="94851" y="84704"/>
                    <a:pt x="94851" y="95469"/>
                  </a:cubicBezTo>
                  <a:cubicBezTo>
                    <a:pt x="94851" y="101215"/>
                    <a:pt x="93855" y="106503"/>
                    <a:pt x="91855" y="111311"/>
                  </a:cubicBezTo>
                  <a:cubicBezTo>
                    <a:pt x="89861" y="116113"/>
                    <a:pt x="86838" y="120233"/>
                    <a:pt x="82772" y="123697"/>
                  </a:cubicBezTo>
                  <a:cubicBezTo>
                    <a:pt x="78719" y="127147"/>
                    <a:pt x="73689" y="129876"/>
                    <a:pt x="67702" y="131851"/>
                  </a:cubicBezTo>
                  <a:cubicBezTo>
                    <a:pt x="61715" y="133838"/>
                    <a:pt x="54771" y="134836"/>
                    <a:pt x="46917" y="134836"/>
                  </a:cubicBezTo>
                  <a:lnTo>
                    <a:pt x="46917" y="134836"/>
                  </a:lnTo>
                  <a:close/>
                </a:path>
              </a:pathLst>
            </a:custGeom>
            <a:solidFill>
              <a:schemeClr val="bg2"/>
            </a:solidFill>
            <a:ln w="7" cap="flat">
              <a:noFill/>
              <a:prstDash val="solid"/>
              <a:miter/>
            </a:ln>
          </p:spPr>
          <p:txBody>
            <a:bodyPr rtlCol="0" anchor="ctr"/>
            <a:lstStyle/>
            <a:p>
              <a:endParaRPr lang="de-DE"/>
            </a:p>
          </p:txBody>
        </p:sp>
        <p:sp>
          <p:nvSpPr>
            <p:cNvPr id="19" name="Freeform: Shape 18">
              <a:extLst>
                <a:ext uri="{FF2B5EF4-FFF2-40B4-BE49-F238E27FC236}">
                  <a16:creationId xmlns:a16="http://schemas.microsoft.com/office/drawing/2014/main" id="{1A630EB5-1CCF-4A35-8D73-D57C86245C7E}"/>
                </a:ext>
              </a:extLst>
            </p:cNvPr>
            <p:cNvSpPr/>
            <p:nvPr/>
          </p:nvSpPr>
          <p:spPr>
            <a:xfrm>
              <a:off x="10844516" y="715501"/>
              <a:ext cx="17386" cy="130604"/>
            </a:xfrm>
            <a:custGeom>
              <a:avLst/>
              <a:gdLst>
                <a:gd name="connsiteX0" fmla="*/ 0 w 17386"/>
                <a:gd name="connsiteY0" fmla="*/ 1916 h 130604"/>
                <a:gd name="connsiteX1" fmla="*/ 1954 w 17386"/>
                <a:gd name="connsiteY1" fmla="*/ 0 h 130604"/>
                <a:gd name="connsiteX2" fmla="*/ 15439 w 17386"/>
                <a:gd name="connsiteY2" fmla="*/ 0 h 130604"/>
                <a:gd name="connsiteX3" fmla="*/ 17386 w 17386"/>
                <a:gd name="connsiteY3" fmla="*/ 1916 h 130604"/>
                <a:gd name="connsiteX4" fmla="*/ 17386 w 17386"/>
                <a:gd name="connsiteY4" fmla="*/ 128682 h 130604"/>
                <a:gd name="connsiteX5" fmla="*/ 15439 w 17386"/>
                <a:gd name="connsiteY5" fmla="*/ 130604 h 130604"/>
                <a:gd name="connsiteX6" fmla="*/ 1954 w 17386"/>
                <a:gd name="connsiteY6" fmla="*/ 130604 h 130604"/>
                <a:gd name="connsiteX7" fmla="*/ 0 w 17386"/>
                <a:gd name="connsiteY7" fmla="*/ 128682 h 130604"/>
                <a:gd name="connsiteX8" fmla="*/ 0 w 17386"/>
                <a:gd name="connsiteY8"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6" h="130604">
                  <a:moveTo>
                    <a:pt x="0" y="1916"/>
                  </a:moveTo>
                  <a:cubicBezTo>
                    <a:pt x="0" y="636"/>
                    <a:pt x="653" y="0"/>
                    <a:pt x="1954" y="0"/>
                  </a:cubicBezTo>
                  <a:lnTo>
                    <a:pt x="15439" y="0"/>
                  </a:lnTo>
                  <a:cubicBezTo>
                    <a:pt x="16740" y="0"/>
                    <a:pt x="17386" y="636"/>
                    <a:pt x="17386" y="1916"/>
                  </a:cubicBezTo>
                  <a:lnTo>
                    <a:pt x="17386" y="128682"/>
                  </a:lnTo>
                  <a:cubicBezTo>
                    <a:pt x="17386" y="129961"/>
                    <a:pt x="16740" y="130604"/>
                    <a:pt x="15439" y="130604"/>
                  </a:cubicBezTo>
                  <a:lnTo>
                    <a:pt x="1954"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20" name="Freeform: Shape 19">
              <a:extLst>
                <a:ext uri="{FF2B5EF4-FFF2-40B4-BE49-F238E27FC236}">
                  <a16:creationId xmlns:a16="http://schemas.microsoft.com/office/drawing/2014/main" id="{3732650A-6774-45BF-9E81-40FAE6DCEBF8}"/>
                </a:ext>
              </a:extLst>
            </p:cNvPr>
            <p:cNvSpPr/>
            <p:nvPr/>
          </p:nvSpPr>
          <p:spPr>
            <a:xfrm>
              <a:off x="10896114" y="715501"/>
              <a:ext cx="90641" cy="130604"/>
            </a:xfrm>
            <a:custGeom>
              <a:avLst/>
              <a:gdLst>
                <a:gd name="connsiteX0" fmla="*/ 0 w 90641"/>
                <a:gd name="connsiteY0" fmla="*/ 1916 h 130604"/>
                <a:gd name="connsiteX1" fmla="*/ 1941 w 90641"/>
                <a:gd name="connsiteY1" fmla="*/ 0 h 130604"/>
                <a:gd name="connsiteX2" fmla="*/ 48516 w 90641"/>
                <a:gd name="connsiteY2" fmla="*/ 0 h 130604"/>
                <a:gd name="connsiteX3" fmla="*/ 78272 w 90641"/>
                <a:gd name="connsiteY3" fmla="*/ 9315 h 130604"/>
                <a:gd name="connsiteX4" fmla="*/ 88134 w 90641"/>
                <a:gd name="connsiteY4" fmla="*/ 34375 h 130604"/>
                <a:gd name="connsiteX5" fmla="*/ 83203 w 90641"/>
                <a:gd name="connsiteY5" fmla="*/ 52815 h 130604"/>
                <a:gd name="connsiteX6" fmla="*/ 70549 w 90641"/>
                <a:gd name="connsiteY6" fmla="*/ 62806 h 130604"/>
                <a:gd name="connsiteX7" fmla="*/ 70549 w 90641"/>
                <a:gd name="connsiteY7" fmla="*/ 63193 h 130604"/>
                <a:gd name="connsiteX8" fmla="*/ 77401 w 90641"/>
                <a:gd name="connsiteY8" fmla="*/ 66552 h 130604"/>
                <a:gd name="connsiteX9" fmla="*/ 83876 w 90641"/>
                <a:gd name="connsiteY9" fmla="*/ 72699 h 130604"/>
                <a:gd name="connsiteX10" fmla="*/ 88721 w 90641"/>
                <a:gd name="connsiteY10" fmla="*/ 81633 h 130604"/>
                <a:gd name="connsiteX11" fmla="*/ 90642 w 90641"/>
                <a:gd name="connsiteY11" fmla="*/ 93356 h 130604"/>
                <a:gd name="connsiteX12" fmla="*/ 79500 w 90641"/>
                <a:gd name="connsiteY12" fmla="*/ 121204 h 130604"/>
                <a:gd name="connsiteX13" fmla="*/ 47644 w 90641"/>
                <a:gd name="connsiteY13" fmla="*/ 130604 h 130604"/>
                <a:gd name="connsiteX14" fmla="*/ 1941 w 90641"/>
                <a:gd name="connsiteY14" fmla="*/ 130604 h 130604"/>
                <a:gd name="connsiteX15" fmla="*/ 0 w 90641"/>
                <a:gd name="connsiteY15" fmla="*/ 128682 h 130604"/>
                <a:gd name="connsiteX16" fmla="*/ 0 w 90641"/>
                <a:gd name="connsiteY16" fmla="*/ 1916 h 130604"/>
                <a:gd name="connsiteX17" fmla="*/ 48212 w 90641"/>
                <a:gd name="connsiteY17" fmla="*/ 56462 h 130604"/>
                <a:gd name="connsiteX18" fmla="*/ 65150 w 90641"/>
                <a:gd name="connsiteY18" fmla="*/ 50900 h 130604"/>
                <a:gd name="connsiteX19" fmla="*/ 71130 w 90641"/>
                <a:gd name="connsiteY19" fmla="*/ 36113 h 130604"/>
                <a:gd name="connsiteX20" fmla="*/ 65150 w 90641"/>
                <a:gd name="connsiteY20" fmla="*/ 21123 h 130604"/>
                <a:gd name="connsiteX21" fmla="*/ 48212 w 90641"/>
                <a:gd name="connsiteY21" fmla="*/ 15554 h 130604"/>
                <a:gd name="connsiteX22" fmla="*/ 18555 w 90641"/>
                <a:gd name="connsiteY22" fmla="*/ 15554 h 130604"/>
                <a:gd name="connsiteX23" fmla="*/ 17393 w 90641"/>
                <a:gd name="connsiteY23" fmla="*/ 16708 h 130604"/>
                <a:gd name="connsiteX24" fmla="*/ 17393 w 90641"/>
                <a:gd name="connsiteY24" fmla="*/ 55308 h 130604"/>
                <a:gd name="connsiteX25" fmla="*/ 18555 w 90641"/>
                <a:gd name="connsiteY25" fmla="*/ 56462 h 130604"/>
                <a:gd name="connsiteX26" fmla="*/ 48212 w 90641"/>
                <a:gd name="connsiteY26" fmla="*/ 56462 h 130604"/>
                <a:gd name="connsiteX27" fmla="*/ 17393 w 90641"/>
                <a:gd name="connsiteY27" fmla="*/ 113902 h 130604"/>
                <a:gd name="connsiteX28" fmla="*/ 18555 w 90641"/>
                <a:gd name="connsiteY28" fmla="*/ 115050 h 130604"/>
                <a:gd name="connsiteX29" fmla="*/ 49182 w 90641"/>
                <a:gd name="connsiteY29" fmla="*/ 115050 h 130604"/>
                <a:gd name="connsiteX30" fmla="*/ 67090 w 90641"/>
                <a:gd name="connsiteY30" fmla="*/ 109199 h 130604"/>
                <a:gd name="connsiteX31" fmla="*/ 73255 w 90641"/>
                <a:gd name="connsiteY31" fmla="*/ 93540 h 130604"/>
                <a:gd name="connsiteX32" fmla="*/ 67090 w 90641"/>
                <a:gd name="connsiteY32" fmla="*/ 77881 h 130604"/>
                <a:gd name="connsiteX33" fmla="*/ 49182 w 90641"/>
                <a:gd name="connsiteY33" fmla="*/ 72029 h 130604"/>
                <a:gd name="connsiteX34" fmla="*/ 18555 w 90641"/>
                <a:gd name="connsiteY34" fmla="*/ 72029 h 130604"/>
                <a:gd name="connsiteX35" fmla="*/ 17393 w 90641"/>
                <a:gd name="connsiteY35" fmla="*/ 73191 h 130604"/>
                <a:gd name="connsiteX36" fmla="*/ 17393 w 90641"/>
                <a:gd name="connsiteY36" fmla="*/ 113902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0641" h="130604">
                  <a:moveTo>
                    <a:pt x="0" y="1916"/>
                  </a:moveTo>
                  <a:cubicBezTo>
                    <a:pt x="0" y="636"/>
                    <a:pt x="647" y="0"/>
                    <a:pt x="1941" y="0"/>
                  </a:cubicBezTo>
                  <a:lnTo>
                    <a:pt x="48516" y="0"/>
                  </a:lnTo>
                  <a:cubicBezTo>
                    <a:pt x="61783" y="0"/>
                    <a:pt x="71704" y="3109"/>
                    <a:pt x="78272" y="9315"/>
                  </a:cubicBezTo>
                  <a:cubicBezTo>
                    <a:pt x="84840" y="15528"/>
                    <a:pt x="88134" y="23879"/>
                    <a:pt x="88134" y="34375"/>
                  </a:cubicBezTo>
                  <a:cubicBezTo>
                    <a:pt x="88134" y="42057"/>
                    <a:pt x="86497" y="48210"/>
                    <a:pt x="83203" y="52815"/>
                  </a:cubicBezTo>
                  <a:cubicBezTo>
                    <a:pt x="79916" y="57420"/>
                    <a:pt x="75691" y="60759"/>
                    <a:pt x="70549" y="62806"/>
                  </a:cubicBezTo>
                  <a:lnTo>
                    <a:pt x="70549" y="63193"/>
                  </a:lnTo>
                  <a:cubicBezTo>
                    <a:pt x="72734" y="63829"/>
                    <a:pt x="75024" y="64945"/>
                    <a:pt x="77401" y="66552"/>
                  </a:cubicBezTo>
                  <a:cubicBezTo>
                    <a:pt x="79784" y="68159"/>
                    <a:pt x="81955" y="70199"/>
                    <a:pt x="83876" y="72699"/>
                  </a:cubicBezTo>
                  <a:cubicBezTo>
                    <a:pt x="85817" y="75198"/>
                    <a:pt x="87427" y="78183"/>
                    <a:pt x="88721" y="81633"/>
                  </a:cubicBezTo>
                  <a:cubicBezTo>
                    <a:pt x="90002" y="85091"/>
                    <a:pt x="90642" y="89000"/>
                    <a:pt x="90642" y="93356"/>
                  </a:cubicBezTo>
                  <a:cubicBezTo>
                    <a:pt x="90648" y="105650"/>
                    <a:pt x="86932" y="114919"/>
                    <a:pt x="79500" y="121204"/>
                  </a:cubicBezTo>
                  <a:cubicBezTo>
                    <a:pt x="72080" y="127469"/>
                    <a:pt x="61460" y="130604"/>
                    <a:pt x="47644" y="130604"/>
                  </a:cubicBezTo>
                  <a:lnTo>
                    <a:pt x="1941" y="130604"/>
                  </a:lnTo>
                  <a:cubicBezTo>
                    <a:pt x="647" y="130604"/>
                    <a:pt x="0" y="129961"/>
                    <a:pt x="0" y="128682"/>
                  </a:cubicBezTo>
                  <a:lnTo>
                    <a:pt x="0" y="1916"/>
                  </a:lnTo>
                  <a:close/>
                  <a:moveTo>
                    <a:pt x="48212" y="56462"/>
                  </a:moveTo>
                  <a:cubicBezTo>
                    <a:pt x="55526" y="56462"/>
                    <a:pt x="61163" y="54606"/>
                    <a:pt x="65150" y="50900"/>
                  </a:cubicBezTo>
                  <a:cubicBezTo>
                    <a:pt x="69143" y="47187"/>
                    <a:pt x="71130" y="42253"/>
                    <a:pt x="71130" y="36113"/>
                  </a:cubicBezTo>
                  <a:cubicBezTo>
                    <a:pt x="71130" y="29829"/>
                    <a:pt x="69143" y="24836"/>
                    <a:pt x="65150" y="21123"/>
                  </a:cubicBezTo>
                  <a:cubicBezTo>
                    <a:pt x="61163" y="17404"/>
                    <a:pt x="55526" y="15554"/>
                    <a:pt x="48212" y="15554"/>
                  </a:cubicBezTo>
                  <a:lnTo>
                    <a:pt x="18555" y="15554"/>
                  </a:lnTo>
                  <a:cubicBezTo>
                    <a:pt x="17782" y="15554"/>
                    <a:pt x="17393" y="15934"/>
                    <a:pt x="17393" y="16708"/>
                  </a:cubicBezTo>
                  <a:lnTo>
                    <a:pt x="17393" y="55308"/>
                  </a:lnTo>
                  <a:cubicBezTo>
                    <a:pt x="17393" y="56075"/>
                    <a:pt x="17782" y="56462"/>
                    <a:pt x="18555" y="56462"/>
                  </a:cubicBezTo>
                  <a:lnTo>
                    <a:pt x="48212" y="56462"/>
                  </a:lnTo>
                  <a:close/>
                  <a:moveTo>
                    <a:pt x="17393" y="113902"/>
                  </a:moveTo>
                  <a:cubicBezTo>
                    <a:pt x="17393" y="114670"/>
                    <a:pt x="17782" y="115050"/>
                    <a:pt x="18555" y="115050"/>
                  </a:cubicBezTo>
                  <a:lnTo>
                    <a:pt x="49182" y="115050"/>
                  </a:lnTo>
                  <a:cubicBezTo>
                    <a:pt x="57011" y="115050"/>
                    <a:pt x="62978" y="113102"/>
                    <a:pt x="67090" y="109199"/>
                  </a:cubicBezTo>
                  <a:cubicBezTo>
                    <a:pt x="71196" y="105289"/>
                    <a:pt x="73255" y="100067"/>
                    <a:pt x="73255" y="93540"/>
                  </a:cubicBezTo>
                  <a:cubicBezTo>
                    <a:pt x="73255" y="87006"/>
                    <a:pt x="71196" y="81784"/>
                    <a:pt x="67090" y="77881"/>
                  </a:cubicBezTo>
                  <a:cubicBezTo>
                    <a:pt x="62978" y="73984"/>
                    <a:pt x="57011" y="72029"/>
                    <a:pt x="49182" y="72029"/>
                  </a:cubicBezTo>
                  <a:lnTo>
                    <a:pt x="18555" y="72029"/>
                  </a:lnTo>
                  <a:cubicBezTo>
                    <a:pt x="17782" y="72029"/>
                    <a:pt x="17393" y="72417"/>
                    <a:pt x="17393" y="73191"/>
                  </a:cubicBezTo>
                  <a:lnTo>
                    <a:pt x="17393" y="113902"/>
                  </a:lnTo>
                  <a:close/>
                </a:path>
              </a:pathLst>
            </a:custGeom>
            <a:solidFill>
              <a:schemeClr val="bg2"/>
            </a:solidFill>
            <a:ln w="7" cap="flat">
              <a:noFill/>
              <a:prstDash val="solid"/>
              <a:miter/>
            </a:ln>
          </p:spPr>
          <p:txBody>
            <a:bodyPr rtlCol="0" anchor="ctr"/>
            <a:lstStyle/>
            <a:p>
              <a:endParaRPr lang="de-DE"/>
            </a:p>
          </p:txBody>
        </p:sp>
        <p:sp>
          <p:nvSpPr>
            <p:cNvPr id="21" name="Freeform: Shape 20">
              <a:extLst>
                <a:ext uri="{FF2B5EF4-FFF2-40B4-BE49-F238E27FC236}">
                  <a16:creationId xmlns:a16="http://schemas.microsoft.com/office/drawing/2014/main" id="{3B82227D-4FF4-4641-954E-20CA43D12293}"/>
                </a:ext>
              </a:extLst>
            </p:cNvPr>
            <p:cNvSpPr/>
            <p:nvPr/>
          </p:nvSpPr>
          <p:spPr>
            <a:xfrm>
              <a:off x="11014789" y="715501"/>
              <a:ext cx="83103" cy="130604"/>
            </a:xfrm>
            <a:custGeom>
              <a:avLst/>
              <a:gdLst>
                <a:gd name="connsiteX0" fmla="*/ 0 w 83103"/>
                <a:gd name="connsiteY0" fmla="*/ 1916 h 130604"/>
                <a:gd name="connsiteX1" fmla="*/ 1941 w 83103"/>
                <a:gd name="connsiteY1" fmla="*/ 0 h 130604"/>
                <a:gd name="connsiteX2" fmla="*/ 81170 w 83103"/>
                <a:gd name="connsiteY2" fmla="*/ 0 h 130604"/>
                <a:gd name="connsiteX3" fmla="*/ 83104 w 83103"/>
                <a:gd name="connsiteY3" fmla="*/ 1916 h 130604"/>
                <a:gd name="connsiteX4" fmla="*/ 83104 w 83103"/>
                <a:gd name="connsiteY4" fmla="*/ 14012 h 130604"/>
                <a:gd name="connsiteX5" fmla="*/ 81170 w 83103"/>
                <a:gd name="connsiteY5" fmla="*/ 15934 h 130604"/>
                <a:gd name="connsiteX6" fmla="*/ 18555 w 83103"/>
                <a:gd name="connsiteY6" fmla="*/ 15934 h 130604"/>
                <a:gd name="connsiteX7" fmla="*/ 17400 w 83103"/>
                <a:gd name="connsiteY7" fmla="*/ 17089 h 130604"/>
                <a:gd name="connsiteX8" fmla="*/ 17400 w 83103"/>
                <a:gd name="connsiteY8" fmla="*/ 55511 h 130604"/>
                <a:gd name="connsiteX9" fmla="*/ 18555 w 83103"/>
                <a:gd name="connsiteY9" fmla="*/ 56653 h 130604"/>
                <a:gd name="connsiteX10" fmla="*/ 71704 w 83103"/>
                <a:gd name="connsiteY10" fmla="*/ 56653 h 130604"/>
                <a:gd name="connsiteX11" fmla="*/ 73645 w 83103"/>
                <a:gd name="connsiteY11" fmla="*/ 58575 h 130604"/>
                <a:gd name="connsiteX12" fmla="*/ 73645 w 83103"/>
                <a:gd name="connsiteY12" fmla="*/ 70685 h 130604"/>
                <a:gd name="connsiteX13" fmla="*/ 71704 w 83103"/>
                <a:gd name="connsiteY13" fmla="*/ 72607 h 130604"/>
                <a:gd name="connsiteX14" fmla="*/ 18555 w 83103"/>
                <a:gd name="connsiteY14" fmla="*/ 72607 h 130604"/>
                <a:gd name="connsiteX15" fmla="*/ 17400 w 83103"/>
                <a:gd name="connsiteY15" fmla="*/ 73755 h 130604"/>
                <a:gd name="connsiteX16" fmla="*/ 17400 w 83103"/>
                <a:gd name="connsiteY16" fmla="*/ 113515 h 130604"/>
                <a:gd name="connsiteX17" fmla="*/ 18555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7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41" y="0"/>
                  </a:cubicBezTo>
                  <a:lnTo>
                    <a:pt x="81170" y="0"/>
                  </a:lnTo>
                  <a:cubicBezTo>
                    <a:pt x="82463" y="0"/>
                    <a:pt x="83104" y="636"/>
                    <a:pt x="83104" y="1916"/>
                  </a:cubicBezTo>
                  <a:lnTo>
                    <a:pt x="83104" y="14012"/>
                  </a:lnTo>
                  <a:cubicBezTo>
                    <a:pt x="83104" y="15292"/>
                    <a:pt x="82463" y="15934"/>
                    <a:pt x="81170" y="15934"/>
                  </a:cubicBezTo>
                  <a:lnTo>
                    <a:pt x="18555" y="15934"/>
                  </a:lnTo>
                  <a:cubicBezTo>
                    <a:pt x="17776" y="15934"/>
                    <a:pt x="17400" y="16321"/>
                    <a:pt x="17400" y="17089"/>
                  </a:cubicBezTo>
                  <a:lnTo>
                    <a:pt x="17400" y="55511"/>
                  </a:lnTo>
                  <a:cubicBezTo>
                    <a:pt x="17400" y="56279"/>
                    <a:pt x="17776" y="56653"/>
                    <a:pt x="18555" y="56653"/>
                  </a:cubicBezTo>
                  <a:lnTo>
                    <a:pt x="71704" y="56653"/>
                  </a:lnTo>
                  <a:cubicBezTo>
                    <a:pt x="72985" y="56653"/>
                    <a:pt x="73645" y="57296"/>
                    <a:pt x="73645" y="58575"/>
                  </a:cubicBezTo>
                  <a:lnTo>
                    <a:pt x="73645" y="70685"/>
                  </a:lnTo>
                  <a:cubicBezTo>
                    <a:pt x="73645" y="71970"/>
                    <a:pt x="72985" y="72607"/>
                    <a:pt x="71704" y="72607"/>
                  </a:cubicBezTo>
                  <a:lnTo>
                    <a:pt x="18555" y="72607"/>
                  </a:lnTo>
                  <a:cubicBezTo>
                    <a:pt x="17776" y="72607"/>
                    <a:pt x="17400" y="72987"/>
                    <a:pt x="17400" y="73755"/>
                  </a:cubicBezTo>
                  <a:lnTo>
                    <a:pt x="17400" y="113515"/>
                  </a:lnTo>
                  <a:cubicBezTo>
                    <a:pt x="17400" y="114283"/>
                    <a:pt x="17776" y="114670"/>
                    <a:pt x="18555" y="114670"/>
                  </a:cubicBezTo>
                  <a:lnTo>
                    <a:pt x="81170" y="114670"/>
                  </a:lnTo>
                  <a:cubicBezTo>
                    <a:pt x="82463" y="114670"/>
                    <a:pt x="83104" y="115306"/>
                    <a:pt x="83104" y="116592"/>
                  </a:cubicBezTo>
                  <a:lnTo>
                    <a:pt x="83104" y="128682"/>
                  </a:lnTo>
                  <a:cubicBezTo>
                    <a:pt x="83104" y="129961"/>
                    <a:pt x="82463" y="130604"/>
                    <a:pt x="81170" y="130604"/>
                  </a:cubicBezTo>
                  <a:lnTo>
                    <a:pt x="1947"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22" name="Freeform: Shape 21">
              <a:extLst>
                <a:ext uri="{FF2B5EF4-FFF2-40B4-BE49-F238E27FC236}">
                  <a16:creationId xmlns:a16="http://schemas.microsoft.com/office/drawing/2014/main" id="{B20853C5-5728-41B4-96DB-6526D5C23E79}"/>
                </a:ext>
              </a:extLst>
            </p:cNvPr>
            <p:cNvSpPr/>
            <p:nvPr/>
          </p:nvSpPr>
          <p:spPr>
            <a:xfrm>
              <a:off x="11113543" y="715494"/>
              <a:ext cx="95486" cy="130617"/>
            </a:xfrm>
            <a:custGeom>
              <a:avLst/>
              <a:gdLst>
                <a:gd name="connsiteX0" fmla="*/ 40991 w 95486"/>
                <a:gd name="connsiteY0" fmla="*/ 130617 h 130617"/>
                <a:gd name="connsiteX1" fmla="*/ 39044 w 95486"/>
                <a:gd name="connsiteY1" fmla="*/ 128689 h 130617"/>
                <a:gd name="connsiteX2" fmla="*/ 39044 w 95486"/>
                <a:gd name="connsiteY2" fmla="*/ 17102 h 130617"/>
                <a:gd name="connsiteX3" fmla="*/ 37882 w 95486"/>
                <a:gd name="connsiteY3" fmla="*/ 15941 h 130617"/>
                <a:gd name="connsiteX4" fmla="*/ 1927 w 95486"/>
                <a:gd name="connsiteY4" fmla="*/ 15941 h 130617"/>
                <a:gd name="connsiteX5" fmla="*/ 0 w 95486"/>
                <a:gd name="connsiteY5" fmla="*/ 14025 h 130617"/>
                <a:gd name="connsiteX6" fmla="*/ 0 w 95486"/>
                <a:gd name="connsiteY6" fmla="*/ 1922 h 130617"/>
                <a:gd name="connsiteX7" fmla="*/ 1927 w 95486"/>
                <a:gd name="connsiteY7" fmla="*/ 0 h 130617"/>
                <a:gd name="connsiteX8" fmla="*/ 93540 w 95486"/>
                <a:gd name="connsiteY8" fmla="*/ 0 h 130617"/>
                <a:gd name="connsiteX9" fmla="*/ 95487 w 95486"/>
                <a:gd name="connsiteY9" fmla="*/ 1922 h 130617"/>
                <a:gd name="connsiteX10" fmla="*/ 95487 w 95486"/>
                <a:gd name="connsiteY10" fmla="*/ 14025 h 130617"/>
                <a:gd name="connsiteX11" fmla="*/ 93540 w 95486"/>
                <a:gd name="connsiteY11" fmla="*/ 15941 h 130617"/>
                <a:gd name="connsiteX12" fmla="*/ 57598 w 95486"/>
                <a:gd name="connsiteY12" fmla="*/ 15941 h 130617"/>
                <a:gd name="connsiteX13" fmla="*/ 56450 w 95486"/>
                <a:gd name="connsiteY13" fmla="*/ 17102 h 130617"/>
                <a:gd name="connsiteX14" fmla="*/ 56450 w 95486"/>
                <a:gd name="connsiteY14" fmla="*/ 128689 h 130617"/>
                <a:gd name="connsiteX15" fmla="*/ 54476 w 95486"/>
                <a:gd name="connsiteY15" fmla="*/ 130617 h 130617"/>
                <a:gd name="connsiteX16" fmla="*/ 40991 w 95486"/>
                <a:gd name="connsiteY16" fmla="*/ 130617 h 130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486" h="130617">
                  <a:moveTo>
                    <a:pt x="40991" y="130617"/>
                  </a:moveTo>
                  <a:cubicBezTo>
                    <a:pt x="39697" y="130617"/>
                    <a:pt x="39044" y="129968"/>
                    <a:pt x="39044" y="128689"/>
                  </a:cubicBezTo>
                  <a:lnTo>
                    <a:pt x="39044" y="17102"/>
                  </a:lnTo>
                  <a:cubicBezTo>
                    <a:pt x="39044" y="16335"/>
                    <a:pt x="38667" y="15941"/>
                    <a:pt x="37882" y="15941"/>
                  </a:cubicBezTo>
                  <a:lnTo>
                    <a:pt x="1927" y="15941"/>
                  </a:lnTo>
                  <a:cubicBezTo>
                    <a:pt x="640" y="15941"/>
                    <a:pt x="0" y="15298"/>
                    <a:pt x="0" y="14025"/>
                  </a:cubicBezTo>
                  <a:lnTo>
                    <a:pt x="0" y="1922"/>
                  </a:lnTo>
                  <a:cubicBezTo>
                    <a:pt x="0" y="643"/>
                    <a:pt x="640" y="0"/>
                    <a:pt x="1927" y="0"/>
                  </a:cubicBezTo>
                  <a:lnTo>
                    <a:pt x="93540" y="0"/>
                  </a:lnTo>
                  <a:cubicBezTo>
                    <a:pt x="94833" y="0"/>
                    <a:pt x="95487" y="643"/>
                    <a:pt x="95487" y="1922"/>
                  </a:cubicBezTo>
                  <a:lnTo>
                    <a:pt x="95487" y="14025"/>
                  </a:lnTo>
                  <a:cubicBezTo>
                    <a:pt x="95487" y="15298"/>
                    <a:pt x="94833" y="15941"/>
                    <a:pt x="93540" y="15941"/>
                  </a:cubicBezTo>
                  <a:lnTo>
                    <a:pt x="57598" y="15941"/>
                  </a:lnTo>
                  <a:cubicBezTo>
                    <a:pt x="56826" y="15941"/>
                    <a:pt x="56450" y="16335"/>
                    <a:pt x="56450" y="17102"/>
                  </a:cubicBezTo>
                  <a:lnTo>
                    <a:pt x="56450" y="128689"/>
                  </a:lnTo>
                  <a:cubicBezTo>
                    <a:pt x="56450" y="129968"/>
                    <a:pt x="55790" y="130617"/>
                    <a:pt x="54476" y="130617"/>
                  </a:cubicBezTo>
                  <a:lnTo>
                    <a:pt x="40991" y="130617"/>
                  </a:lnTo>
                  <a:close/>
                </a:path>
              </a:pathLst>
            </a:custGeom>
            <a:solidFill>
              <a:schemeClr val="bg2"/>
            </a:solidFill>
            <a:ln w="7" cap="flat">
              <a:noFill/>
              <a:prstDash val="solid"/>
              <a:miter/>
            </a:ln>
          </p:spPr>
          <p:txBody>
            <a:bodyPr rtlCol="0" anchor="ctr"/>
            <a:lstStyle/>
            <a:p>
              <a:endParaRPr lang="de-DE"/>
            </a:p>
          </p:txBody>
        </p:sp>
        <p:sp>
          <p:nvSpPr>
            <p:cNvPr id="23" name="Freeform: Shape 22">
              <a:extLst>
                <a:ext uri="{FF2B5EF4-FFF2-40B4-BE49-F238E27FC236}">
                  <a16:creationId xmlns:a16="http://schemas.microsoft.com/office/drawing/2014/main" id="{0070BC7B-A6FB-4C15-BCD3-F03D2B16289E}"/>
                </a:ext>
              </a:extLst>
            </p:cNvPr>
            <p:cNvSpPr/>
            <p:nvPr/>
          </p:nvSpPr>
          <p:spPr>
            <a:xfrm>
              <a:off x="11231242" y="715501"/>
              <a:ext cx="93929" cy="130604"/>
            </a:xfrm>
            <a:custGeom>
              <a:avLst/>
              <a:gdLst>
                <a:gd name="connsiteX0" fmla="*/ 0 w 93929"/>
                <a:gd name="connsiteY0" fmla="*/ 1916 h 130604"/>
                <a:gd name="connsiteX1" fmla="*/ 1947 w 93929"/>
                <a:gd name="connsiteY1" fmla="*/ 0 h 130604"/>
                <a:gd name="connsiteX2" fmla="*/ 15439 w 93929"/>
                <a:gd name="connsiteY2" fmla="*/ 0 h 130604"/>
                <a:gd name="connsiteX3" fmla="*/ 17406 w 93929"/>
                <a:gd name="connsiteY3" fmla="*/ 1916 h 130604"/>
                <a:gd name="connsiteX4" fmla="*/ 17406 w 93929"/>
                <a:gd name="connsiteY4" fmla="*/ 55511 h 130604"/>
                <a:gd name="connsiteX5" fmla="*/ 18548 w 93929"/>
                <a:gd name="connsiteY5" fmla="*/ 56653 h 130604"/>
                <a:gd name="connsiteX6" fmla="*/ 75381 w 93929"/>
                <a:gd name="connsiteY6" fmla="*/ 56653 h 130604"/>
                <a:gd name="connsiteX7" fmla="*/ 76536 w 93929"/>
                <a:gd name="connsiteY7" fmla="*/ 55511 h 130604"/>
                <a:gd name="connsiteX8" fmla="*/ 76536 w 93929"/>
                <a:gd name="connsiteY8" fmla="*/ 1916 h 130604"/>
                <a:gd name="connsiteX9" fmla="*/ 78496 w 93929"/>
                <a:gd name="connsiteY9" fmla="*/ 0 h 130604"/>
                <a:gd name="connsiteX10" fmla="*/ 91982 w 93929"/>
                <a:gd name="connsiteY10" fmla="*/ 0 h 130604"/>
                <a:gd name="connsiteX11" fmla="*/ 93929 w 93929"/>
                <a:gd name="connsiteY11" fmla="*/ 1916 h 130604"/>
                <a:gd name="connsiteX12" fmla="*/ 93929 w 93929"/>
                <a:gd name="connsiteY12" fmla="*/ 128682 h 130604"/>
                <a:gd name="connsiteX13" fmla="*/ 91982 w 93929"/>
                <a:gd name="connsiteY13" fmla="*/ 130604 h 130604"/>
                <a:gd name="connsiteX14" fmla="*/ 78496 w 93929"/>
                <a:gd name="connsiteY14" fmla="*/ 130604 h 130604"/>
                <a:gd name="connsiteX15" fmla="*/ 76536 w 93929"/>
                <a:gd name="connsiteY15" fmla="*/ 128682 h 130604"/>
                <a:gd name="connsiteX16" fmla="*/ 76536 w 93929"/>
                <a:gd name="connsiteY16" fmla="*/ 73755 h 130604"/>
                <a:gd name="connsiteX17" fmla="*/ 75381 w 93929"/>
                <a:gd name="connsiteY17" fmla="*/ 72607 h 130604"/>
                <a:gd name="connsiteX18" fmla="*/ 18548 w 93929"/>
                <a:gd name="connsiteY18" fmla="*/ 72607 h 130604"/>
                <a:gd name="connsiteX19" fmla="*/ 17406 w 93929"/>
                <a:gd name="connsiteY19" fmla="*/ 73755 h 130604"/>
                <a:gd name="connsiteX20" fmla="*/ 17406 w 93929"/>
                <a:gd name="connsiteY20" fmla="*/ 128682 h 130604"/>
                <a:gd name="connsiteX21" fmla="*/ 15439 w 93929"/>
                <a:gd name="connsiteY21" fmla="*/ 130604 h 130604"/>
                <a:gd name="connsiteX22" fmla="*/ 1947 w 93929"/>
                <a:gd name="connsiteY22" fmla="*/ 130604 h 130604"/>
                <a:gd name="connsiteX23" fmla="*/ 0 w 93929"/>
                <a:gd name="connsiteY23" fmla="*/ 128682 h 130604"/>
                <a:gd name="connsiteX24" fmla="*/ 0 w 93929"/>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3929" h="130604">
                  <a:moveTo>
                    <a:pt x="0" y="1916"/>
                  </a:moveTo>
                  <a:cubicBezTo>
                    <a:pt x="0" y="636"/>
                    <a:pt x="653" y="0"/>
                    <a:pt x="1947" y="0"/>
                  </a:cubicBezTo>
                  <a:lnTo>
                    <a:pt x="15439" y="0"/>
                  </a:lnTo>
                  <a:cubicBezTo>
                    <a:pt x="16746" y="0"/>
                    <a:pt x="17406" y="636"/>
                    <a:pt x="17406" y="1916"/>
                  </a:cubicBezTo>
                  <a:lnTo>
                    <a:pt x="17406" y="55511"/>
                  </a:lnTo>
                  <a:cubicBezTo>
                    <a:pt x="17406" y="56279"/>
                    <a:pt x="17776" y="56653"/>
                    <a:pt x="18548" y="56653"/>
                  </a:cubicBezTo>
                  <a:lnTo>
                    <a:pt x="75381" y="56653"/>
                  </a:lnTo>
                  <a:cubicBezTo>
                    <a:pt x="76160" y="56653"/>
                    <a:pt x="76536" y="56279"/>
                    <a:pt x="76536" y="55511"/>
                  </a:cubicBezTo>
                  <a:lnTo>
                    <a:pt x="76536" y="1916"/>
                  </a:lnTo>
                  <a:cubicBezTo>
                    <a:pt x="76536" y="636"/>
                    <a:pt x="77189" y="0"/>
                    <a:pt x="78496" y="0"/>
                  </a:cubicBezTo>
                  <a:lnTo>
                    <a:pt x="91982" y="0"/>
                  </a:lnTo>
                  <a:cubicBezTo>
                    <a:pt x="93276" y="0"/>
                    <a:pt x="93929" y="636"/>
                    <a:pt x="93929" y="1916"/>
                  </a:cubicBezTo>
                  <a:lnTo>
                    <a:pt x="93929" y="128682"/>
                  </a:lnTo>
                  <a:cubicBezTo>
                    <a:pt x="93929" y="129961"/>
                    <a:pt x="93276" y="130604"/>
                    <a:pt x="91982" y="130604"/>
                  </a:cubicBezTo>
                  <a:lnTo>
                    <a:pt x="78496" y="130604"/>
                  </a:lnTo>
                  <a:cubicBezTo>
                    <a:pt x="77189" y="130604"/>
                    <a:pt x="76536" y="129961"/>
                    <a:pt x="76536" y="128682"/>
                  </a:cubicBezTo>
                  <a:lnTo>
                    <a:pt x="76536" y="73755"/>
                  </a:lnTo>
                  <a:cubicBezTo>
                    <a:pt x="76536" y="72987"/>
                    <a:pt x="76160" y="72607"/>
                    <a:pt x="75381" y="72607"/>
                  </a:cubicBezTo>
                  <a:lnTo>
                    <a:pt x="18548" y="72607"/>
                  </a:lnTo>
                  <a:cubicBezTo>
                    <a:pt x="17776" y="72607"/>
                    <a:pt x="17406" y="72987"/>
                    <a:pt x="17406" y="73755"/>
                  </a:cubicBezTo>
                  <a:lnTo>
                    <a:pt x="17406" y="128682"/>
                  </a:lnTo>
                  <a:cubicBezTo>
                    <a:pt x="17406" y="129961"/>
                    <a:pt x="16746" y="130604"/>
                    <a:pt x="15439" y="130604"/>
                  </a:cubicBezTo>
                  <a:lnTo>
                    <a:pt x="1947"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24" name="Freeform: Shape 23">
              <a:extLst>
                <a:ext uri="{FF2B5EF4-FFF2-40B4-BE49-F238E27FC236}">
                  <a16:creationId xmlns:a16="http://schemas.microsoft.com/office/drawing/2014/main" id="{01C70FDC-755D-4FFF-9B40-886DF753D4D0}"/>
                </a:ext>
              </a:extLst>
            </p:cNvPr>
            <p:cNvSpPr/>
            <p:nvPr/>
          </p:nvSpPr>
          <p:spPr>
            <a:xfrm>
              <a:off x="10728362" y="921730"/>
              <a:ext cx="92582" cy="130604"/>
            </a:xfrm>
            <a:custGeom>
              <a:avLst/>
              <a:gdLst>
                <a:gd name="connsiteX0" fmla="*/ 0 w 92582"/>
                <a:gd name="connsiteY0" fmla="*/ 1916 h 130604"/>
                <a:gd name="connsiteX1" fmla="*/ 1941 w 92582"/>
                <a:gd name="connsiteY1" fmla="*/ 0 h 130604"/>
                <a:gd name="connsiteX2" fmla="*/ 46186 w 92582"/>
                <a:gd name="connsiteY2" fmla="*/ 0 h 130604"/>
                <a:gd name="connsiteX3" fmla="*/ 89104 w 92582"/>
                <a:gd name="connsiteY3" fmla="*/ 27841 h 130604"/>
                <a:gd name="connsiteX4" fmla="*/ 90549 w 92582"/>
                <a:gd name="connsiteY4" fmla="*/ 33410 h 130604"/>
                <a:gd name="connsiteX5" fmla="*/ 91705 w 92582"/>
                <a:gd name="connsiteY5" fmla="*/ 40515 h 130604"/>
                <a:gd name="connsiteX6" fmla="*/ 92378 w 92582"/>
                <a:gd name="connsiteY6" fmla="*/ 50703 h 130604"/>
                <a:gd name="connsiteX7" fmla="*/ 92582 w 92582"/>
                <a:gd name="connsiteY7" fmla="*/ 65305 h 130604"/>
                <a:gd name="connsiteX8" fmla="*/ 92378 w 92582"/>
                <a:gd name="connsiteY8" fmla="*/ 79908 h 130604"/>
                <a:gd name="connsiteX9" fmla="*/ 91705 w 92582"/>
                <a:gd name="connsiteY9" fmla="*/ 90083 h 130604"/>
                <a:gd name="connsiteX10" fmla="*/ 90549 w 92582"/>
                <a:gd name="connsiteY10" fmla="*/ 97194 h 130604"/>
                <a:gd name="connsiteX11" fmla="*/ 89104 w 92582"/>
                <a:gd name="connsiteY11" fmla="*/ 102763 h 130604"/>
                <a:gd name="connsiteX12" fmla="*/ 46186 w 92582"/>
                <a:gd name="connsiteY12" fmla="*/ 130604 h 130604"/>
                <a:gd name="connsiteX13" fmla="*/ 1941 w 92582"/>
                <a:gd name="connsiteY13" fmla="*/ 130604 h 130604"/>
                <a:gd name="connsiteX14" fmla="*/ 0 w 92582"/>
                <a:gd name="connsiteY14" fmla="*/ 128682 h 130604"/>
                <a:gd name="connsiteX15" fmla="*/ 0 w 92582"/>
                <a:gd name="connsiteY15" fmla="*/ 1916 h 130604"/>
                <a:gd name="connsiteX16" fmla="*/ 17380 w 92582"/>
                <a:gd name="connsiteY16" fmla="*/ 113509 h 130604"/>
                <a:gd name="connsiteX17" fmla="*/ 18548 w 92582"/>
                <a:gd name="connsiteY17" fmla="*/ 114670 h 130604"/>
                <a:gd name="connsiteX18" fmla="*/ 42634 w 92582"/>
                <a:gd name="connsiteY18" fmla="*/ 114670 h 130604"/>
                <a:gd name="connsiteX19" fmla="*/ 61895 w 92582"/>
                <a:gd name="connsiteY19" fmla="*/ 110530 h 130604"/>
                <a:gd name="connsiteX20" fmla="*/ 72490 w 92582"/>
                <a:gd name="connsiteY20" fmla="*/ 96813 h 130604"/>
                <a:gd name="connsiteX21" fmla="*/ 73638 w 92582"/>
                <a:gd name="connsiteY21" fmla="*/ 92772 h 130604"/>
                <a:gd name="connsiteX22" fmla="*/ 74510 w 92582"/>
                <a:gd name="connsiteY22" fmla="*/ 86914 h 130604"/>
                <a:gd name="connsiteX23" fmla="*/ 74991 w 92582"/>
                <a:gd name="connsiteY23" fmla="*/ 78183 h 130604"/>
                <a:gd name="connsiteX24" fmla="*/ 75183 w 92582"/>
                <a:gd name="connsiteY24" fmla="*/ 65305 h 130604"/>
                <a:gd name="connsiteX25" fmla="*/ 74991 w 92582"/>
                <a:gd name="connsiteY25" fmla="*/ 52428 h 130604"/>
                <a:gd name="connsiteX26" fmla="*/ 74510 w 92582"/>
                <a:gd name="connsiteY26" fmla="*/ 43690 h 130604"/>
                <a:gd name="connsiteX27" fmla="*/ 73638 w 92582"/>
                <a:gd name="connsiteY27" fmla="*/ 37832 h 130604"/>
                <a:gd name="connsiteX28" fmla="*/ 72490 w 92582"/>
                <a:gd name="connsiteY28" fmla="*/ 33791 h 130604"/>
                <a:gd name="connsiteX29" fmla="*/ 61895 w 92582"/>
                <a:gd name="connsiteY29" fmla="*/ 20067 h 130604"/>
                <a:gd name="connsiteX30" fmla="*/ 42634 w 92582"/>
                <a:gd name="connsiteY30" fmla="*/ 15934 h 130604"/>
                <a:gd name="connsiteX31" fmla="*/ 18548 w 92582"/>
                <a:gd name="connsiteY31" fmla="*/ 15934 h 130604"/>
                <a:gd name="connsiteX32" fmla="*/ 17380 w 92582"/>
                <a:gd name="connsiteY32" fmla="*/ 17089 h 130604"/>
                <a:gd name="connsiteX33" fmla="*/ 17380 w 92582"/>
                <a:gd name="connsiteY33" fmla="*/ 1135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2582" h="130604">
                  <a:moveTo>
                    <a:pt x="0" y="1916"/>
                  </a:moveTo>
                  <a:cubicBezTo>
                    <a:pt x="0" y="636"/>
                    <a:pt x="647" y="0"/>
                    <a:pt x="1941" y="0"/>
                  </a:cubicBezTo>
                  <a:lnTo>
                    <a:pt x="46186" y="0"/>
                  </a:lnTo>
                  <a:cubicBezTo>
                    <a:pt x="68734" y="0"/>
                    <a:pt x="83044" y="9269"/>
                    <a:pt x="89104" y="27841"/>
                  </a:cubicBezTo>
                  <a:cubicBezTo>
                    <a:pt x="89606" y="29645"/>
                    <a:pt x="90094" y="31488"/>
                    <a:pt x="90549" y="33410"/>
                  </a:cubicBezTo>
                  <a:cubicBezTo>
                    <a:pt x="91005" y="35332"/>
                    <a:pt x="91388" y="37707"/>
                    <a:pt x="91705" y="40515"/>
                  </a:cubicBezTo>
                  <a:cubicBezTo>
                    <a:pt x="92028" y="43342"/>
                    <a:pt x="92252" y="46734"/>
                    <a:pt x="92378" y="50703"/>
                  </a:cubicBezTo>
                  <a:cubicBezTo>
                    <a:pt x="92516" y="54665"/>
                    <a:pt x="92582" y="59539"/>
                    <a:pt x="92582" y="65305"/>
                  </a:cubicBezTo>
                  <a:cubicBezTo>
                    <a:pt x="92582" y="71072"/>
                    <a:pt x="92516" y="75939"/>
                    <a:pt x="92378" y="79908"/>
                  </a:cubicBezTo>
                  <a:cubicBezTo>
                    <a:pt x="92252" y="83870"/>
                    <a:pt x="92028" y="87269"/>
                    <a:pt x="91705" y="90083"/>
                  </a:cubicBezTo>
                  <a:cubicBezTo>
                    <a:pt x="91388" y="92897"/>
                    <a:pt x="91005" y="95265"/>
                    <a:pt x="90549" y="97194"/>
                  </a:cubicBezTo>
                  <a:cubicBezTo>
                    <a:pt x="90094" y="99116"/>
                    <a:pt x="89606" y="100959"/>
                    <a:pt x="89104" y="102763"/>
                  </a:cubicBezTo>
                  <a:cubicBezTo>
                    <a:pt x="83044" y="121335"/>
                    <a:pt x="68734" y="130604"/>
                    <a:pt x="46186" y="130604"/>
                  </a:cubicBezTo>
                  <a:lnTo>
                    <a:pt x="1941" y="130604"/>
                  </a:lnTo>
                  <a:cubicBezTo>
                    <a:pt x="647" y="130604"/>
                    <a:pt x="0" y="129961"/>
                    <a:pt x="0" y="128682"/>
                  </a:cubicBezTo>
                  <a:lnTo>
                    <a:pt x="0" y="1916"/>
                  </a:lnTo>
                  <a:close/>
                  <a:moveTo>
                    <a:pt x="17380" y="113509"/>
                  </a:moveTo>
                  <a:cubicBezTo>
                    <a:pt x="17380" y="114276"/>
                    <a:pt x="17776" y="114670"/>
                    <a:pt x="18548" y="114670"/>
                  </a:cubicBezTo>
                  <a:lnTo>
                    <a:pt x="42634" y="114670"/>
                  </a:lnTo>
                  <a:cubicBezTo>
                    <a:pt x="50595" y="114670"/>
                    <a:pt x="57024" y="113292"/>
                    <a:pt x="61895" y="110530"/>
                  </a:cubicBezTo>
                  <a:cubicBezTo>
                    <a:pt x="66773" y="107775"/>
                    <a:pt x="70298" y="103203"/>
                    <a:pt x="72490" y="96813"/>
                  </a:cubicBezTo>
                  <a:cubicBezTo>
                    <a:pt x="72879" y="95652"/>
                    <a:pt x="73255" y="94307"/>
                    <a:pt x="73638" y="92772"/>
                  </a:cubicBezTo>
                  <a:cubicBezTo>
                    <a:pt x="74028" y="91237"/>
                    <a:pt x="74312" y="89282"/>
                    <a:pt x="74510" y="86914"/>
                  </a:cubicBezTo>
                  <a:cubicBezTo>
                    <a:pt x="74701" y="84546"/>
                    <a:pt x="74866" y="81633"/>
                    <a:pt x="74991" y="78183"/>
                  </a:cubicBezTo>
                  <a:cubicBezTo>
                    <a:pt x="75117" y="74719"/>
                    <a:pt x="75183" y="70429"/>
                    <a:pt x="75183" y="65305"/>
                  </a:cubicBezTo>
                  <a:cubicBezTo>
                    <a:pt x="75183" y="60175"/>
                    <a:pt x="75117" y="55892"/>
                    <a:pt x="74991" y="52428"/>
                  </a:cubicBezTo>
                  <a:cubicBezTo>
                    <a:pt x="74866" y="48977"/>
                    <a:pt x="74701" y="46065"/>
                    <a:pt x="74510" y="43690"/>
                  </a:cubicBezTo>
                  <a:cubicBezTo>
                    <a:pt x="74312" y="41315"/>
                    <a:pt x="74028" y="39367"/>
                    <a:pt x="73638" y="37832"/>
                  </a:cubicBezTo>
                  <a:cubicBezTo>
                    <a:pt x="73255" y="36297"/>
                    <a:pt x="72879" y="34952"/>
                    <a:pt x="72490" y="33791"/>
                  </a:cubicBezTo>
                  <a:cubicBezTo>
                    <a:pt x="70298" y="27401"/>
                    <a:pt x="66773" y="22822"/>
                    <a:pt x="61895" y="20067"/>
                  </a:cubicBezTo>
                  <a:cubicBezTo>
                    <a:pt x="57024" y="17312"/>
                    <a:pt x="50595" y="15934"/>
                    <a:pt x="42634" y="15934"/>
                  </a:cubicBezTo>
                  <a:lnTo>
                    <a:pt x="18548" y="15934"/>
                  </a:lnTo>
                  <a:cubicBezTo>
                    <a:pt x="17776" y="15934"/>
                    <a:pt x="17380" y="16321"/>
                    <a:pt x="17380" y="17089"/>
                  </a:cubicBezTo>
                  <a:lnTo>
                    <a:pt x="17380" y="113509"/>
                  </a:lnTo>
                  <a:close/>
                </a:path>
              </a:pathLst>
            </a:custGeom>
            <a:solidFill>
              <a:schemeClr val="bg2"/>
            </a:solidFill>
            <a:ln w="7" cap="flat">
              <a:noFill/>
              <a:prstDash val="solid"/>
              <a:miter/>
            </a:ln>
          </p:spPr>
          <p:txBody>
            <a:bodyPr rtlCol="0" anchor="ctr"/>
            <a:lstStyle/>
            <a:p>
              <a:endParaRPr lang="de-DE"/>
            </a:p>
          </p:txBody>
        </p:sp>
        <p:sp>
          <p:nvSpPr>
            <p:cNvPr id="25" name="Freeform: Shape 24">
              <a:extLst>
                <a:ext uri="{FF2B5EF4-FFF2-40B4-BE49-F238E27FC236}">
                  <a16:creationId xmlns:a16="http://schemas.microsoft.com/office/drawing/2014/main" id="{9BF3AF1F-1688-4B19-B0B3-FDF093D0AD4B}"/>
                </a:ext>
              </a:extLst>
            </p:cNvPr>
            <p:cNvSpPr/>
            <p:nvPr/>
          </p:nvSpPr>
          <p:spPr>
            <a:xfrm>
              <a:off x="10835891" y="921730"/>
              <a:ext cx="108302" cy="130604"/>
            </a:xfrm>
            <a:custGeom>
              <a:avLst/>
              <a:gdLst>
                <a:gd name="connsiteX0" fmla="*/ 45740 w 108302"/>
                <a:gd name="connsiteY0" fmla="*/ 1916 h 130604"/>
                <a:gd name="connsiteX1" fmla="*/ 48057 w 108302"/>
                <a:gd name="connsiteY1" fmla="*/ 0 h 130604"/>
                <a:gd name="connsiteX2" fmla="*/ 60632 w 108302"/>
                <a:gd name="connsiteY2" fmla="*/ 0 h 130604"/>
                <a:gd name="connsiteX3" fmla="*/ 63140 w 108302"/>
                <a:gd name="connsiteY3" fmla="*/ 1916 h 130604"/>
                <a:gd name="connsiteX4" fmla="*/ 108171 w 108302"/>
                <a:gd name="connsiteY4" fmla="*/ 128682 h 130604"/>
                <a:gd name="connsiteX5" fmla="*/ 106817 w 108302"/>
                <a:gd name="connsiteY5" fmla="*/ 130604 h 130604"/>
                <a:gd name="connsiteX6" fmla="*/ 93292 w 108302"/>
                <a:gd name="connsiteY6" fmla="*/ 130604 h 130604"/>
                <a:gd name="connsiteX7" fmla="*/ 90784 w 108302"/>
                <a:gd name="connsiteY7" fmla="*/ 128682 h 130604"/>
                <a:gd name="connsiteX8" fmla="*/ 80731 w 108302"/>
                <a:gd name="connsiteY8" fmla="*/ 100257 h 130604"/>
                <a:gd name="connsiteX9" fmla="*/ 27575 w 108302"/>
                <a:gd name="connsiteY9" fmla="*/ 100257 h 130604"/>
                <a:gd name="connsiteX10" fmla="*/ 17522 w 108302"/>
                <a:gd name="connsiteY10" fmla="*/ 128682 h 130604"/>
                <a:gd name="connsiteX11" fmla="*/ 15014 w 108302"/>
                <a:gd name="connsiteY11" fmla="*/ 130604 h 130604"/>
                <a:gd name="connsiteX12" fmla="*/ 1482 w 108302"/>
                <a:gd name="connsiteY12" fmla="*/ 130604 h 130604"/>
                <a:gd name="connsiteX13" fmla="*/ 136 w 108302"/>
                <a:gd name="connsiteY13" fmla="*/ 128682 h 130604"/>
                <a:gd name="connsiteX14" fmla="*/ 45740 w 108302"/>
                <a:gd name="connsiteY14" fmla="*/ 1916 h 130604"/>
                <a:gd name="connsiteX15" fmla="*/ 75127 w 108302"/>
                <a:gd name="connsiteY15" fmla="*/ 84513 h 130604"/>
                <a:gd name="connsiteX16" fmla="*/ 54440 w 108302"/>
                <a:gd name="connsiteY16" fmla="*/ 25164 h 130604"/>
                <a:gd name="connsiteX17" fmla="*/ 54051 w 108302"/>
                <a:gd name="connsiteY17" fmla="*/ 25164 h 130604"/>
                <a:gd name="connsiteX18" fmla="*/ 33179 w 108302"/>
                <a:gd name="connsiteY18" fmla="*/ 84513 h 130604"/>
                <a:gd name="connsiteX19" fmla="*/ 75127 w 108302"/>
                <a:gd name="connsiteY19" fmla="*/ 84513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302" h="130604">
                  <a:moveTo>
                    <a:pt x="45740" y="1916"/>
                  </a:moveTo>
                  <a:cubicBezTo>
                    <a:pt x="46117" y="636"/>
                    <a:pt x="46896" y="0"/>
                    <a:pt x="48057" y="0"/>
                  </a:cubicBezTo>
                  <a:lnTo>
                    <a:pt x="60632" y="0"/>
                  </a:lnTo>
                  <a:cubicBezTo>
                    <a:pt x="61906" y="0"/>
                    <a:pt x="62757" y="636"/>
                    <a:pt x="63140" y="1916"/>
                  </a:cubicBezTo>
                  <a:lnTo>
                    <a:pt x="108171" y="128682"/>
                  </a:lnTo>
                  <a:cubicBezTo>
                    <a:pt x="108553" y="129961"/>
                    <a:pt x="108105" y="130604"/>
                    <a:pt x="106817" y="130604"/>
                  </a:cubicBezTo>
                  <a:lnTo>
                    <a:pt x="93292" y="130604"/>
                  </a:lnTo>
                  <a:cubicBezTo>
                    <a:pt x="91999" y="130604"/>
                    <a:pt x="91160" y="129961"/>
                    <a:pt x="90784" y="128682"/>
                  </a:cubicBezTo>
                  <a:lnTo>
                    <a:pt x="80731" y="100257"/>
                  </a:lnTo>
                  <a:lnTo>
                    <a:pt x="27575" y="100257"/>
                  </a:lnTo>
                  <a:lnTo>
                    <a:pt x="17522" y="128682"/>
                  </a:lnTo>
                  <a:cubicBezTo>
                    <a:pt x="17007" y="129961"/>
                    <a:pt x="16169" y="130604"/>
                    <a:pt x="15014" y="130604"/>
                  </a:cubicBezTo>
                  <a:lnTo>
                    <a:pt x="1482" y="130604"/>
                  </a:lnTo>
                  <a:cubicBezTo>
                    <a:pt x="195" y="130604"/>
                    <a:pt x="-254" y="129961"/>
                    <a:pt x="136" y="128682"/>
                  </a:cubicBezTo>
                  <a:lnTo>
                    <a:pt x="45740" y="1916"/>
                  </a:lnTo>
                  <a:close/>
                  <a:moveTo>
                    <a:pt x="75127" y="84513"/>
                  </a:moveTo>
                  <a:lnTo>
                    <a:pt x="54440" y="25164"/>
                  </a:lnTo>
                  <a:lnTo>
                    <a:pt x="54051" y="25164"/>
                  </a:lnTo>
                  <a:lnTo>
                    <a:pt x="33179" y="84513"/>
                  </a:lnTo>
                  <a:lnTo>
                    <a:pt x="75127" y="84513"/>
                  </a:lnTo>
                  <a:close/>
                </a:path>
              </a:pathLst>
            </a:custGeom>
            <a:solidFill>
              <a:schemeClr val="bg2"/>
            </a:solidFill>
            <a:ln w="7" cap="flat">
              <a:noFill/>
              <a:prstDash val="solid"/>
              <a:miter/>
            </a:ln>
          </p:spPr>
          <p:txBody>
            <a:bodyPr rtlCol="0" anchor="ctr"/>
            <a:lstStyle/>
            <a:p>
              <a:endParaRPr lang="de-DE"/>
            </a:p>
          </p:txBody>
        </p:sp>
        <p:sp>
          <p:nvSpPr>
            <p:cNvPr id="26" name="Freeform: Shape 25">
              <a:extLst>
                <a:ext uri="{FF2B5EF4-FFF2-40B4-BE49-F238E27FC236}">
                  <a16:creationId xmlns:a16="http://schemas.microsoft.com/office/drawing/2014/main" id="{248023FB-08BE-4DDF-8B09-F3B99C34F5BF}"/>
                </a:ext>
              </a:extLst>
            </p:cNvPr>
            <p:cNvSpPr/>
            <p:nvPr/>
          </p:nvSpPr>
          <p:spPr>
            <a:xfrm>
              <a:off x="10966861" y="921730"/>
              <a:ext cx="90655" cy="130604"/>
            </a:xfrm>
            <a:custGeom>
              <a:avLst/>
              <a:gdLst>
                <a:gd name="connsiteX0" fmla="*/ 0 w 90655"/>
                <a:gd name="connsiteY0" fmla="*/ 1916 h 130604"/>
                <a:gd name="connsiteX1" fmla="*/ 1941 w 90655"/>
                <a:gd name="connsiteY1" fmla="*/ 0 h 130604"/>
                <a:gd name="connsiteX2" fmla="*/ 48522 w 90655"/>
                <a:gd name="connsiteY2" fmla="*/ 0 h 130604"/>
                <a:gd name="connsiteX3" fmla="*/ 78272 w 90655"/>
                <a:gd name="connsiteY3" fmla="*/ 9309 h 130604"/>
                <a:gd name="connsiteX4" fmla="*/ 88127 w 90655"/>
                <a:gd name="connsiteY4" fmla="*/ 34375 h 130604"/>
                <a:gd name="connsiteX5" fmla="*/ 83203 w 90655"/>
                <a:gd name="connsiteY5" fmla="*/ 52815 h 130604"/>
                <a:gd name="connsiteX6" fmla="*/ 70556 w 90655"/>
                <a:gd name="connsiteY6" fmla="*/ 62806 h 130604"/>
                <a:gd name="connsiteX7" fmla="*/ 70556 w 90655"/>
                <a:gd name="connsiteY7" fmla="*/ 63193 h 130604"/>
                <a:gd name="connsiteX8" fmla="*/ 77401 w 90655"/>
                <a:gd name="connsiteY8" fmla="*/ 66552 h 130604"/>
                <a:gd name="connsiteX9" fmla="*/ 83883 w 90655"/>
                <a:gd name="connsiteY9" fmla="*/ 72699 h 130604"/>
                <a:gd name="connsiteX10" fmla="*/ 88708 w 90655"/>
                <a:gd name="connsiteY10" fmla="*/ 81633 h 130604"/>
                <a:gd name="connsiteX11" fmla="*/ 90655 w 90655"/>
                <a:gd name="connsiteY11" fmla="*/ 93356 h 130604"/>
                <a:gd name="connsiteX12" fmla="*/ 79506 w 90655"/>
                <a:gd name="connsiteY12" fmla="*/ 121204 h 130604"/>
                <a:gd name="connsiteX13" fmla="*/ 47644 w 90655"/>
                <a:gd name="connsiteY13" fmla="*/ 130604 h 130604"/>
                <a:gd name="connsiteX14" fmla="*/ 1941 w 90655"/>
                <a:gd name="connsiteY14" fmla="*/ 130604 h 130604"/>
                <a:gd name="connsiteX15" fmla="*/ 0 w 90655"/>
                <a:gd name="connsiteY15" fmla="*/ 128682 h 130604"/>
                <a:gd name="connsiteX16" fmla="*/ 0 w 90655"/>
                <a:gd name="connsiteY16" fmla="*/ 1916 h 130604"/>
                <a:gd name="connsiteX17" fmla="*/ 48205 w 90655"/>
                <a:gd name="connsiteY17" fmla="*/ 56462 h 130604"/>
                <a:gd name="connsiteX18" fmla="*/ 65176 w 90655"/>
                <a:gd name="connsiteY18" fmla="*/ 50906 h 130604"/>
                <a:gd name="connsiteX19" fmla="*/ 71137 w 90655"/>
                <a:gd name="connsiteY19" fmla="*/ 36113 h 130604"/>
                <a:gd name="connsiteX20" fmla="*/ 65176 w 90655"/>
                <a:gd name="connsiteY20" fmla="*/ 21123 h 130604"/>
                <a:gd name="connsiteX21" fmla="*/ 48205 w 90655"/>
                <a:gd name="connsiteY21" fmla="*/ 15554 h 130604"/>
                <a:gd name="connsiteX22" fmla="*/ 18555 w 90655"/>
                <a:gd name="connsiteY22" fmla="*/ 15554 h 130604"/>
                <a:gd name="connsiteX23" fmla="*/ 17393 w 90655"/>
                <a:gd name="connsiteY23" fmla="*/ 16702 h 130604"/>
                <a:gd name="connsiteX24" fmla="*/ 17393 w 90655"/>
                <a:gd name="connsiteY24" fmla="*/ 55308 h 130604"/>
                <a:gd name="connsiteX25" fmla="*/ 18555 w 90655"/>
                <a:gd name="connsiteY25" fmla="*/ 56462 h 130604"/>
                <a:gd name="connsiteX26" fmla="*/ 48205 w 90655"/>
                <a:gd name="connsiteY26" fmla="*/ 56462 h 130604"/>
                <a:gd name="connsiteX27" fmla="*/ 17393 w 90655"/>
                <a:gd name="connsiteY27" fmla="*/ 113896 h 130604"/>
                <a:gd name="connsiteX28" fmla="*/ 18555 w 90655"/>
                <a:gd name="connsiteY28" fmla="*/ 115044 h 130604"/>
                <a:gd name="connsiteX29" fmla="*/ 49196 w 90655"/>
                <a:gd name="connsiteY29" fmla="*/ 115044 h 130604"/>
                <a:gd name="connsiteX30" fmla="*/ 67097 w 90655"/>
                <a:gd name="connsiteY30" fmla="*/ 109199 h 130604"/>
                <a:gd name="connsiteX31" fmla="*/ 73262 w 90655"/>
                <a:gd name="connsiteY31" fmla="*/ 93540 h 130604"/>
                <a:gd name="connsiteX32" fmla="*/ 67097 w 90655"/>
                <a:gd name="connsiteY32" fmla="*/ 77881 h 130604"/>
                <a:gd name="connsiteX33" fmla="*/ 49196 w 90655"/>
                <a:gd name="connsiteY33" fmla="*/ 72029 h 130604"/>
                <a:gd name="connsiteX34" fmla="*/ 18555 w 90655"/>
                <a:gd name="connsiteY34" fmla="*/ 72029 h 130604"/>
                <a:gd name="connsiteX35" fmla="*/ 17393 w 90655"/>
                <a:gd name="connsiteY35" fmla="*/ 73191 h 130604"/>
                <a:gd name="connsiteX36" fmla="*/ 17393 w 90655"/>
                <a:gd name="connsiteY36" fmla="*/ 11389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0655" h="130604">
                  <a:moveTo>
                    <a:pt x="0" y="1916"/>
                  </a:moveTo>
                  <a:cubicBezTo>
                    <a:pt x="0" y="636"/>
                    <a:pt x="647" y="0"/>
                    <a:pt x="1941" y="0"/>
                  </a:cubicBezTo>
                  <a:lnTo>
                    <a:pt x="48522" y="0"/>
                  </a:lnTo>
                  <a:cubicBezTo>
                    <a:pt x="61790" y="0"/>
                    <a:pt x="71704" y="3109"/>
                    <a:pt x="78272" y="9309"/>
                  </a:cubicBezTo>
                  <a:cubicBezTo>
                    <a:pt x="84853" y="15521"/>
                    <a:pt x="88127" y="23879"/>
                    <a:pt x="88127" y="34375"/>
                  </a:cubicBezTo>
                  <a:cubicBezTo>
                    <a:pt x="88127" y="42057"/>
                    <a:pt x="86483" y="48210"/>
                    <a:pt x="83203" y="52815"/>
                  </a:cubicBezTo>
                  <a:cubicBezTo>
                    <a:pt x="79929" y="57420"/>
                    <a:pt x="75691" y="60759"/>
                    <a:pt x="70556" y="62806"/>
                  </a:cubicBezTo>
                  <a:lnTo>
                    <a:pt x="70556" y="63193"/>
                  </a:lnTo>
                  <a:cubicBezTo>
                    <a:pt x="72747" y="63829"/>
                    <a:pt x="75018" y="64945"/>
                    <a:pt x="77401" y="66552"/>
                  </a:cubicBezTo>
                  <a:cubicBezTo>
                    <a:pt x="79784" y="68159"/>
                    <a:pt x="81949" y="70199"/>
                    <a:pt x="83883" y="72699"/>
                  </a:cubicBezTo>
                  <a:cubicBezTo>
                    <a:pt x="85803" y="75198"/>
                    <a:pt x="87414" y="78183"/>
                    <a:pt x="88708" y="81633"/>
                  </a:cubicBezTo>
                  <a:cubicBezTo>
                    <a:pt x="90002" y="85091"/>
                    <a:pt x="90655" y="88994"/>
                    <a:pt x="90655" y="93356"/>
                  </a:cubicBezTo>
                  <a:cubicBezTo>
                    <a:pt x="90655" y="105650"/>
                    <a:pt x="86939" y="114919"/>
                    <a:pt x="79506" y="121204"/>
                  </a:cubicBezTo>
                  <a:cubicBezTo>
                    <a:pt x="72080" y="127462"/>
                    <a:pt x="61473" y="130604"/>
                    <a:pt x="47644" y="130604"/>
                  </a:cubicBezTo>
                  <a:lnTo>
                    <a:pt x="1941" y="130604"/>
                  </a:lnTo>
                  <a:cubicBezTo>
                    <a:pt x="647" y="130604"/>
                    <a:pt x="0" y="129961"/>
                    <a:pt x="0" y="128682"/>
                  </a:cubicBezTo>
                  <a:lnTo>
                    <a:pt x="0" y="1916"/>
                  </a:lnTo>
                  <a:close/>
                  <a:moveTo>
                    <a:pt x="48205" y="56462"/>
                  </a:moveTo>
                  <a:cubicBezTo>
                    <a:pt x="55539" y="56462"/>
                    <a:pt x="61176" y="54606"/>
                    <a:pt x="65176" y="50906"/>
                  </a:cubicBezTo>
                  <a:cubicBezTo>
                    <a:pt x="69143" y="47193"/>
                    <a:pt x="71137" y="42253"/>
                    <a:pt x="71137" y="36113"/>
                  </a:cubicBezTo>
                  <a:cubicBezTo>
                    <a:pt x="71137" y="29829"/>
                    <a:pt x="69143" y="24830"/>
                    <a:pt x="65176" y="21123"/>
                  </a:cubicBezTo>
                  <a:cubicBezTo>
                    <a:pt x="61176" y="17404"/>
                    <a:pt x="55539" y="15554"/>
                    <a:pt x="48205" y="15554"/>
                  </a:cubicBezTo>
                  <a:lnTo>
                    <a:pt x="18555" y="15554"/>
                  </a:lnTo>
                  <a:cubicBezTo>
                    <a:pt x="17782" y="15554"/>
                    <a:pt x="17393" y="15934"/>
                    <a:pt x="17393" y="16702"/>
                  </a:cubicBezTo>
                  <a:lnTo>
                    <a:pt x="17393" y="55308"/>
                  </a:lnTo>
                  <a:cubicBezTo>
                    <a:pt x="17393" y="56075"/>
                    <a:pt x="17782" y="56462"/>
                    <a:pt x="18555" y="56462"/>
                  </a:cubicBezTo>
                  <a:lnTo>
                    <a:pt x="48205" y="56462"/>
                  </a:lnTo>
                  <a:close/>
                  <a:moveTo>
                    <a:pt x="17393" y="113896"/>
                  </a:moveTo>
                  <a:cubicBezTo>
                    <a:pt x="17393" y="114670"/>
                    <a:pt x="17782" y="115044"/>
                    <a:pt x="18555" y="115044"/>
                  </a:cubicBezTo>
                  <a:lnTo>
                    <a:pt x="49196" y="115044"/>
                  </a:lnTo>
                  <a:cubicBezTo>
                    <a:pt x="57024" y="115044"/>
                    <a:pt x="62985" y="113089"/>
                    <a:pt x="67097" y="109199"/>
                  </a:cubicBezTo>
                  <a:cubicBezTo>
                    <a:pt x="71209" y="105289"/>
                    <a:pt x="73262" y="100067"/>
                    <a:pt x="73262" y="93540"/>
                  </a:cubicBezTo>
                  <a:cubicBezTo>
                    <a:pt x="73262" y="87000"/>
                    <a:pt x="71209" y="81791"/>
                    <a:pt x="67097" y="77881"/>
                  </a:cubicBezTo>
                  <a:cubicBezTo>
                    <a:pt x="62985" y="73984"/>
                    <a:pt x="57024" y="72029"/>
                    <a:pt x="49196" y="72029"/>
                  </a:cubicBezTo>
                  <a:lnTo>
                    <a:pt x="18555" y="72029"/>
                  </a:lnTo>
                  <a:cubicBezTo>
                    <a:pt x="17782" y="72029"/>
                    <a:pt x="17393" y="72417"/>
                    <a:pt x="17393" y="73191"/>
                  </a:cubicBezTo>
                  <a:lnTo>
                    <a:pt x="17393" y="113896"/>
                  </a:lnTo>
                  <a:close/>
                </a:path>
              </a:pathLst>
            </a:custGeom>
            <a:solidFill>
              <a:schemeClr val="bg2"/>
            </a:solidFill>
            <a:ln w="7" cap="flat">
              <a:noFill/>
              <a:prstDash val="solid"/>
              <a:miter/>
            </a:ln>
          </p:spPr>
          <p:txBody>
            <a:bodyPr rtlCol="0" anchor="ctr"/>
            <a:lstStyle/>
            <a:p>
              <a:endParaRPr lang="de-DE"/>
            </a:p>
          </p:txBody>
        </p:sp>
        <p:sp>
          <p:nvSpPr>
            <p:cNvPr id="27" name="Freeform: Shape 26">
              <a:extLst>
                <a:ext uri="{FF2B5EF4-FFF2-40B4-BE49-F238E27FC236}">
                  <a16:creationId xmlns:a16="http://schemas.microsoft.com/office/drawing/2014/main" id="{A9751494-C443-40A1-A075-9F7B9C0B6F8D}"/>
                </a:ext>
              </a:extLst>
            </p:cNvPr>
            <p:cNvSpPr/>
            <p:nvPr/>
          </p:nvSpPr>
          <p:spPr>
            <a:xfrm>
              <a:off x="11085536" y="921730"/>
              <a:ext cx="83103" cy="130604"/>
            </a:xfrm>
            <a:custGeom>
              <a:avLst/>
              <a:gdLst>
                <a:gd name="connsiteX0" fmla="*/ 0 w 83103"/>
                <a:gd name="connsiteY0" fmla="*/ 1916 h 130604"/>
                <a:gd name="connsiteX1" fmla="*/ 1934 w 83103"/>
                <a:gd name="connsiteY1" fmla="*/ 0 h 130604"/>
                <a:gd name="connsiteX2" fmla="*/ 81170 w 83103"/>
                <a:gd name="connsiteY2" fmla="*/ 0 h 130604"/>
                <a:gd name="connsiteX3" fmla="*/ 83104 w 83103"/>
                <a:gd name="connsiteY3" fmla="*/ 1916 h 130604"/>
                <a:gd name="connsiteX4" fmla="*/ 83104 w 83103"/>
                <a:gd name="connsiteY4" fmla="*/ 14006 h 130604"/>
                <a:gd name="connsiteX5" fmla="*/ 81170 w 83103"/>
                <a:gd name="connsiteY5" fmla="*/ 15934 h 130604"/>
                <a:gd name="connsiteX6" fmla="*/ 18555 w 83103"/>
                <a:gd name="connsiteY6" fmla="*/ 15934 h 130604"/>
                <a:gd name="connsiteX7" fmla="*/ 17406 w 83103"/>
                <a:gd name="connsiteY7" fmla="*/ 17089 h 130604"/>
                <a:gd name="connsiteX8" fmla="*/ 17406 w 83103"/>
                <a:gd name="connsiteY8" fmla="*/ 55505 h 130604"/>
                <a:gd name="connsiteX9" fmla="*/ 18555 w 83103"/>
                <a:gd name="connsiteY9" fmla="*/ 56653 h 130604"/>
                <a:gd name="connsiteX10" fmla="*/ 71691 w 83103"/>
                <a:gd name="connsiteY10" fmla="*/ 56653 h 130604"/>
                <a:gd name="connsiteX11" fmla="*/ 73638 w 83103"/>
                <a:gd name="connsiteY11" fmla="*/ 58575 h 130604"/>
                <a:gd name="connsiteX12" fmla="*/ 73638 w 83103"/>
                <a:gd name="connsiteY12" fmla="*/ 70678 h 130604"/>
                <a:gd name="connsiteX13" fmla="*/ 71691 w 83103"/>
                <a:gd name="connsiteY13" fmla="*/ 72607 h 130604"/>
                <a:gd name="connsiteX14" fmla="*/ 18555 w 83103"/>
                <a:gd name="connsiteY14" fmla="*/ 72607 h 130604"/>
                <a:gd name="connsiteX15" fmla="*/ 17406 w 83103"/>
                <a:gd name="connsiteY15" fmla="*/ 73755 h 130604"/>
                <a:gd name="connsiteX16" fmla="*/ 17406 w 83103"/>
                <a:gd name="connsiteY16" fmla="*/ 113509 h 130604"/>
                <a:gd name="connsiteX17" fmla="*/ 18555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1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34" y="0"/>
                  </a:cubicBezTo>
                  <a:lnTo>
                    <a:pt x="81170" y="0"/>
                  </a:lnTo>
                  <a:cubicBezTo>
                    <a:pt x="82463" y="0"/>
                    <a:pt x="83104" y="636"/>
                    <a:pt x="83104" y="1916"/>
                  </a:cubicBezTo>
                  <a:lnTo>
                    <a:pt x="83104" y="14006"/>
                  </a:lnTo>
                  <a:cubicBezTo>
                    <a:pt x="83104" y="15292"/>
                    <a:pt x="82463" y="15934"/>
                    <a:pt x="81170" y="15934"/>
                  </a:cubicBezTo>
                  <a:lnTo>
                    <a:pt x="18555" y="15934"/>
                  </a:lnTo>
                  <a:cubicBezTo>
                    <a:pt x="17782" y="15934"/>
                    <a:pt x="17406" y="16321"/>
                    <a:pt x="17406" y="17089"/>
                  </a:cubicBezTo>
                  <a:lnTo>
                    <a:pt x="17406" y="55505"/>
                  </a:lnTo>
                  <a:cubicBezTo>
                    <a:pt x="17406" y="56279"/>
                    <a:pt x="17782" y="56653"/>
                    <a:pt x="18555" y="56653"/>
                  </a:cubicBezTo>
                  <a:lnTo>
                    <a:pt x="71691" y="56653"/>
                  </a:lnTo>
                  <a:cubicBezTo>
                    <a:pt x="72985" y="56653"/>
                    <a:pt x="73638" y="57296"/>
                    <a:pt x="73638" y="58575"/>
                  </a:cubicBezTo>
                  <a:lnTo>
                    <a:pt x="73638" y="70678"/>
                  </a:lnTo>
                  <a:cubicBezTo>
                    <a:pt x="73638" y="71970"/>
                    <a:pt x="72985" y="72607"/>
                    <a:pt x="71691" y="72607"/>
                  </a:cubicBezTo>
                  <a:lnTo>
                    <a:pt x="18555" y="72607"/>
                  </a:lnTo>
                  <a:cubicBezTo>
                    <a:pt x="17782" y="72607"/>
                    <a:pt x="17406" y="72987"/>
                    <a:pt x="17406" y="73755"/>
                  </a:cubicBezTo>
                  <a:lnTo>
                    <a:pt x="17406" y="113509"/>
                  </a:lnTo>
                  <a:cubicBezTo>
                    <a:pt x="17406" y="114276"/>
                    <a:pt x="17782" y="114670"/>
                    <a:pt x="18555" y="114670"/>
                  </a:cubicBezTo>
                  <a:lnTo>
                    <a:pt x="81170" y="114670"/>
                  </a:lnTo>
                  <a:cubicBezTo>
                    <a:pt x="82463" y="114670"/>
                    <a:pt x="83104" y="115306"/>
                    <a:pt x="83104" y="116592"/>
                  </a:cubicBezTo>
                  <a:lnTo>
                    <a:pt x="83104" y="128682"/>
                  </a:lnTo>
                  <a:cubicBezTo>
                    <a:pt x="83104" y="129961"/>
                    <a:pt x="82463" y="130604"/>
                    <a:pt x="81170" y="130604"/>
                  </a:cubicBezTo>
                  <a:lnTo>
                    <a:pt x="1941"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28" name="Freeform: Shape 27">
              <a:extLst>
                <a:ext uri="{FF2B5EF4-FFF2-40B4-BE49-F238E27FC236}">
                  <a16:creationId xmlns:a16="http://schemas.microsoft.com/office/drawing/2014/main" id="{CE184271-A4F5-4F73-A1BD-9C0D6365A156}"/>
                </a:ext>
              </a:extLst>
            </p:cNvPr>
            <p:cNvSpPr/>
            <p:nvPr/>
          </p:nvSpPr>
          <p:spPr>
            <a:xfrm>
              <a:off x="11196277" y="921730"/>
              <a:ext cx="83103" cy="130604"/>
            </a:xfrm>
            <a:custGeom>
              <a:avLst/>
              <a:gdLst>
                <a:gd name="connsiteX0" fmla="*/ 0 w 83103"/>
                <a:gd name="connsiteY0" fmla="*/ 1916 h 130604"/>
                <a:gd name="connsiteX1" fmla="*/ 1947 w 83103"/>
                <a:gd name="connsiteY1" fmla="*/ 0 h 130604"/>
                <a:gd name="connsiteX2" fmla="*/ 15433 w 83103"/>
                <a:gd name="connsiteY2" fmla="*/ 0 h 130604"/>
                <a:gd name="connsiteX3" fmla="*/ 17406 w 83103"/>
                <a:gd name="connsiteY3" fmla="*/ 1916 h 130604"/>
                <a:gd name="connsiteX4" fmla="*/ 17406 w 83103"/>
                <a:gd name="connsiteY4" fmla="*/ 113509 h 130604"/>
                <a:gd name="connsiteX5" fmla="*/ 18555 w 83103"/>
                <a:gd name="connsiteY5" fmla="*/ 114670 h 130604"/>
                <a:gd name="connsiteX6" fmla="*/ 81176 w 83103"/>
                <a:gd name="connsiteY6" fmla="*/ 114670 h 130604"/>
                <a:gd name="connsiteX7" fmla="*/ 83097 w 83103"/>
                <a:gd name="connsiteY7" fmla="*/ 116592 h 130604"/>
                <a:gd name="connsiteX8" fmla="*/ 83104 w 83103"/>
                <a:gd name="connsiteY8" fmla="*/ 128682 h 130604"/>
                <a:gd name="connsiteX9" fmla="*/ 81176 w 83103"/>
                <a:gd name="connsiteY9" fmla="*/ 130604 h 130604"/>
                <a:gd name="connsiteX10" fmla="*/ 1947 w 83103"/>
                <a:gd name="connsiteY10" fmla="*/ 130604 h 130604"/>
                <a:gd name="connsiteX11" fmla="*/ 0 w 83103"/>
                <a:gd name="connsiteY11" fmla="*/ 128682 h 130604"/>
                <a:gd name="connsiteX12" fmla="*/ 0 w 83103"/>
                <a:gd name="connsiteY12"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03" h="130604">
                  <a:moveTo>
                    <a:pt x="0" y="1916"/>
                  </a:moveTo>
                  <a:cubicBezTo>
                    <a:pt x="0" y="636"/>
                    <a:pt x="653" y="0"/>
                    <a:pt x="1947" y="0"/>
                  </a:cubicBezTo>
                  <a:lnTo>
                    <a:pt x="15433" y="0"/>
                  </a:lnTo>
                  <a:cubicBezTo>
                    <a:pt x="16753" y="0"/>
                    <a:pt x="17406" y="636"/>
                    <a:pt x="17406" y="1916"/>
                  </a:cubicBezTo>
                  <a:lnTo>
                    <a:pt x="17406" y="113509"/>
                  </a:lnTo>
                  <a:cubicBezTo>
                    <a:pt x="17406" y="114276"/>
                    <a:pt x="17776" y="114670"/>
                    <a:pt x="18555" y="114670"/>
                  </a:cubicBezTo>
                  <a:lnTo>
                    <a:pt x="81176" y="114670"/>
                  </a:lnTo>
                  <a:cubicBezTo>
                    <a:pt x="82463" y="114670"/>
                    <a:pt x="83097" y="115306"/>
                    <a:pt x="83097" y="116592"/>
                  </a:cubicBezTo>
                  <a:lnTo>
                    <a:pt x="83104" y="128682"/>
                  </a:lnTo>
                  <a:cubicBezTo>
                    <a:pt x="83104" y="129961"/>
                    <a:pt x="82463" y="130604"/>
                    <a:pt x="81176" y="130604"/>
                  </a:cubicBezTo>
                  <a:lnTo>
                    <a:pt x="1947"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29" name="Freeform: Shape 28">
              <a:extLst>
                <a:ext uri="{FF2B5EF4-FFF2-40B4-BE49-F238E27FC236}">
                  <a16:creationId xmlns:a16="http://schemas.microsoft.com/office/drawing/2014/main" id="{80923E34-4756-4B29-B7E9-2DAD87556DE4}"/>
                </a:ext>
              </a:extLst>
            </p:cNvPr>
            <p:cNvSpPr/>
            <p:nvPr/>
          </p:nvSpPr>
          <p:spPr>
            <a:xfrm>
              <a:off x="11295086" y="919617"/>
              <a:ext cx="94858" cy="134835"/>
            </a:xfrm>
            <a:custGeom>
              <a:avLst/>
              <a:gdLst>
                <a:gd name="connsiteX0" fmla="*/ 46910 w 94858"/>
                <a:gd name="connsiteY0" fmla="*/ 134836 h 134835"/>
                <a:gd name="connsiteX1" fmla="*/ 33187 w 94858"/>
                <a:gd name="connsiteY1" fmla="*/ 133491 h 134835"/>
                <a:gd name="connsiteX2" fmla="*/ 20434 w 94858"/>
                <a:gd name="connsiteY2" fmla="*/ 129929 h 134835"/>
                <a:gd name="connsiteX3" fmla="*/ 9431 w 94858"/>
                <a:gd name="connsiteY3" fmla="*/ 124753 h 134835"/>
                <a:gd name="connsiteX4" fmla="*/ 724 w 94858"/>
                <a:gd name="connsiteY4" fmla="*/ 118508 h 134835"/>
                <a:gd name="connsiteX5" fmla="*/ 526 w 94858"/>
                <a:gd name="connsiteY5" fmla="*/ 115621 h 134835"/>
                <a:gd name="connsiteX6" fmla="*/ 9028 w 94858"/>
                <a:gd name="connsiteY6" fmla="*/ 105643 h 134835"/>
                <a:gd name="connsiteX7" fmla="*/ 11748 w 94858"/>
                <a:gd name="connsiteY7" fmla="*/ 105446 h 134835"/>
                <a:gd name="connsiteX8" fmla="*/ 27583 w 94858"/>
                <a:gd name="connsiteY8" fmla="*/ 114663 h 134835"/>
                <a:gd name="connsiteX9" fmla="*/ 48461 w 94858"/>
                <a:gd name="connsiteY9" fmla="*/ 118895 h 134835"/>
                <a:gd name="connsiteX10" fmla="*/ 69821 w 94858"/>
                <a:gd name="connsiteY10" fmla="*/ 112748 h 134835"/>
                <a:gd name="connsiteX11" fmla="*/ 77452 w 94858"/>
                <a:gd name="connsiteY11" fmla="*/ 96610 h 134835"/>
                <a:gd name="connsiteX12" fmla="*/ 76099 w 94858"/>
                <a:gd name="connsiteY12" fmla="*/ 88928 h 134835"/>
                <a:gd name="connsiteX13" fmla="*/ 71551 w 94858"/>
                <a:gd name="connsiteY13" fmla="*/ 82781 h 134835"/>
                <a:gd name="connsiteX14" fmla="*/ 63148 w 94858"/>
                <a:gd name="connsiteY14" fmla="*/ 78170 h 134835"/>
                <a:gd name="connsiteX15" fmla="*/ 50019 w 94858"/>
                <a:gd name="connsiteY15" fmla="*/ 75303 h 134835"/>
                <a:gd name="connsiteX16" fmla="*/ 43445 w 94858"/>
                <a:gd name="connsiteY16" fmla="*/ 74332 h 134835"/>
                <a:gd name="connsiteX17" fmla="*/ 4777 w 94858"/>
                <a:gd name="connsiteY17" fmla="*/ 38219 h 134835"/>
                <a:gd name="connsiteX18" fmla="*/ 7774 w 94858"/>
                <a:gd name="connsiteY18" fmla="*/ 22468 h 134835"/>
                <a:gd name="connsiteX19" fmla="*/ 16388 w 94858"/>
                <a:gd name="connsiteY19" fmla="*/ 10365 h 134835"/>
                <a:gd name="connsiteX20" fmla="*/ 29913 w 94858"/>
                <a:gd name="connsiteY20" fmla="*/ 2683 h 134835"/>
                <a:gd name="connsiteX21" fmla="*/ 47682 w 94858"/>
                <a:gd name="connsiteY21" fmla="*/ 0 h 134835"/>
                <a:gd name="connsiteX22" fmla="*/ 69821 w 94858"/>
                <a:gd name="connsiteY22" fmla="*/ 3359 h 134835"/>
                <a:gd name="connsiteX23" fmla="*/ 87703 w 94858"/>
                <a:gd name="connsiteY23" fmla="*/ 12090 h 134835"/>
                <a:gd name="connsiteX24" fmla="*/ 88086 w 94858"/>
                <a:gd name="connsiteY24" fmla="*/ 14780 h 134835"/>
                <a:gd name="connsiteX25" fmla="*/ 81505 w 94858"/>
                <a:gd name="connsiteY25" fmla="*/ 25348 h 134835"/>
                <a:gd name="connsiteX26" fmla="*/ 78805 w 94858"/>
                <a:gd name="connsiteY26" fmla="*/ 25729 h 134835"/>
                <a:gd name="connsiteX27" fmla="*/ 63148 w 94858"/>
                <a:gd name="connsiteY27" fmla="*/ 18329 h 134835"/>
                <a:gd name="connsiteX28" fmla="*/ 47115 w 94858"/>
                <a:gd name="connsiteY28" fmla="*/ 15934 h 134835"/>
                <a:gd name="connsiteX29" fmla="*/ 28560 w 94858"/>
                <a:gd name="connsiteY29" fmla="*/ 21793 h 134835"/>
                <a:gd name="connsiteX30" fmla="*/ 22190 w 94858"/>
                <a:gd name="connsiteY30" fmla="*/ 37064 h 134835"/>
                <a:gd name="connsiteX31" fmla="*/ 28362 w 94858"/>
                <a:gd name="connsiteY31" fmla="*/ 50611 h 134835"/>
                <a:gd name="connsiteX32" fmla="*/ 49814 w 94858"/>
                <a:gd name="connsiteY32" fmla="*/ 58004 h 134835"/>
                <a:gd name="connsiteX33" fmla="*/ 56197 w 94858"/>
                <a:gd name="connsiteY33" fmla="*/ 58962 h 134835"/>
                <a:gd name="connsiteX34" fmla="*/ 85175 w 94858"/>
                <a:gd name="connsiteY34" fmla="*/ 70488 h 134835"/>
                <a:gd name="connsiteX35" fmla="*/ 94858 w 94858"/>
                <a:gd name="connsiteY35" fmla="*/ 95469 h 134835"/>
                <a:gd name="connsiteX36" fmla="*/ 91861 w 94858"/>
                <a:gd name="connsiteY36" fmla="*/ 111311 h 134835"/>
                <a:gd name="connsiteX37" fmla="*/ 82785 w 94858"/>
                <a:gd name="connsiteY37" fmla="*/ 123697 h 134835"/>
                <a:gd name="connsiteX38" fmla="*/ 67703 w 94858"/>
                <a:gd name="connsiteY38" fmla="*/ 131851 h 134835"/>
                <a:gd name="connsiteX39" fmla="*/ 46910 w 94858"/>
                <a:gd name="connsiteY39" fmla="*/ 134836 h 134835"/>
                <a:gd name="connsiteX40" fmla="*/ 46910 w 94858"/>
                <a:gd name="connsiteY40" fmla="*/ 134836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4858" h="134835">
                  <a:moveTo>
                    <a:pt x="46910" y="134836"/>
                  </a:moveTo>
                  <a:cubicBezTo>
                    <a:pt x="42296" y="134836"/>
                    <a:pt x="37709" y="134376"/>
                    <a:pt x="33187" y="133491"/>
                  </a:cubicBezTo>
                  <a:cubicBezTo>
                    <a:pt x="28679" y="132592"/>
                    <a:pt x="24428" y="131398"/>
                    <a:pt x="20434" y="129929"/>
                  </a:cubicBezTo>
                  <a:cubicBezTo>
                    <a:pt x="16441" y="128466"/>
                    <a:pt x="12764" y="126734"/>
                    <a:pt x="9431" y="124753"/>
                  </a:cubicBezTo>
                  <a:cubicBezTo>
                    <a:pt x="6071" y="122772"/>
                    <a:pt x="3167" y="120685"/>
                    <a:pt x="724" y="118508"/>
                  </a:cubicBezTo>
                  <a:cubicBezTo>
                    <a:pt x="-167" y="117615"/>
                    <a:pt x="-239" y="116644"/>
                    <a:pt x="526" y="115621"/>
                  </a:cubicBezTo>
                  <a:lnTo>
                    <a:pt x="9028" y="105643"/>
                  </a:lnTo>
                  <a:cubicBezTo>
                    <a:pt x="9807" y="104738"/>
                    <a:pt x="10725" y="104672"/>
                    <a:pt x="11748" y="105446"/>
                  </a:cubicBezTo>
                  <a:cubicBezTo>
                    <a:pt x="16005" y="108786"/>
                    <a:pt x="21273" y="111849"/>
                    <a:pt x="27583" y="114663"/>
                  </a:cubicBezTo>
                  <a:cubicBezTo>
                    <a:pt x="33913" y="117491"/>
                    <a:pt x="40864" y="118895"/>
                    <a:pt x="48461" y="118895"/>
                  </a:cubicBezTo>
                  <a:cubicBezTo>
                    <a:pt x="57603" y="118895"/>
                    <a:pt x="64739" y="116848"/>
                    <a:pt x="69821" y="112748"/>
                  </a:cubicBezTo>
                  <a:cubicBezTo>
                    <a:pt x="74911" y="108654"/>
                    <a:pt x="77452" y="103269"/>
                    <a:pt x="77452" y="96610"/>
                  </a:cubicBezTo>
                  <a:cubicBezTo>
                    <a:pt x="77452" y="93802"/>
                    <a:pt x="76990" y="91237"/>
                    <a:pt x="76099" y="88928"/>
                  </a:cubicBezTo>
                  <a:cubicBezTo>
                    <a:pt x="75214" y="86626"/>
                    <a:pt x="73676" y="84572"/>
                    <a:pt x="71551" y="82781"/>
                  </a:cubicBezTo>
                  <a:cubicBezTo>
                    <a:pt x="69425" y="80984"/>
                    <a:pt x="66627" y="79449"/>
                    <a:pt x="63148" y="78170"/>
                  </a:cubicBezTo>
                  <a:cubicBezTo>
                    <a:pt x="59669" y="76897"/>
                    <a:pt x="55300" y="75933"/>
                    <a:pt x="50019" y="75303"/>
                  </a:cubicBezTo>
                  <a:lnTo>
                    <a:pt x="43445" y="74332"/>
                  </a:lnTo>
                  <a:cubicBezTo>
                    <a:pt x="17675" y="70875"/>
                    <a:pt x="4777" y="58831"/>
                    <a:pt x="4777" y="38219"/>
                  </a:cubicBezTo>
                  <a:cubicBezTo>
                    <a:pt x="4777" y="32453"/>
                    <a:pt x="5787" y="27198"/>
                    <a:pt x="7774" y="22468"/>
                  </a:cubicBezTo>
                  <a:cubicBezTo>
                    <a:pt x="9781" y="17732"/>
                    <a:pt x="12645" y="13691"/>
                    <a:pt x="16388" y="10365"/>
                  </a:cubicBezTo>
                  <a:cubicBezTo>
                    <a:pt x="20118" y="7039"/>
                    <a:pt x="24626" y="4487"/>
                    <a:pt x="29913" y="2683"/>
                  </a:cubicBezTo>
                  <a:cubicBezTo>
                    <a:pt x="35200" y="899"/>
                    <a:pt x="41121" y="0"/>
                    <a:pt x="47682" y="0"/>
                  </a:cubicBezTo>
                  <a:cubicBezTo>
                    <a:pt x="55418" y="0"/>
                    <a:pt x="62792" y="1122"/>
                    <a:pt x="69821" y="3359"/>
                  </a:cubicBezTo>
                  <a:cubicBezTo>
                    <a:pt x="76838" y="5596"/>
                    <a:pt x="82798" y="8522"/>
                    <a:pt x="87703" y="12090"/>
                  </a:cubicBezTo>
                  <a:cubicBezTo>
                    <a:pt x="88746" y="12851"/>
                    <a:pt x="88865" y="13750"/>
                    <a:pt x="88086" y="14780"/>
                  </a:cubicBezTo>
                  <a:lnTo>
                    <a:pt x="81505" y="25348"/>
                  </a:lnTo>
                  <a:cubicBezTo>
                    <a:pt x="80752" y="26247"/>
                    <a:pt x="79835" y="26371"/>
                    <a:pt x="78805" y="25729"/>
                  </a:cubicBezTo>
                  <a:cubicBezTo>
                    <a:pt x="73399" y="22403"/>
                    <a:pt x="68184" y="19936"/>
                    <a:pt x="63148" y="18329"/>
                  </a:cubicBezTo>
                  <a:cubicBezTo>
                    <a:pt x="58118" y="16735"/>
                    <a:pt x="52778" y="15934"/>
                    <a:pt x="47115" y="15934"/>
                  </a:cubicBezTo>
                  <a:cubicBezTo>
                    <a:pt x="38996" y="15934"/>
                    <a:pt x="32811" y="17889"/>
                    <a:pt x="28560" y="21793"/>
                  </a:cubicBezTo>
                  <a:cubicBezTo>
                    <a:pt x="24309" y="25702"/>
                    <a:pt x="22190" y="30806"/>
                    <a:pt x="22190" y="37064"/>
                  </a:cubicBezTo>
                  <a:cubicBezTo>
                    <a:pt x="22190" y="42568"/>
                    <a:pt x="24250" y="47082"/>
                    <a:pt x="28362" y="50611"/>
                  </a:cubicBezTo>
                  <a:cubicBezTo>
                    <a:pt x="32501" y="54134"/>
                    <a:pt x="39656" y="56587"/>
                    <a:pt x="49814" y="58004"/>
                  </a:cubicBezTo>
                  <a:lnTo>
                    <a:pt x="56197" y="58962"/>
                  </a:lnTo>
                  <a:cubicBezTo>
                    <a:pt x="69075" y="60759"/>
                    <a:pt x="78746" y="64597"/>
                    <a:pt x="85175" y="70488"/>
                  </a:cubicBezTo>
                  <a:cubicBezTo>
                    <a:pt x="91624" y="76385"/>
                    <a:pt x="94858" y="84704"/>
                    <a:pt x="94858" y="95469"/>
                  </a:cubicBezTo>
                  <a:cubicBezTo>
                    <a:pt x="94858" y="101222"/>
                    <a:pt x="93842" y="106509"/>
                    <a:pt x="91861" y="111311"/>
                  </a:cubicBezTo>
                  <a:cubicBezTo>
                    <a:pt x="89855" y="116107"/>
                    <a:pt x="86832" y="120233"/>
                    <a:pt x="82785" y="123697"/>
                  </a:cubicBezTo>
                  <a:cubicBezTo>
                    <a:pt x="78706" y="127154"/>
                    <a:pt x="73676" y="129876"/>
                    <a:pt x="67703" y="131851"/>
                  </a:cubicBezTo>
                  <a:cubicBezTo>
                    <a:pt x="61696" y="133838"/>
                    <a:pt x="54785" y="134836"/>
                    <a:pt x="46910" y="134836"/>
                  </a:cubicBezTo>
                  <a:lnTo>
                    <a:pt x="46910" y="134836"/>
                  </a:lnTo>
                  <a:close/>
                </a:path>
              </a:pathLst>
            </a:custGeom>
            <a:solidFill>
              <a:schemeClr val="bg2"/>
            </a:solidFill>
            <a:ln w="7" cap="flat">
              <a:noFill/>
              <a:prstDash val="solid"/>
              <a:miter/>
            </a:ln>
          </p:spPr>
          <p:txBody>
            <a:bodyPr rtlCol="0" anchor="ctr"/>
            <a:lstStyle/>
            <a:p>
              <a:endParaRPr lang="de-DE"/>
            </a:p>
          </p:txBody>
        </p:sp>
        <p:sp>
          <p:nvSpPr>
            <p:cNvPr id="30" name="Freeform: Shape 29">
              <a:extLst>
                <a:ext uri="{FF2B5EF4-FFF2-40B4-BE49-F238E27FC236}">
                  <a16:creationId xmlns:a16="http://schemas.microsoft.com/office/drawing/2014/main" id="{E25FCEC4-4A47-4C99-A76B-40AC8FC5F11A}"/>
                </a:ext>
              </a:extLst>
            </p:cNvPr>
            <p:cNvSpPr/>
            <p:nvPr/>
          </p:nvSpPr>
          <p:spPr>
            <a:xfrm>
              <a:off x="11404070" y="921730"/>
              <a:ext cx="95486" cy="130610"/>
            </a:xfrm>
            <a:custGeom>
              <a:avLst/>
              <a:gdLst>
                <a:gd name="connsiteX0" fmla="*/ 40984 w 95486"/>
                <a:gd name="connsiteY0" fmla="*/ 130611 h 130610"/>
                <a:gd name="connsiteX1" fmla="*/ 39037 w 95486"/>
                <a:gd name="connsiteY1" fmla="*/ 128682 h 130610"/>
                <a:gd name="connsiteX2" fmla="*/ 39037 w 95486"/>
                <a:gd name="connsiteY2" fmla="*/ 17096 h 130610"/>
                <a:gd name="connsiteX3" fmla="*/ 37882 w 95486"/>
                <a:gd name="connsiteY3" fmla="*/ 15934 h 130610"/>
                <a:gd name="connsiteX4" fmla="*/ 1934 w 95486"/>
                <a:gd name="connsiteY4" fmla="*/ 15934 h 130610"/>
                <a:gd name="connsiteX5" fmla="*/ 0 w 95486"/>
                <a:gd name="connsiteY5" fmla="*/ 14012 h 130610"/>
                <a:gd name="connsiteX6" fmla="*/ 0 w 95486"/>
                <a:gd name="connsiteY6" fmla="*/ 1916 h 130610"/>
                <a:gd name="connsiteX7" fmla="*/ 1934 w 95486"/>
                <a:gd name="connsiteY7" fmla="*/ 0 h 130610"/>
                <a:gd name="connsiteX8" fmla="*/ 93546 w 95486"/>
                <a:gd name="connsiteY8" fmla="*/ 0 h 130610"/>
                <a:gd name="connsiteX9" fmla="*/ 95487 w 95486"/>
                <a:gd name="connsiteY9" fmla="*/ 1916 h 130610"/>
                <a:gd name="connsiteX10" fmla="*/ 95487 w 95486"/>
                <a:gd name="connsiteY10" fmla="*/ 14012 h 130610"/>
                <a:gd name="connsiteX11" fmla="*/ 93540 w 95486"/>
                <a:gd name="connsiteY11" fmla="*/ 15934 h 130610"/>
                <a:gd name="connsiteX12" fmla="*/ 57598 w 95486"/>
                <a:gd name="connsiteY12" fmla="*/ 15934 h 130610"/>
                <a:gd name="connsiteX13" fmla="*/ 56437 w 95486"/>
                <a:gd name="connsiteY13" fmla="*/ 17096 h 130610"/>
                <a:gd name="connsiteX14" fmla="*/ 56437 w 95486"/>
                <a:gd name="connsiteY14" fmla="*/ 128682 h 130610"/>
                <a:gd name="connsiteX15" fmla="*/ 54476 w 95486"/>
                <a:gd name="connsiteY15" fmla="*/ 130611 h 130610"/>
                <a:gd name="connsiteX16" fmla="*/ 40984 w 95486"/>
                <a:gd name="connsiteY16" fmla="*/ 130611 h 13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486" h="130610">
                  <a:moveTo>
                    <a:pt x="40984" y="130611"/>
                  </a:moveTo>
                  <a:cubicBezTo>
                    <a:pt x="39690" y="130611"/>
                    <a:pt x="39037" y="129961"/>
                    <a:pt x="39037" y="128682"/>
                  </a:cubicBezTo>
                  <a:lnTo>
                    <a:pt x="39037" y="17096"/>
                  </a:lnTo>
                  <a:cubicBezTo>
                    <a:pt x="39037" y="16328"/>
                    <a:pt x="38661" y="15934"/>
                    <a:pt x="37882" y="15934"/>
                  </a:cubicBezTo>
                  <a:lnTo>
                    <a:pt x="1934" y="15934"/>
                  </a:lnTo>
                  <a:cubicBezTo>
                    <a:pt x="640" y="15934"/>
                    <a:pt x="0" y="15292"/>
                    <a:pt x="0" y="14012"/>
                  </a:cubicBezTo>
                  <a:lnTo>
                    <a:pt x="0" y="1916"/>
                  </a:lnTo>
                  <a:cubicBezTo>
                    <a:pt x="0" y="636"/>
                    <a:pt x="640" y="0"/>
                    <a:pt x="1934" y="0"/>
                  </a:cubicBezTo>
                  <a:lnTo>
                    <a:pt x="93546" y="0"/>
                  </a:lnTo>
                  <a:cubicBezTo>
                    <a:pt x="94833" y="0"/>
                    <a:pt x="95487" y="636"/>
                    <a:pt x="95487" y="1916"/>
                  </a:cubicBezTo>
                  <a:lnTo>
                    <a:pt x="95487" y="14012"/>
                  </a:lnTo>
                  <a:cubicBezTo>
                    <a:pt x="95487" y="15292"/>
                    <a:pt x="94833" y="15934"/>
                    <a:pt x="93540" y="15934"/>
                  </a:cubicBezTo>
                  <a:lnTo>
                    <a:pt x="57598" y="15934"/>
                  </a:lnTo>
                  <a:cubicBezTo>
                    <a:pt x="56819" y="15934"/>
                    <a:pt x="56437" y="16328"/>
                    <a:pt x="56437" y="17096"/>
                  </a:cubicBezTo>
                  <a:lnTo>
                    <a:pt x="56437" y="128682"/>
                  </a:lnTo>
                  <a:cubicBezTo>
                    <a:pt x="56437" y="129961"/>
                    <a:pt x="55783" y="130611"/>
                    <a:pt x="54476" y="130611"/>
                  </a:cubicBezTo>
                  <a:lnTo>
                    <a:pt x="40984" y="130611"/>
                  </a:lnTo>
                  <a:close/>
                </a:path>
              </a:pathLst>
            </a:custGeom>
            <a:solidFill>
              <a:schemeClr val="bg2"/>
            </a:solidFill>
            <a:ln w="7" cap="flat">
              <a:noFill/>
              <a:prstDash val="solid"/>
              <a:miter/>
            </a:ln>
          </p:spPr>
          <p:txBody>
            <a:bodyPr rtlCol="0" anchor="ctr"/>
            <a:lstStyle/>
            <a:p>
              <a:endParaRPr lang="de-DE"/>
            </a:p>
          </p:txBody>
        </p:sp>
        <p:sp>
          <p:nvSpPr>
            <p:cNvPr id="31" name="Freeform: Shape 30">
              <a:extLst>
                <a:ext uri="{FF2B5EF4-FFF2-40B4-BE49-F238E27FC236}">
                  <a16:creationId xmlns:a16="http://schemas.microsoft.com/office/drawing/2014/main" id="{3B77D989-8ED7-466F-BE57-4582FEE352E1}"/>
                </a:ext>
              </a:extLst>
            </p:cNvPr>
            <p:cNvSpPr/>
            <p:nvPr/>
          </p:nvSpPr>
          <p:spPr>
            <a:xfrm>
              <a:off x="11521775" y="921730"/>
              <a:ext cx="83103" cy="130604"/>
            </a:xfrm>
            <a:custGeom>
              <a:avLst/>
              <a:gdLst>
                <a:gd name="connsiteX0" fmla="*/ 0 w 83103"/>
                <a:gd name="connsiteY0" fmla="*/ 1916 h 130604"/>
                <a:gd name="connsiteX1" fmla="*/ 1941 w 83103"/>
                <a:gd name="connsiteY1" fmla="*/ 0 h 130604"/>
                <a:gd name="connsiteX2" fmla="*/ 81170 w 83103"/>
                <a:gd name="connsiteY2" fmla="*/ 0 h 130604"/>
                <a:gd name="connsiteX3" fmla="*/ 83104 w 83103"/>
                <a:gd name="connsiteY3" fmla="*/ 1916 h 130604"/>
                <a:gd name="connsiteX4" fmla="*/ 83104 w 83103"/>
                <a:gd name="connsiteY4" fmla="*/ 14006 h 130604"/>
                <a:gd name="connsiteX5" fmla="*/ 81170 w 83103"/>
                <a:gd name="connsiteY5" fmla="*/ 15934 h 130604"/>
                <a:gd name="connsiteX6" fmla="*/ 18548 w 83103"/>
                <a:gd name="connsiteY6" fmla="*/ 15934 h 130604"/>
                <a:gd name="connsiteX7" fmla="*/ 17406 w 83103"/>
                <a:gd name="connsiteY7" fmla="*/ 17089 h 130604"/>
                <a:gd name="connsiteX8" fmla="*/ 17406 w 83103"/>
                <a:gd name="connsiteY8" fmla="*/ 55505 h 130604"/>
                <a:gd name="connsiteX9" fmla="*/ 18548 w 83103"/>
                <a:gd name="connsiteY9" fmla="*/ 56653 h 130604"/>
                <a:gd name="connsiteX10" fmla="*/ 71698 w 83103"/>
                <a:gd name="connsiteY10" fmla="*/ 56653 h 130604"/>
                <a:gd name="connsiteX11" fmla="*/ 73638 w 83103"/>
                <a:gd name="connsiteY11" fmla="*/ 58575 h 130604"/>
                <a:gd name="connsiteX12" fmla="*/ 73638 w 83103"/>
                <a:gd name="connsiteY12" fmla="*/ 70678 h 130604"/>
                <a:gd name="connsiteX13" fmla="*/ 71698 w 83103"/>
                <a:gd name="connsiteY13" fmla="*/ 72607 h 130604"/>
                <a:gd name="connsiteX14" fmla="*/ 18548 w 83103"/>
                <a:gd name="connsiteY14" fmla="*/ 72607 h 130604"/>
                <a:gd name="connsiteX15" fmla="*/ 17406 w 83103"/>
                <a:gd name="connsiteY15" fmla="*/ 73755 h 130604"/>
                <a:gd name="connsiteX16" fmla="*/ 17406 w 83103"/>
                <a:gd name="connsiteY16" fmla="*/ 113509 h 130604"/>
                <a:gd name="connsiteX17" fmla="*/ 18548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7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41" y="0"/>
                  </a:cubicBezTo>
                  <a:lnTo>
                    <a:pt x="81170" y="0"/>
                  </a:lnTo>
                  <a:cubicBezTo>
                    <a:pt x="82463" y="0"/>
                    <a:pt x="83104" y="636"/>
                    <a:pt x="83104" y="1916"/>
                  </a:cubicBezTo>
                  <a:lnTo>
                    <a:pt x="83104" y="14006"/>
                  </a:lnTo>
                  <a:cubicBezTo>
                    <a:pt x="83104" y="15292"/>
                    <a:pt x="82463" y="15934"/>
                    <a:pt x="81170" y="15934"/>
                  </a:cubicBezTo>
                  <a:lnTo>
                    <a:pt x="18548" y="15934"/>
                  </a:lnTo>
                  <a:cubicBezTo>
                    <a:pt x="17776" y="15934"/>
                    <a:pt x="17406" y="16321"/>
                    <a:pt x="17406" y="17089"/>
                  </a:cubicBezTo>
                  <a:lnTo>
                    <a:pt x="17406" y="55505"/>
                  </a:lnTo>
                  <a:cubicBezTo>
                    <a:pt x="17406" y="56279"/>
                    <a:pt x="17776" y="56653"/>
                    <a:pt x="18548" y="56653"/>
                  </a:cubicBezTo>
                  <a:lnTo>
                    <a:pt x="71698" y="56653"/>
                  </a:lnTo>
                  <a:cubicBezTo>
                    <a:pt x="72991" y="56653"/>
                    <a:pt x="73638" y="57296"/>
                    <a:pt x="73638" y="58575"/>
                  </a:cubicBezTo>
                  <a:lnTo>
                    <a:pt x="73638" y="70678"/>
                  </a:lnTo>
                  <a:cubicBezTo>
                    <a:pt x="73638" y="71970"/>
                    <a:pt x="72991" y="72607"/>
                    <a:pt x="71698" y="72607"/>
                  </a:cubicBezTo>
                  <a:lnTo>
                    <a:pt x="18548" y="72607"/>
                  </a:lnTo>
                  <a:cubicBezTo>
                    <a:pt x="17776" y="72607"/>
                    <a:pt x="17406" y="72987"/>
                    <a:pt x="17406" y="73755"/>
                  </a:cubicBezTo>
                  <a:lnTo>
                    <a:pt x="17406" y="113509"/>
                  </a:lnTo>
                  <a:cubicBezTo>
                    <a:pt x="17406" y="114276"/>
                    <a:pt x="17776" y="114670"/>
                    <a:pt x="18548" y="114670"/>
                  </a:cubicBezTo>
                  <a:lnTo>
                    <a:pt x="81170" y="114670"/>
                  </a:lnTo>
                  <a:cubicBezTo>
                    <a:pt x="82463" y="114670"/>
                    <a:pt x="83104" y="115306"/>
                    <a:pt x="83104" y="116592"/>
                  </a:cubicBezTo>
                  <a:lnTo>
                    <a:pt x="83104" y="128682"/>
                  </a:lnTo>
                  <a:cubicBezTo>
                    <a:pt x="83104" y="129961"/>
                    <a:pt x="82463" y="130604"/>
                    <a:pt x="81170" y="130604"/>
                  </a:cubicBezTo>
                  <a:lnTo>
                    <a:pt x="1947"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32" name="Freeform: Shape 31">
              <a:extLst>
                <a:ext uri="{FF2B5EF4-FFF2-40B4-BE49-F238E27FC236}">
                  <a16:creationId xmlns:a16="http://schemas.microsoft.com/office/drawing/2014/main" id="{FDF7B091-A6DF-4B0E-982A-25515A287688}"/>
                </a:ext>
              </a:extLst>
            </p:cNvPr>
            <p:cNvSpPr/>
            <p:nvPr/>
          </p:nvSpPr>
          <p:spPr>
            <a:xfrm>
              <a:off x="11632516" y="921730"/>
              <a:ext cx="17393" cy="130604"/>
            </a:xfrm>
            <a:custGeom>
              <a:avLst/>
              <a:gdLst>
                <a:gd name="connsiteX0" fmla="*/ 0 w 17393"/>
                <a:gd name="connsiteY0" fmla="*/ 1916 h 130604"/>
                <a:gd name="connsiteX1" fmla="*/ 1941 w 17393"/>
                <a:gd name="connsiteY1" fmla="*/ 0 h 130604"/>
                <a:gd name="connsiteX2" fmla="*/ 15426 w 17393"/>
                <a:gd name="connsiteY2" fmla="*/ 0 h 130604"/>
                <a:gd name="connsiteX3" fmla="*/ 17393 w 17393"/>
                <a:gd name="connsiteY3" fmla="*/ 1916 h 130604"/>
                <a:gd name="connsiteX4" fmla="*/ 17393 w 17393"/>
                <a:gd name="connsiteY4" fmla="*/ 128682 h 130604"/>
                <a:gd name="connsiteX5" fmla="*/ 15426 w 17393"/>
                <a:gd name="connsiteY5" fmla="*/ 130604 h 130604"/>
                <a:gd name="connsiteX6" fmla="*/ 1947 w 17393"/>
                <a:gd name="connsiteY6" fmla="*/ 130604 h 130604"/>
                <a:gd name="connsiteX7" fmla="*/ 0 w 17393"/>
                <a:gd name="connsiteY7" fmla="*/ 128682 h 130604"/>
                <a:gd name="connsiteX8" fmla="*/ 0 w 17393"/>
                <a:gd name="connsiteY8"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93" h="130604">
                  <a:moveTo>
                    <a:pt x="0" y="1916"/>
                  </a:moveTo>
                  <a:cubicBezTo>
                    <a:pt x="0" y="636"/>
                    <a:pt x="653" y="0"/>
                    <a:pt x="1941" y="0"/>
                  </a:cubicBezTo>
                  <a:lnTo>
                    <a:pt x="15426" y="0"/>
                  </a:lnTo>
                  <a:cubicBezTo>
                    <a:pt x="16746" y="0"/>
                    <a:pt x="17393" y="636"/>
                    <a:pt x="17393" y="1916"/>
                  </a:cubicBezTo>
                  <a:lnTo>
                    <a:pt x="17393" y="128682"/>
                  </a:lnTo>
                  <a:cubicBezTo>
                    <a:pt x="17393" y="129961"/>
                    <a:pt x="16740" y="130604"/>
                    <a:pt x="15426" y="130604"/>
                  </a:cubicBezTo>
                  <a:lnTo>
                    <a:pt x="1947"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33" name="Freeform: Shape 32">
              <a:extLst>
                <a:ext uri="{FF2B5EF4-FFF2-40B4-BE49-F238E27FC236}">
                  <a16:creationId xmlns:a16="http://schemas.microsoft.com/office/drawing/2014/main" id="{E969EB5A-F899-41D7-BC6F-E35DED8AC262}"/>
                </a:ext>
              </a:extLst>
            </p:cNvPr>
            <p:cNvSpPr/>
            <p:nvPr/>
          </p:nvSpPr>
          <p:spPr>
            <a:xfrm>
              <a:off x="11684127" y="921730"/>
              <a:ext cx="93929" cy="130604"/>
            </a:xfrm>
            <a:custGeom>
              <a:avLst/>
              <a:gdLst>
                <a:gd name="connsiteX0" fmla="*/ 0 w 93929"/>
                <a:gd name="connsiteY0" fmla="*/ 1916 h 130604"/>
                <a:gd name="connsiteX1" fmla="*/ 1934 w 93929"/>
                <a:gd name="connsiteY1" fmla="*/ 0 h 130604"/>
                <a:gd name="connsiteX2" fmla="*/ 14310 w 93929"/>
                <a:gd name="connsiteY2" fmla="*/ 0 h 130604"/>
                <a:gd name="connsiteX3" fmla="*/ 17584 w 93929"/>
                <a:gd name="connsiteY3" fmla="*/ 1916 h 130604"/>
                <a:gd name="connsiteX4" fmla="*/ 77117 w 93929"/>
                <a:gd name="connsiteY4" fmla="*/ 99877 h 130604"/>
                <a:gd name="connsiteX5" fmla="*/ 77896 w 93929"/>
                <a:gd name="connsiteY5" fmla="*/ 99877 h 130604"/>
                <a:gd name="connsiteX6" fmla="*/ 77896 w 93929"/>
                <a:gd name="connsiteY6" fmla="*/ 1916 h 130604"/>
                <a:gd name="connsiteX7" fmla="*/ 79823 w 93929"/>
                <a:gd name="connsiteY7" fmla="*/ 0 h 130604"/>
                <a:gd name="connsiteX8" fmla="*/ 92008 w 93929"/>
                <a:gd name="connsiteY8" fmla="*/ 0 h 130604"/>
                <a:gd name="connsiteX9" fmla="*/ 93929 w 93929"/>
                <a:gd name="connsiteY9" fmla="*/ 1916 h 130604"/>
                <a:gd name="connsiteX10" fmla="*/ 93929 w 93929"/>
                <a:gd name="connsiteY10" fmla="*/ 128682 h 130604"/>
                <a:gd name="connsiteX11" fmla="*/ 92008 w 93929"/>
                <a:gd name="connsiteY11" fmla="*/ 130604 h 130604"/>
                <a:gd name="connsiteX12" fmla="*/ 79625 w 93929"/>
                <a:gd name="connsiteY12" fmla="*/ 130604 h 130604"/>
                <a:gd name="connsiteX13" fmla="*/ 76345 w 93929"/>
                <a:gd name="connsiteY13" fmla="*/ 128682 h 130604"/>
                <a:gd name="connsiteX14" fmla="*/ 16634 w 93929"/>
                <a:gd name="connsiteY14" fmla="*/ 31108 h 130604"/>
                <a:gd name="connsiteX15" fmla="*/ 16053 w 93929"/>
                <a:gd name="connsiteY15" fmla="*/ 31108 h 130604"/>
                <a:gd name="connsiteX16" fmla="*/ 16053 w 93929"/>
                <a:gd name="connsiteY16" fmla="*/ 128682 h 130604"/>
                <a:gd name="connsiteX17" fmla="*/ 14106 w 93929"/>
                <a:gd name="connsiteY17" fmla="*/ 130604 h 130604"/>
                <a:gd name="connsiteX18" fmla="*/ 1934 w 93929"/>
                <a:gd name="connsiteY18" fmla="*/ 130604 h 130604"/>
                <a:gd name="connsiteX19" fmla="*/ 0 w 93929"/>
                <a:gd name="connsiteY19" fmla="*/ 128682 h 130604"/>
                <a:gd name="connsiteX20" fmla="*/ 0 w 93929"/>
                <a:gd name="connsiteY20"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29" h="130604">
                  <a:moveTo>
                    <a:pt x="0" y="1916"/>
                  </a:moveTo>
                  <a:cubicBezTo>
                    <a:pt x="0" y="636"/>
                    <a:pt x="653" y="0"/>
                    <a:pt x="1934" y="0"/>
                  </a:cubicBezTo>
                  <a:lnTo>
                    <a:pt x="14310" y="0"/>
                  </a:lnTo>
                  <a:cubicBezTo>
                    <a:pt x="15855" y="0"/>
                    <a:pt x="16944" y="636"/>
                    <a:pt x="17584" y="1916"/>
                  </a:cubicBezTo>
                  <a:lnTo>
                    <a:pt x="77117" y="99877"/>
                  </a:lnTo>
                  <a:lnTo>
                    <a:pt x="77896" y="99877"/>
                  </a:lnTo>
                  <a:lnTo>
                    <a:pt x="77896" y="1916"/>
                  </a:lnTo>
                  <a:cubicBezTo>
                    <a:pt x="77896" y="636"/>
                    <a:pt x="78536" y="0"/>
                    <a:pt x="79823" y="0"/>
                  </a:cubicBezTo>
                  <a:lnTo>
                    <a:pt x="92008" y="0"/>
                  </a:lnTo>
                  <a:cubicBezTo>
                    <a:pt x="93276" y="0"/>
                    <a:pt x="93929" y="636"/>
                    <a:pt x="93929" y="1916"/>
                  </a:cubicBezTo>
                  <a:lnTo>
                    <a:pt x="93929" y="128682"/>
                  </a:lnTo>
                  <a:cubicBezTo>
                    <a:pt x="93929" y="129961"/>
                    <a:pt x="93276" y="130604"/>
                    <a:pt x="92008" y="130604"/>
                  </a:cubicBezTo>
                  <a:lnTo>
                    <a:pt x="79625" y="130604"/>
                  </a:lnTo>
                  <a:cubicBezTo>
                    <a:pt x="78074" y="130604"/>
                    <a:pt x="76985" y="129961"/>
                    <a:pt x="76345" y="128682"/>
                  </a:cubicBezTo>
                  <a:lnTo>
                    <a:pt x="16634" y="31108"/>
                  </a:lnTo>
                  <a:lnTo>
                    <a:pt x="16053" y="31108"/>
                  </a:lnTo>
                  <a:lnTo>
                    <a:pt x="16053" y="128682"/>
                  </a:lnTo>
                  <a:cubicBezTo>
                    <a:pt x="16053" y="129961"/>
                    <a:pt x="15400" y="130604"/>
                    <a:pt x="14106" y="130604"/>
                  </a:cubicBezTo>
                  <a:lnTo>
                    <a:pt x="1934"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grpSp>
      <p:sp>
        <p:nvSpPr>
          <p:cNvPr id="43" name="Date Placeholder 42">
            <a:extLst>
              <a:ext uri="{FF2B5EF4-FFF2-40B4-BE49-F238E27FC236}">
                <a16:creationId xmlns:a16="http://schemas.microsoft.com/office/drawing/2014/main" id="{A0FA187A-A910-4EF9-A092-2EB6FA1BFF82}"/>
              </a:ext>
            </a:extLst>
          </p:cNvPr>
          <p:cNvSpPr>
            <a:spLocks noGrp="1"/>
          </p:cNvSpPr>
          <p:nvPr>
            <p:ph type="dt" sz="half" idx="14"/>
          </p:nvPr>
        </p:nvSpPr>
        <p:spPr/>
        <p:txBody>
          <a:bodyPr/>
          <a:lstStyle/>
          <a:p>
            <a:fld id="{9D042A0E-174E-48A8-BA26-DE3D0EAE80CC}" type="datetime1">
              <a:rPr lang="de-DE"/>
              <a:pPr/>
              <a:t>04.05.2026</a:t>
            </a:fld>
            <a:endParaRPr lang="de-DE"/>
          </a:p>
        </p:txBody>
      </p:sp>
      <p:sp>
        <p:nvSpPr>
          <p:cNvPr id="44" name="Footer Placeholder 43">
            <a:extLst>
              <a:ext uri="{FF2B5EF4-FFF2-40B4-BE49-F238E27FC236}">
                <a16:creationId xmlns:a16="http://schemas.microsoft.com/office/drawing/2014/main" id="{4332C78B-BE10-4463-9EED-FD17C49652C2}"/>
              </a:ext>
            </a:extLst>
          </p:cNvPr>
          <p:cNvSpPr>
            <a:spLocks noGrp="1"/>
          </p:cNvSpPr>
          <p:nvPr>
            <p:ph type="ftr" sz="quarter" idx="15"/>
          </p:nvPr>
        </p:nvSpPr>
        <p:spPr/>
        <p:txBody>
          <a:bodyPr/>
          <a:lstStyle/>
          <a:p>
            <a:endParaRPr lang="de-DE"/>
          </a:p>
        </p:txBody>
      </p:sp>
      <p:sp>
        <p:nvSpPr>
          <p:cNvPr id="45" name="Slide Number Placeholder 44">
            <a:extLst>
              <a:ext uri="{FF2B5EF4-FFF2-40B4-BE49-F238E27FC236}">
                <a16:creationId xmlns:a16="http://schemas.microsoft.com/office/drawing/2014/main" id="{9CC9AF28-0295-447E-93F5-392AF0080B0A}"/>
              </a:ext>
            </a:extLst>
          </p:cNvPr>
          <p:cNvSpPr>
            <a:spLocks noGrp="1"/>
          </p:cNvSpPr>
          <p:nvPr>
            <p:ph type="sldNum" sz="quarter" idx="16"/>
          </p:nvPr>
        </p:nvSpPr>
        <p:spPr/>
        <p:txBody>
          <a:bodyPr/>
          <a:lstStyle/>
          <a:p>
            <a:fld id="{EFDB17C1-FF3A-45DC-94C1-44444C959F3B}" type="slidenum">
              <a:rPr lang="de-DE"/>
              <a:pPr/>
              <a:t>‹Nr.›</a:t>
            </a:fld>
            <a:endParaRPr lang="de-DE"/>
          </a:p>
        </p:txBody>
      </p:sp>
      <p:cxnSp>
        <p:nvCxnSpPr>
          <p:cNvPr id="46" name="Gerade Verbindung 13">
            <a:extLst>
              <a:ext uri="{FF2B5EF4-FFF2-40B4-BE49-F238E27FC236}">
                <a16:creationId xmlns:a16="http://schemas.microsoft.com/office/drawing/2014/main" id="{78A63176-7023-4036-BF3F-E5F815F72355}"/>
              </a:ext>
            </a:extLst>
          </p:cNvPr>
          <p:cNvCxnSpPr>
            <a:cxnSpLocks/>
          </p:cNvCxnSpPr>
          <p:nvPr userDrawn="1"/>
        </p:nvCxnSpPr>
        <p:spPr>
          <a:xfrm flipV="1">
            <a:off x="1143495" y="6403913"/>
            <a:ext cx="0" cy="27000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enable layout protection" hidden="1">
            <a:extLst>
              <a:ext uri="{FF2B5EF4-FFF2-40B4-BE49-F238E27FC236}">
                <a16:creationId xmlns:a16="http://schemas.microsoft.com/office/drawing/2014/main" id="{21683F82-B25C-4FAB-A24C-DC647F084C1D}"/>
              </a:ext>
            </a:extLst>
          </p:cNvPr>
          <p:cNvSpPr>
            <a:spLocks/>
          </p:cNvSpPr>
          <p:nvPr userDrawn="1">
            <p:custDataLst>
              <p:tags r:id="rId1"/>
            </p:custDataLst>
          </p:nvPr>
        </p:nvSpPr>
        <p:spPr>
          <a:xfrm>
            <a:off x="410152" y="1574799"/>
            <a:ext cx="11367906" cy="4608001"/>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nvGrpSpPr>
          <p:cNvPr id="34" name="Graphic 16">
            <a:extLst>
              <a:ext uri="{FF2B5EF4-FFF2-40B4-BE49-F238E27FC236}">
                <a16:creationId xmlns:a16="http://schemas.microsoft.com/office/drawing/2014/main" id="{D626A5A5-A3C2-47B9-AA1B-2F4C094B26AA}"/>
              </a:ext>
            </a:extLst>
          </p:cNvPr>
          <p:cNvGrpSpPr/>
          <p:nvPr/>
        </p:nvGrpSpPr>
        <p:grpSpPr>
          <a:xfrm>
            <a:off x="9938019" y="6379293"/>
            <a:ext cx="2029688" cy="316256"/>
            <a:chOff x="9938019" y="6379293"/>
            <a:chExt cx="2029688" cy="316256"/>
          </a:xfrm>
          <a:solidFill>
            <a:schemeClr val="bg2"/>
          </a:solidFill>
        </p:grpSpPr>
        <p:grpSp>
          <p:nvGrpSpPr>
            <p:cNvPr id="35" name="Graphic 16">
              <a:extLst>
                <a:ext uri="{FF2B5EF4-FFF2-40B4-BE49-F238E27FC236}">
                  <a16:creationId xmlns:a16="http://schemas.microsoft.com/office/drawing/2014/main" id="{A1CCB30B-3C22-49C4-9130-4311F0EB158D}"/>
                </a:ext>
              </a:extLst>
            </p:cNvPr>
            <p:cNvGrpSpPr/>
            <p:nvPr/>
          </p:nvGrpSpPr>
          <p:grpSpPr>
            <a:xfrm>
              <a:off x="9938019" y="6379293"/>
              <a:ext cx="747774" cy="316256"/>
              <a:chOff x="9938019" y="6379293"/>
              <a:chExt cx="747774" cy="316256"/>
            </a:xfrm>
            <a:solidFill>
              <a:schemeClr val="bg2"/>
            </a:solidFill>
          </p:grpSpPr>
          <p:sp>
            <p:nvSpPr>
              <p:cNvPr id="36" name="Freeform: Shape 35">
                <a:extLst>
                  <a:ext uri="{FF2B5EF4-FFF2-40B4-BE49-F238E27FC236}">
                    <a16:creationId xmlns:a16="http://schemas.microsoft.com/office/drawing/2014/main" id="{728DC521-6E7D-4401-B3B8-FDD430A4AE7F}"/>
                  </a:ext>
                </a:extLst>
              </p:cNvPr>
              <p:cNvSpPr/>
              <p:nvPr/>
            </p:nvSpPr>
            <p:spPr>
              <a:xfrm>
                <a:off x="9938019" y="6410956"/>
                <a:ext cx="209869" cy="252930"/>
              </a:xfrm>
              <a:custGeom>
                <a:avLst/>
                <a:gdLst>
                  <a:gd name="connsiteX0" fmla="*/ 145594 w 209869"/>
                  <a:gd name="connsiteY0" fmla="*/ 163695 h 252930"/>
                  <a:gd name="connsiteX1" fmla="*/ 105519 w 209869"/>
                  <a:gd name="connsiteY1" fmla="*/ 48779 h 252930"/>
                  <a:gd name="connsiteX2" fmla="*/ 104747 w 209869"/>
                  <a:gd name="connsiteY2" fmla="*/ 48779 h 252930"/>
                  <a:gd name="connsiteX3" fmla="*/ 64333 w 209869"/>
                  <a:gd name="connsiteY3" fmla="*/ 163695 h 252930"/>
                  <a:gd name="connsiteX4" fmla="*/ 88659 w 209869"/>
                  <a:gd name="connsiteY4" fmla="*/ 3752 h 252930"/>
                  <a:gd name="connsiteX5" fmla="*/ 93166 w 209869"/>
                  <a:gd name="connsiteY5" fmla="*/ 37 h 252930"/>
                  <a:gd name="connsiteX6" fmla="*/ 117493 w 209869"/>
                  <a:gd name="connsiteY6" fmla="*/ 37 h 252930"/>
                  <a:gd name="connsiteX7" fmla="*/ 122373 w 209869"/>
                  <a:gd name="connsiteY7" fmla="*/ 3752 h 252930"/>
                  <a:gd name="connsiteX8" fmla="*/ 209621 w 209869"/>
                  <a:gd name="connsiteY8" fmla="*/ 249211 h 252930"/>
                  <a:gd name="connsiteX9" fmla="*/ 207003 w 209869"/>
                  <a:gd name="connsiteY9" fmla="*/ 252953 h 252930"/>
                  <a:gd name="connsiteX10" fmla="*/ 180788 w 209869"/>
                  <a:gd name="connsiteY10" fmla="*/ 252953 h 252930"/>
                  <a:gd name="connsiteX11" fmla="*/ 175925 w 209869"/>
                  <a:gd name="connsiteY11" fmla="*/ 249211 h 252930"/>
                  <a:gd name="connsiteX12" fmla="*/ 156432 w 209869"/>
                  <a:gd name="connsiteY12" fmla="*/ 194187 h 252930"/>
                  <a:gd name="connsiteX13" fmla="*/ 53465 w 209869"/>
                  <a:gd name="connsiteY13" fmla="*/ 194187 h 252930"/>
                  <a:gd name="connsiteX14" fmla="*/ 33984 w 209869"/>
                  <a:gd name="connsiteY14" fmla="*/ 249211 h 252930"/>
                  <a:gd name="connsiteX15" fmla="*/ 29103 w 209869"/>
                  <a:gd name="connsiteY15" fmla="*/ 252953 h 252930"/>
                  <a:gd name="connsiteX16" fmla="*/ 2889 w 209869"/>
                  <a:gd name="connsiteY16" fmla="*/ 252953 h 252930"/>
                  <a:gd name="connsiteX17" fmla="*/ 270 w 209869"/>
                  <a:gd name="connsiteY17" fmla="*/ 249211 h 25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9869" h="252930">
                    <a:moveTo>
                      <a:pt x="145594" y="163695"/>
                    </a:moveTo>
                    <a:lnTo>
                      <a:pt x="105519" y="48779"/>
                    </a:lnTo>
                    <a:lnTo>
                      <a:pt x="104747" y="48779"/>
                    </a:lnTo>
                    <a:lnTo>
                      <a:pt x="64333" y="163695"/>
                    </a:lnTo>
                    <a:close/>
                    <a:moveTo>
                      <a:pt x="88659" y="3752"/>
                    </a:moveTo>
                    <a:cubicBezTo>
                      <a:pt x="89038" y="1571"/>
                      <a:pt x="90952" y="-8"/>
                      <a:pt x="93166" y="37"/>
                    </a:cubicBezTo>
                    <a:lnTo>
                      <a:pt x="117493" y="37"/>
                    </a:lnTo>
                    <a:cubicBezTo>
                      <a:pt x="119807" y="-79"/>
                      <a:pt x="121869" y="1490"/>
                      <a:pt x="122373" y="3752"/>
                    </a:cubicBezTo>
                    <a:lnTo>
                      <a:pt x="209621" y="249211"/>
                    </a:lnTo>
                    <a:cubicBezTo>
                      <a:pt x="210385" y="251693"/>
                      <a:pt x="209494" y="252953"/>
                      <a:pt x="207003" y="252953"/>
                    </a:cubicBezTo>
                    <a:lnTo>
                      <a:pt x="180788" y="252953"/>
                    </a:lnTo>
                    <a:cubicBezTo>
                      <a:pt x="178462" y="253091"/>
                      <a:pt x="176388" y="251495"/>
                      <a:pt x="175925" y="249211"/>
                    </a:cubicBezTo>
                    <a:lnTo>
                      <a:pt x="156432" y="194187"/>
                    </a:lnTo>
                    <a:lnTo>
                      <a:pt x="53465" y="194187"/>
                    </a:lnTo>
                    <a:lnTo>
                      <a:pt x="33984" y="249211"/>
                    </a:lnTo>
                    <a:cubicBezTo>
                      <a:pt x="33377" y="251410"/>
                      <a:pt x="31384" y="252938"/>
                      <a:pt x="29103" y="252953"/>
                    </a:cubicBezTo>
                    <a:lnTo>
                      <a:pt x="2889" y="252953"/>
                    </a:lnTo>
                    <a:cubicBezTo>
                      <a:pt x="389" y="252953"/>
                      <a:pt x="-461" y="251696"/>
                      <a:pt x="270" y="249211"/>
                    </a:cubicBezTo>
                    <a:close/>
                  </a:path>
                </a:pathLst>
              </a:custGeom>
              <a:solidFill>
                <a:schemeClr val="bg2"/>
              </a:solidFill>
              <a:ln w="2965" cap="flat">
                <a:noFill/>
                <a:prstDash val="solid"/>
                <a:miter/>
              </a:ln>
            </p:spPr>
            <p:txBody>
              <a:bodyPr rtlCol="0" anchor="ctr"/>
              <a:lstStyle/>
              <a:p>
                <a:endParaRPr lang="de-DE"/>
              </a:p>
            </p:txBody>
          </p:sp>
          <p:sp>
            <p:nvSpPr>
              <p:cNvPr id="37" name="Freeform: Shape 36">
                <a:extLst>
                  <a:ext uri="{FF2B5EF4-FFF2-40B4-BE49-F238E27FC236}">
                    <a16:creationId xmlns:a16="http://schemas.microsoft.com/office/drawing/2014/main" id="{798F2435-42DB-4841-B7CB-DE31B90ED228}"/>
                  </a:ext>
                </a:extLst>
              </p:cNvPr>
              <p:cNvSpPr/>
              <p:nvPr/>
            </p:nvSpPr>
            <p:spPr>
              <a:xfrm>
                <a:off x="10174298" y="6406895"/>
                <a:ext cx="183802" cy="261084"/>
              </a:xfrm>
              <a:custGeom>
                <a:avLst/>
                <a:gdLst>
                  <a:gd name="connsiteX0" fmla="*/ 91025 w 183802"/>
                  <a:gd name="connsiteY0" fmla="*/ 261108 h 261084"/>
                  <a:gd name="connsiteX1" fmla="*/ 64419 w 183802"/>
                  <a:gd name="connsiteY1" fmla="*/ 258507 h 261084"/>
                  <a:gd name="connsiteX2" fmla="*/ 39717 w 183802"/>
                  <a:gd name="connsiteY2" fmla="*/ 251638 h 261084"/>
                  <a:gd name="connsiteX3" fmla="*/ 18393 w 183802"/>
                  <a:gd name="connsiteY3" fmla="*/ 241588 h 261084"/>
                  <a:gd name="connsiteX4" fmla="*/ 1515 w 183802"/>
                  <a:gd name="connsiteY4" fmla="*/ 229496 h 261084"/>
                  <a:gd name="connsiteX5" fmla="*/ 922 w 183802"/>
                  <a:gd name="connsiteY5" fmla="*/ 224161 h 261084"/>
                  <a:gd name="connsiteX6" fmla="*/ 1141 w 183802"/>
                  <a:gd name="connsiteY6" fmla="*/ 223911 h 261084"/>
                  <a:gd name="connsiteX7" fmla="*/ 17602 w 183802"/>
                  <a:gd name="connsiteY7" fmla="*/ 204590 h 261084"/>
                  <a:gd name="connsiteX8" fmla="*/ 22373 w 183802"/>
                  <a:gd name="connsiteY8" fmla="*/ 203811 h 261084"/>
                  <a:gd name="connsiteX9" fmla="*/ 22840 w 183802"/>
                  <a:gd name="connsiteY9" fmla="*/ 204215 h 261084"/>
                  <a:gd name="connsiteX10" fmla="*/ 53569 w 183802"/>
                  <a:gd name="connsiteY10" fmla="*/ 222050 h 261084"/>
                  <a:gd name="connsiteX11" fmla="*/ 93998 w 183802"/>
                  <a:gd name="connsiteY11" fmla="*/ 230233 h 261084"/>
                  <a:gd name="connsiteX12" fmla="*/ 135390 w 183802"/>
                  <a:gd name="connsiteY12" fmla="*/ 218343 h 261084"/>
                  <a:gd name="connsiteX13" fmla="*/ 150178 w 183802"/>
                  <a:gd name="connsiteY13" fmla="*/ 187100 h 261084"/>
                  <a:gd name="connsiteX14" fmla="*/ 147577 w 183802"/>
                  <a:gd name="connsiteY14" fmla="*/ 172219 h 261084"/>
                  <a:gd name="connsiteX15" fmla="*/ 138760 w 183802"/>
                  <a:gd name="connsiteY15" fmla="*/ 160329 h 261084"/>
                  <a:gd name="connsiteX16" fmla="*/ 122468 w 183802"/>
                  <a:gd name="connsiteY16" fmla="*/ 151412 h 261084"/>
                  <a:gd name="connsiteX17" fmla="*/ 97018 w 183802"/>
                  <a:gd name="connsiteY17" fmla="*/ 145850 h 261084"/>
                  <a:gd name="connsiteX18" fmla="*/ 84281 w 183802"/>
                  <a:gd name="connsiteY18" fmla="*/ 143972 h 261084"/>
                  <a:gd name="connsiteX19" fmla="*/ 9362 w 183802"/>
                  <a:gd name="connsiteY19" fmla="*/ 74065 h 261084"/>
                  <a:gd name="connsiteX20" fmla="*/ 15180 w 183802"/>
                  <a:gd name="connsiteY20" fmla="*/ 43553 h 261084"/>
                  <a:gd name="connsiteX21" fmla="*/ 31855 w 183802"/>
                  <a:gd name="connsiteY21" fmla="*/ 20127 h 261084"/>
                  <a:gd name="connsiteX22" fmla="*/ 58069 w 183802"/>
                  <a:gd name="connsiteY22" fmla="*/ 5237 h 261084"/>
                  <a:gd name="connsiteX23" fmla="*/ 92512 w 183802"/>
                  <a:gd name="connsiteY23" fmla="*/ 50 h 261084"/>
                  <a:gd name="connsiteX24" fmla="*/ 135401 w 183802"/>
                  <a:gd name="connsiteY24" fmla="*/ 6545 h 261084"/>
                  <a:gd name="connsiteX25" fmla="*/ 170007 w 183802"/>
                  <a:gd name="connsiteY25" fmla="*/ 23488 h 261084"/>
                  <a:gd name="connsiteX26" fmla="*/ 171352 w 183802"/>
                  <a:gd name="connsiteY26" fmla="*/ 27913 h 261084"/>
                  <a:gd name="connsiteX27" fmla="*/ 170780 w 183802"/>
                  <a:gd name="connsiteY27" fmla="*/ 28684 h 261084"/>
                  <a:gd name="connsiteX28" fmla="*/ 158034 w 183802"/>
                  <a:gd name="connsiteY28" fmla="*/ 49135 h 261084"/>
                  <a:gd name="connsiteX29" fmla="*/ 152936 w 183802"/>
                  <a:gd name="connsiteY29" fmla="*/ 49997 h 261084"/>
                  <a:gd name="connsiteX30" fmla="*/ 152796 w 183802"/>
                  <a:gd name="connsiteY30" fmla="*/ 49893 h 261084"/>
                  <a:gd name="connsiteX31" fmla="*/ 122477 w 183802"/>
                  <a:gd name="connsiteY31" fmla="*/ 35575 h 261084"/>
                  <a:gd name="connsiteX32" fmla="*/ 91415 w 183802"/>
                  <a:gd name="connsiteY32" fmla="*/ 30932 h 261084"/>
                  <a:gd name="connsiteX33" fmla="*/ 55448 w 183802"/>
                  <a:gd name="connsiteY33" fmla="*/ 42266 h 261084"/>
                  <a:gd name="connsiteX34" fmla="*/ 43085 w 183802"/>
                  <a:gd name="connsiteY34" fmla="*/ 71815 h 261084"/>
                  <a:gd name="connsiteX35" fmla="*/ 55058 w 183802"/>
                  <a:gd name="connsiteY35" fmla="*/ 98047 h 261084"/>
                  <a:gd name="connsiteX36" fmla="*/ 96628 w 183802"/>
                  <a:gd name="connsiteY36" fmla="*/ 112366 h 261084"/>
                  <a:gd name="connsiteX37" fmla="*/ 109000 w 183802"/>
                  <a:gd name="connsiteY37" fmla="*/ 114211 h 261084"/>
                  <a:gd name="connsiteX38" fmla="*/ 165162 w 183802"/>
                  <a:gd name="connsiteY38" fmla="*/ 136505 h 261084"/>
                  <a:gd name="connsiteX39" fmla="*/ 183888 w 183802"/>
                  <a:gd name="connsiteY39" fmla="*/ 184870 h 261084"/>
                  <a:gd name="connsiteX40" fmla="*/ 178095 w 183802"/>
                  <a:gd name="connsiteY40" fmla="*/ 215555 h 261084"/>
                  <a:gd name="connsiteX41" fmla="*/ 160468 w 183802"/>
                  <a:gd name="connsiteY41" fmla="*/ 239543 h 261084"/>
                  <a:gd name="connsiteX42" fmla="*/ 131287 w 183802"/>
                  <a:gd name="connsiteY42" fmla="*/ 255324 h 261084"/>
                  <a:gd name="connsiteX43" fmla="*/ 91025 w 183802"/>
                  <a:gd name="connsiteY43" fmla="*/ 261108 h 26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3802" h="261084">
                    <a:moveTo>
                      <a:pt x="91025" y="261108"/>
                    </a:moveTo>
                    <a:cubicBezTo>
                      <a:pt x="82093" y="261111"/>
                      <a:pt x="73181" y="260239"/>
                      <a:pt x="64419" y="258507"/>
                    </a:cubicBezTo>
                    <a:cubicBezTo>
                      <a:pt x="56021" y="256856"/>
                      <a:pt x="47762" y="254559"/>
                      <a:pt x="39717" y="251638"/>
                    </a:cubicBezTo>
                    <a:cubicBezTo>
                      <a:pt x="32314" y="248954"/>
                      <a:pt x="25175" y="245589"/>
                      <a:pt x="18393" y="241588"/>
                    </a:cubicBezTo>
                    <a:cubicBezTo>
                      <a:pt x="12384" y="238121"/>
                      <a:pt x="6731" y="234071"/>
                      <a:pt x="1515" y="229496"/>
                    </a:cubicBezTo>
                    <a:cubicBezTo>
                      <a:pt x="-122" y="228186"/>
                      <a:pt x="-388" y="225798"/>
                      <a:pt x="922" y="224161"/>
                    </a:cubicBezTo>
                    <a:cubicBezTo>
                      <a:pt x="991" y="224074"/>
                      <a:pt x="1064" y="223991"/>
                      <a:pt x="1141" y="223911"/>
                    </a:cubicBezTo>
                    <a:lnTo>
                      <a:pt x="17602" y="204590"/>
                    </a:lnTo>
                    <a:cubicBezTo>
                      <a:pt x="18705" y="203057"/>
                      <a:pt x="20841" y="202708"/>
                      <a:pt x="22373" y="203811"/>
                    </a:cubicBezTo>
                    <a:cubicBezTo>
                      <a:pt x="22541" y="203931"/>
                      <a:pt x="22697" y="204066"/>
                      <a:pt x="22840" y="204215"/>
                    </a:cubicBezTo>
                    <a:cubicBezTo>
                      <a:pt x="32319" y="211389"/>
                      <a:pt x="42638" y="217378"/>
                      <a:pt x="53569" y="222050"/>
                    </a:cubicBezTo>
                    <a:cubicBezTo>
                      <a:pt x="66312" y="227614"/>
                      <a:pt x="80094" y="230403"/>
                      <a:pt x="93998" y="230233"/>
                    </a:cubicBezTo>
                    <a:cubicBezTo>
                      <a:pt x="111710" y="230233"/>
                      <a:pt x="125507" y="226270"/>
                      <a:pt x="135390" y="218343"/>
                    </a:cubicBezTo>
                    <a:cubicBezTo>
                      <a:pt x="145024" y="210886"/>
                      <a:pt x="150519" y="199278"/>
                      <a:pt x="150178" y="187100"/>
                    </a:cubicBezTo>
                    <a:cubicBezTo>
                      <a:pt x="150238" y="182021"/>
                      <a:pt x="149356" y="176976"/>
                      <a:pt x="147577" y="172219"/>
                    </a:cubicBezTo>
                    <a:cubicBezTo>
                      <a:pt x="145662" y="167591"/>
                      <a:pt x="142633" y="163506"/>
                      <a:pt x="138760" y="160329"/>
                    </a:cubicBezTo>
                    <a:cubicBezTo>
                      <a:pt x="133876" y="156453"/>
                      <a:pt x="128366" y="153437"/>
                      <a:pt x="122468" y="151412"/>
                    </a:cubicBezTo>
                    <a:cubicBezTo>
                      <a:pt x="114221" y="148605"/>
                      <a:pt x="105684" y="146740"/>
                      <a:pt x="97018" y="145850"/>
                    </a:cubicBezTo>
                    <a:lnTo>
                      <a:pt x="84281" y="143972"/>
                    </a:lnTo>
                    <a:cubicBezTo>
                      <a:pt x="34353" y="137276"/>
                      <a:pt x="9380" y="113974"/>
                      <a:pt x="9362" y="74065"/>
                    </a:cubicBezTo>
                    <a:cubicBezTo>
                      <a:pt x="9220" y="63606"/>
                      <a:pt x="11199" y="53226"/>
                      <a:pt x="15180" y="43553"/>
                    </a:cubicBezTo>
                    <a:cubicBezTo>
                      <a:pt x="18901" y="34587"/>
                      <a:pt x="24602" y="26578"/>
                      <a:pt x="31855" y="20127"/>
                    </a:cubicBezTo>
                    <a:cubicBezTo>
                      <a:pt x="39496" y="13442"/>
                      <a:pt x="48414" y="8377"/>
                      <a:pt x="58069" y="5237"/>
                    </a:cubicBezTo>
                    <a:cubicBezTo>
                      <a:pt x="69191" y="1646"/>
                      <a:pt x="80825" y="-106"/>
                      <a:pt x="92512" y="50"/>
                    </a:cubicBezTo>
                    <a:cubicBezTo>
                      <a:pt x="107058" y="-10"/>
                      <a:pt x="121525" y="2181"/>
                      <a:pt x="135401" y="6545"/>
                    </a:cubicBezTo>
                    <a:cubicBezTo>
                      <a:pt x="147774" y="10291"/>
                      <a:pt x="159460" y="16013"/>
                      <a:pt x="170007" y="23488"/>
                    </a:cubicBezTo>
                    <a:cubicBezTo>
                      <a:pt x="171600" y="24339"/>
                      <a:pt x="172202" y="26320"/>
                      <a:pt x="171352" y="27913"/>
                    </a:cubicBezTo>
                    <a:cubicBezTo>
                      <a:pt x="171200" y="28197"/>
                      <a:pt x="171007" y="28457"/>
                      <a:pt x="170780" y="28684"/>
                    </a:cubicBezTo>
                    <a:lnTo>
                      <a:pt x="158034" y="49135"/>
                    </a:lnTo>
                    <a:cubicBezTo>
                      <a:pt x="156864" y="50781"/>
                      <a:pt x="154582" y="51167"/>
                      <a:pt x="152936" y="49997"/>
                    </a:cubicBezTo>
                    <a:cubicBezTo>
                      <a:pt x="152888" y="49963"/>
                      <a:pt x="152842" y="49929"/>
                      <a:pt x="152796" y="49893"/>
                    </a:cubicBezTo>
                    <a:cubicBezTo>
                      <a:pt x="143314" y="43897"/>
                      <a:pt x="133131" y="39089"/>
                      <a:pt x="122477" y="35575"/>
                    </a:cubicBezTo>
                    <a:cubicBezTo>
                      <a:pt x="112425" y="32433"/>
                      <a:pt x="101946" y="30867"/>
                      <a:pt x="91415" y="30932"/>
                    </a:cubicBezTo>
                    <a:cubicBezTo>
                      <a:pt x="75658" y="30932"/>
                      <a:pt x="63670" y="34710"/>
                      <a:pt x="55448" y="42266"/>
                    </a:cubicBezTo>
                    <a:cubicBezTo>
                      <a:pt x="47206" y="49835"/>
                      <a:pt x="42689" y="60632"/>
                      <a:pt x="43085" y="71815"/>
                    </a:cubicBezTo>
                    <a:cubicBezTo>
                      <a:pt x="42826" y="81936"/>
                      <a:pt x="47243" y="91612"/>
                      <a:pt x="55058" y="98047"/>
                    </a:cubicBezTo>
                    <a:cubicBezTo>
                      <a:pt x="63034" y="104848"/>
                      <a:pt x="76891" y="109621"/>
                      <a:pt x="96628" y="112366"/>
                    </a:cubicBezTo>
                    <a:lnTo>
                      <a:pt x="109000" y="114211"/>
                    </a:lnTo>
                    <a:cubicBezTo>
                      <a:pt x="133939" y="117681"/>
                      <a:pt x="152660" y="125112"/>
                      <a:pt x="165162" y="136505"/>
                    </a:cubicBezTo>
                    <a:cubicBezTo>
                      <a:pt x="177664" y="147898"/>
                      <a:pt x="183906" y="164019"/>
                      <a:pt x="183888" y="184870"/>
                    </a:cubicBezTo>
                    <a:cubicBezTo>
                      <a:pt x="184003" y="195381"/>
                      <a:pt x="182034" y="205810"/>
                      <a:pt x="178095" y="215555"/>
                    </a:cubicBezTo>
                    <a:cubicBezTo>
                      <a:pt x="174222" y="224845"/>
                      <a:pt x="168177" y="233071"/>
                      <a:pt x="160468" y="239543"/>
                    </a:cubicBezTo>
                    <a:cubicBezTo>
                      <a:pt x="151855" y="246643"/>
                      <a:pt x="141944" y="252002"/>
                      <a:pt x="131287" y="255324"/>
                    </a:cubicBezTo>
                    <a:cubicBezTo>
                      <a:pt x="118260" y="259380"/>
                      <a:pt x="104668" y="261333"/>
                      <a:pt x="91025" y="261108"/>
                    </a:cubicBezTo>
                  </a:path>
                </a:pathLst>
              </a:custGeom>
              <a:solidFill>
                <a:schemeClr val="bg2"/>
              </a:solidFill>
              <a:ln w="2965" cap="flat">
                <a:noFill/>
                <a:prstDash val="solid"/>
                <a:miter/>
              </a:ln>
            </p:spPr>
            <p:txBody>
              <a:bodyPr rtlCol="0" anchor="ctr"/>
              <a:lstStyle/>
              <a:p>
                <a:endParaRPr lang="de-DE"/>
              </a:p>
            </p:txBody>
          </p:sp>
          <p:sp>
            <p:nvSpPr>
              <p:cNvPr id="38" name="Freeform: Shape 37">
                <a:extLst>
                  <a:ext uri="{FF2B5EF4-FFF2-40B4-BE49-F238E27FC236}">
                    <a16:creationId xmlns:a16="http://schemas.microsoft.com/office/drawing/2014/main" id="{4B4332C3-42DF-4257-A756-8AD882FB7E6E}"/>
                  </a:ext>
                </a:extLst>
              </p:cNvPr>
              <p:cNvSpPr/>
              <p:nvPr/>
            </p:nvSpPr>
            <p:spPr>
              <a:xfrm>
                <a:off x="10409366" y="6410944"/>
                <a:ext cx="179430" cy="252966"/>
              </a:xfrm>
              <a:custGeom>
                <a:avLst/>
                <a:gdLst>
                  <a:gd name="connsiteX0" fmla="*/ 33876 w 179430"/>
                  <a:gd name="connsiteY0" fmla="*/ 219859 h 252966"/>
                  <a:gd name="connsiteX1" fmla="*/ 35607 w 179430"/>
                  <a:gd name="connsiteY1" fmla="*/ 222107 h 252966"/>
                  <a:gd name="connsiteX2" fmla="*/ 36156 w 179430"/>
                  <a:gd name="connsiteY2" fmla="*/ 222103 h 252966"/>
                  <a:gd name="connsiteX3" fmla="*/ 82824 w 179430"/>
                  <a:gd name="connsiteY3" fmla="*/ 222103 h 252966"/>
                  <a:gd name="connsiteX4" fmla="*/ 120134 w 179430"/>
                  <a:gd name="connsiteY4" fmla="*/ 214110 h 252966"/>
                  <a:gd name="connsiteX5" fmla="*/ 140644 w 179430"/>
                  <a:gd name="connsiteY5" fmla="*/ 187512 h 252966"/>
                  <a:gd name="connsiteX6" fmla="*/ 142871 w 179430"/>
                  <a:gd name="connsiteY6" fmla="*/ 179698 h 252966"/>
                  <a:gd name="connsiteX7" fmla="*/ 144571 w 179430"/>
                  <a:gd name="connsiteY7" fmla="*/ 168355 h 252966"/>
                  <a:gd name="connsiteX8" fmla="*/ 145489 w 179430"/>
                  <a:gd name="connsiteY8" fmla="*/ 151441 h 252966"/>
                  <a:gd name="connsiteX9" fmla="*/ 145882 w 179430"/>
                  <a:gd name="connsiteY9" fmla="*/ 126529 h 252966"/>
                  <a:gd name="connsiteX10" fmla="*/ 145489 w 179430"/>
                  <a:gd name="connsiteY10" fmla="*/ 101599 h 252966"/>
                  <a:gd name="connsiteX11" fmla="*/ 144571 w 179430"/>
                  <a:gd name="connsiteY11" fmla="*/ 84676 h 252966"/>
                  <a:gd name="connsiteX12" fmla="*/ 142865 w 179430"/>
                  <a:gd name="connsiteY12" fmla="*/ 73339 h 252966"/>
                  <a:gd name="connsiteX13" fmla="*/ 140638 w 179430"/>
                  <a:gd name="connsiteY13" fmla="*/ 65525 h 252966"/>
                  <a:gd name="connsiteX14" fmla="*/ 120128 w 179430"/>
                  <a:gd name="connsiteY14" fmla="*/ 38927 h 252966"/>
                  <a:gd name="connsiteX15" fmla="*/ 82818 w 179430"/>
                  <a:gd name="connsiteY15" fmla="*/ 30934 h 252966"/>
                  <a:gd name="connsiteX16" fmla="*/ 36153 w 179430"/>
                  <a:gd name="connsiteY16" fmla="*/ 30934 h 252966"/>
                  <a:gd name="connsiteX17" fmla="*/ 33877 w 179430"/>
                  <a:gd name="connsiteY17" fmla="*/ 32636 h 252966"/>
                  <a:gd name="connsiteX18" fmla="*/ 33873 w 179430"/>
                  <a:gd name="connsiteY18" fmla="*/ 33178 h 252966"/>
                  <a:gd name="connsiteX19" fmla="*/ 195 w 179430"/>
                  <a:gd name="connsiteY19" fmla="*/ 3783 h 252966"/>
                  <a:gd name="connsiteX20" fmla="*/ 2998 w 179430"/>
                  <a:gd name="connsiteY20" fmla="*/ 69 h 252966"/>
                  <a:gd name="connsiteX21" fmla="*/ 3943 w 179430"/>
                  <a:gd name="connsiteY21" fmla="*/ 74 h 252966"/>
                  <a:gd name="connsiteX22" fmla="*/ 89705 w 179430"/>
                  <a:gd name="connsiteY22" fmla="*/ 74 h 252966"/>
                  <a:gd name="connsiteX23" fmla="*/ 172821 w 179430"/>
                  <a:gd name="connsiteY23" fmla="*/ 54001 h 252966"/>
                  <a:gd name="connsiteX24" fmla="*/ 175669 w 179430"/>
                  <a:gd name="connsiteY24" fmla="*/ 64782 h 252966"/>
                  <a:gd name="connsiteX25" fmla="*/ 177889 w 179430"/>
                  <a:gd name="connsiteY25" fmla="*/ 78538 h 252966"/>
                  <a:gd name="connsiteX26" fmla="*/ 179200 w 179430"/>
                  <a:gd name="connsiteY26" fmla="*/ 98249 h 252966"/>
                  <a:gd name="connsiteX27" fmla="*/ 179593 w 179430"/>
                  <a:gd name="connsiteY27" fmla="*/ 126529 h 252966"/>
                  <a:gd name="connsiteX28" fmla="*/ 179200 w 179430"/>
                  <a:gd name="connsiteY28" fmla="*/ 154794 h 252966"/>
                  <a:gd name="connsiteX29" fmla="*/ 177889 w 179430"/>
                  <a:gd name="connsiteY29" fmla="*/ 174505 h 252966"/>
                  <a:gd name="connsiteX30" fmla="*/ 175669 w 179430"/>
                  <a:gd name="connsiteY30" fmla="*/ 188270 h 252966"/>
                  <a:gd name="connsiteX31" fmla="*/ 172821 w 179430"/>
                  <a:gd name="connsiteY31" fmla="*/ 199043 h 252966"/>
                  <a:gd name="connsiteX32" fmla="*/ 89705 w 179430"/>
                  <a:gd name="connsiteY32" fmla="*/ 252969 h 252966"/>
                  <a:gd name="connsiteX33" fmla="*/ 3943 w 179430"/>
                  <a:gd name="connsiteY33" fmla="*/ 252969 h 252966"/>
                  <a:gd name="connsiteX34" fmla="*/ 201 w 179430"/>
                  <a:gd name="connsiteY34" fmla="*/ 250175 h 252966"/>
                  <a:gd name="connsiteX35" fmla="*/ 201 w 179430"/>
                  <a:gd name="connsiteY35" fmla="*/ 249227 h 25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79430" h="252966">
                    <a:moveTo>
                      <a:pt x="33876" y="219859"/>
                    </a:moveTo>
                    <a:cubicBezTo>
                      <a:pt x="33733" y="220958"/>
                      <a:pt x="34508" y="221965"/>
                      <a:pt x="35607" y="222107"/>
                    </a:cubicBezTo>
                    <a:cubicBezTo>
                      <a:pt x="35789" y="222131"/>
                      <a:pt x="35974" y="222129"/>
                      <a:pt x="36156" y="222103"/>
                    </a:cubicBezTo>
                    <a:lnTo>
                      <a:pt x="82824" y="222103"/>
                    </a:lnTo>
                    <a:cubicBezTo>
                      <a:pt x="98221" y="222103"/>
                      <a:pt x="110697" y="219428"/>
                      <a:pt x="120134" y="214110"/>
                    </a:cubicBezTo>
                    <a:cubicBezTo>
                      <a:pt x="129572" y="208792"/>
                      <a:pt x="136408" y="199911"/>
                      <a:pt x="140644" y="187512"/>
                    </a:cubicBezTo>
                    <a:cubicBezTo>
                      <a:pt x="141408" y="185277"/>
                      <a:pt x="142098" y="182682"/>
                      <a:pt x="142871" y="179698"/>
                    </a:cubicBezTo>
                    <a:cubicBezTo>
                      <a:pt x="143742" y="175969"/>
                      <a:pt x="144310" y="172175"/>
                      <a:pt x="144571" y="168355"/>
                    </a:cubicBezTo>
                    <a:cubicBezTo>
                      <a:pt x="144945" y="163781"/>
                      <a:pt x="145252" y="158143"/>
                      <a:pt x="145489" y="151441"/>
                    </a:cubicBezTo>
                    <a:cubicBezTo>
                      <a:pt x="145718" y="144732"/>
                      <a:pt x="145882" y="136433"/>
                      <a:pt x="145882" y="126529"/>
                    </a:cubicBezTo>
                    <a:cubicBezTo>
                      <a:pt x="145882" y="116625"/>
                      <a:pt x="145721" y="108308"/>
                      <a:pt x="145489" y="101599"/>
                    </a:cubicBezTo>
                    <a:cubicBezTo>
                      <a:pt x="145258" y="94890"/>
                      <a:pt x="144945" y="89269"/>
                      <a:pt x="144571" y="84676"/>
                    </a:cubicBezTo>
                    <a:cubicBezTo>
                      <a:pt x="144308" y="80858"/>
                      <a:pt x="143737" y="77066"/>
                      <a:pt x="142865" y="73339"/>
                    </a:cubicBezTo>
                    <a:cubicBezTo>
                      <a:pt x="142092" y="70367"/>
                      <a:pt x="141402" y="67760"/>
                      <a:pt x="140638" y="65525"/>
                    </a:cubicBezTo>
                    <a:cubicBezTo>
                      <a:pt x="136396" y="53128"/>
                      <a:pt x="129559" y="44262"/>
                      <a:pt x="120128" y="38927"/>
                    </a:cubicBezTo>
                    <a:cubicBezTo>
                      <a:pt x="110691" y="33594"/>
                      <a:pt x="98215" y="30934"/>
                      <a:pt x="82818" y="30934"/>
                    </a:cubicBezTo>
                    <a:lnTo>
                      <a:pt x="36153" y="30934"/>
                    </a:lnTo>
                    <a:cubicBezTo>
                      <a:pt x="35054" y="30776"/>
                      <a:pt x="34035" y="31538"/>
                      <a:pt x="33877" y="32636"/>
                    </a:cubicBezTo>
                    <a:cubicBezTo>
                      <a:pt x="33851" y="32816"/>
                      <a:pt x="33850" y="32998"/>
                      <a:pt x="33873" y="33178"/>
                    </a:cubicBezTo>
                    <a:close/>
                    <a:moveTo>
                      <a:pt x="195" y="3783"/>
                    </a:moveTo>
                    <a:cubicBezTo>
                      <a:pt x="-57" y="1984"/>
                      <a:pt x="1198" y="321"/>
                      <a:pt x="2998" y="69"/>
                    </a:cubicBezTo>
                    <a:cubicBezTo>
                      <a:pt x="3311" y="25"/>
                      <a:pt x="3630" y="27"/>
                      <a:pt x="3943" y="74"/>
                    </a:cubicBezTo>
                    <a:lnTo>
                      <a:pt x="89705" y="74"/>
                    </a:lnTo>
                    <a:cubicBezTo>
                      <a:pt x="133402" y="74"/>
                      <a:pt x="161108" y="18049"/>
                      <a:pt x="172821" y="54001"/>
                    </a:cubicBezTo>
                    <a:cubicBezTo>
                      <a:pt x="173817" y="57478"/>
                      <a:pt x="174736" y="61075"/>
                      <a:pt x="175669" y="64782"/>
                    </a:cubicBezTo>
                    <a:cubicBezTo>
                      <a:pt x="176665" y="69322"/>
                      <a:pt x="177406" y="73915"/>
                      <a:pt x="177889" y="78538"/>
                    </a:cubicBezTo>
                    <a:cubicBezTo>
                      <a:pt x="178511" y="84005"/>
                      <a:pt x="178968" y="90571"/>
                      <a:pt x="179200" y="98249"/>
                    </a:cubicBezTo>
                    <a:cubicBezTo>
                      <a:pt x="179432" y="105927"/>
                      <a:pt x="179593" y="115349"/>
                      <a:pt x="179593" y="126529"/>
                    </a:cubicBezTo>
                    <a:cubicBezTo>
                      <a:pt x="179593" y="137708"/>
                      <a:pt x="179432" y="147113"/>
                      <a:pt x="179200" y="154794"/>
                    </a:cubicBezTo>
                    <a:cubicBezTo>
                      <a:pt x="178968" y="162475"/>
                      <a:pt x="178511" y="169062"/>
                      <a:pt x="177889" y="174505"/>
                    </a:cubicBezTo>
                    <a:cubicBezTo>
                      <a:pt x="177405" y="179131"/>
                      <a:pt x="176664" y="183727"/>
                      <a:pt x="175669" y="188270"/>
                    </a:cubicBezTo>
                    <a:cubicBezTo>
                      <a:pt x="174733" y="191968"/>
                      <a:pt x="173814" y="195559"/>
                      <a:pt x="172821" y="199043"/>
                    </a:cubicBezTo>
                    <a:cubicBezTo>
                      <a:pt x="161114" y="235001"/>
                      <a:pt x="133408" y="252977"/>
                      <a:pt x="89705" y="252969"/>
                    </a:cubicBezTo>
                    <a:lnTo>
                      <a:pt x="3943" y="252969"/>
                    </a:lnTo>
                    <a:cubicBezTo>
                      <a:pt x="2138" y="253231"/>
                      <a:pt x="462" y="251980"/>
                      <a:pt x="201" y="250175"/>
                    </a:cubicBezTo>
                    <a:cubicBezTo>
                      <a:pt x="155" y="249861"/>
                      <a:pt x="155" y="249541"/>
                      <a:pt x="201" y="249227"/>
                    </a:cubicBezTo>
                    <a:close/>
                  </a:path>
                </a:pathLst>
              </a:custGeom>
              <a:solidFill>
                <a:schemeClr val="bg2"/>
              </a:solidFill>
              <a:ln w="2965" cap="flat">
                <a:noFill/>
                <a:prstDash val="solid"/>
                <a:miter/>
              </a:ln>
            </p:spPr>
            <p:txBody>
              <a:bodyPr rtlCol="0" anchor="ctr"/>
              <a:lstStyle/>
              <a:p>
                <a:endParaRPr lang="de-DE"/>
              </a:p>
            </p:txBody>
          </p:sp>
          <p:sp>
            <p:nvSpPr>
              <p:cNvPr id="39" name="Freeform: Shape 38">
                <a:extLst>
                  <a:ext uri="{FF2B5EF4-FFF2-40B4-BE49-F238E27FC236}">
                    <a16:creationId xmlns:a16="http://schemas.microsoft.com/office/drawing/2014/main" id="{581A9809-BD62-4FE9-BF75-DF3FA5A01100}"/>
                  </a:ext>
                </a:extLst>
              </p:cNvPr>
              <p:cNvSpPr/>
              <p:nvPr/>
            </p:nvSpPr>
            <p:spPr>
              <a:xfrm>
                <a:off x="10669891" y="6379293"/>
                <a:ext cx="15902" cy="316256"/>
              </a:xfrm>
              <a:custGeom>
                <a:avLst/>
                <a:gdLst>
                  <a:gd name="connsiteX0" fmla="*/ 8199 w 15902"/>
                  <a:gd name="connsiteY0" fmla="*/ 316295 h 316256"/>
                  <a:gd name="connsiteX1" fmla="*/ 247 w 15902"/>
                  <a:gd name="connsiteY1" fmla="*/ 308355 h 316256"/>
                  <a:gd name="connsiteX2" fmla="*/ 247 w 15902"/>
                  <a:gd name="connsiteY2" fmla="*/ 7980 h 316256"/>
                  <a:gd name="connsiteX3" fmla="*/ 8199 w 15902"/>
                  <a:gd name="connsiteY3" fmla="*/ 38 h 316256"/>
                  <a:gd name="connsiteX4" fmla="*/ 16150 w 15902"/>
                  <a:gd name="connsiteY4" fmla="*/ 7980 h 316256"/>
                  <a:gd name="connsiteX5" fmla="*/ 16150 w 15902"/>
                  <a:gd name="connsiteY5" fmla="*/ 308355 h 316256"/>
                  <a:gd name="connsiteX6" fmla="*/ 8199 w 15902"/>
                  <a:gd name="connsiteY6" fmla="*/ 316295 h 31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02" h="316256">
                    <a:moveTo>
                      <a:pt x="8199" y="316295"/>
                    </a:moveTo>
                    <a:cubicBezTo>
                      <a:pt x="3812" y="316293"/>
                      <a:pt x="255" y="312741"/>
                      <a:pt x="247" y="308355"/>
                    </a:cubicBezTo>
                    <a:lnTo>
                      <a:pt x="247" y="7980"/>
                    </a:lnTo>
                    <a:cubicBezTo>
                      <a:pt x="250" y="3592"/>
                      <a:pt x="3810" y="36"/>
                      <a:pt x="8199" y="38"/>
                    </a:cubicBezTo>
                    <a:cubicBezTo>
                      <a:pt x="12587" y="36"/>
                      <a:pt x="16147" y="3592"/>
                      <a:pt x="16150" y="7980"/>
                    </a:cubicBezTo>
                    <a:lnTo>
                      <a:pt x="16150" y="308355"/>
                    </a:lnTo>
                    <a:cubicBezTo>
                      <a:pt x="16142" y="312741"/>
                      <a:pt x="12585" y="316293"/>
                      <a:pt x="8199" y="316295"/>
                    </a:cubicBezTo>
                  </a:path>
                </a:pathLst>
              </a:custGeom>
              <a:solidFill>
                <a:schemeClr val="bg2"/>
              </a:solidFill>
              <a:ln w="2965" cap="flat">
                <a:noFill/>
                <a:prstDash val="solid"/>
                <a:miter/>
              </a:ln>
            </p:spPr>
            <p:txBody>
              <a:bodyPr rtlCol="0" anchor="ctr"/>
              <a:lstStyle/>
              <a:p>
                <a:endParaRPr lang="de-DE"/>
              </a:p>
            </p:txBody>
          </p:sp>
        </p:grpSp>
        <p:sp>
          <p:nvSpPr>
            <p:cNvPr id="40" name="Freeform: Shape 39">
              <a:extLst>
                <a:ext uri="{FF2B5EF4-FFF2-40B4-BE49-F238E27FC236}">
                  <a16:creationId xmlns:a16="http://schemas.microsoft.com/office/drawing/2014/main" id="{3C96C2AC-D752-4531-B819-D2300F3C9EF2}"/>
                </a:ext>
              </a:extLst>
            </p:cNvPr>
            <p:cNvSpPr/>
            <p:nvPr/>
          </p:nvSpPr>
          <p:spPr>
            <a:xfrm>
              <a:off x="10773834" y="6408721"/>
              <a:ext cx="1075613" cy="93936"/>
            </a:xfrm>
            <a:custGeom>
              <a:avLst/>
              <a:gdLst>
                <a:gd name="connsiteX0" fmla="*/ 28649 w 1075613"/>
                <a:gd name="connsiteY0" fmla="*/ 92452 h 93936"/>
                <a:gd name="connsiteX1" fmla="*/ 27311 w 1075613"/>
                <a:gd name="connsiteY1" fmla="*/ 91433 h 93936"/>
                <a:gd name="connsiteX2" fmla="*/ 27311 w 1075613"/>
                <a:gd name="connsiteY2" fmla="*/ 91114 h 93936"/>
                <a:gd name="connsiteX3" fmla="*/ 27311 w 1075613"/>
                <a:gd name="connsiteY3" fmla="*/ 13384 h 93936"/>
                <a:gd name="connsiteX4" fmla="*/ 26706 w 1075613"/>
                <a:gd name="connsiteY4" fmla="*/ 12581 h 93936"/>
                <a:gd name="connsiteX5" fmla="*/ 26508 w 1075613"/>
                <a:gd name="connsiteY5" fmla="*/ 12581 h 93936"/>
                <a:gd name="connsiteX6" fmla="*/ 1629 w 1075613"/>
                <a:gd name="connsiteY6" fmla="*/ 12581 h 93936"/>
                <a:gd name="connsiteX7" fmla="*/ 291 w 1075613"/>
                <a:gd name="connsiteY7" fmla="*/ 11563 h 93936"/>
                <a:gd name="connsiteX8" fmla="*/ 291 w 1075613"/>
                <a:gd name="connsiteY8" fmla="*/ 11244 h 93936"/>
                <a:gd name="connsiteX9" fmla="*/ 291 w 1075613"/>
                <a:gd name="connsiteY9" fmla="*/ 2832 h 93936"/>
                <a:gd name="connsiteX10" fmla="*/ 1310 w 1075613"/>
                <a:gd name="connsiteY10" fmla="*/ 1494 h 93936"/>
                <a:gd name="connsiteX11" fmla="*/ 1629 w 1075613"/>
                <a:gd name="connsiteY11" fmla="*/ 1494 h 93936"/>
                <a:gd name="connsiteX12" fmla="*/ 64898 w 1075613"/>
                <a:gd name="connsiteY12" fmla="*/ 1494 h 93936"/>
                <a:gd name="connsiteX13" fmla="*/ 66235 w 1075613"/>
                <a:gd name="connsiteY13" fmla="*/ 2513 h 93936"/>
                <a:gd name="connsiteX14" fmla="*/ 66235 w 1075613"/>
                <a:gd name="connsiteY14" fmla="*/ 2832 h 93936"/>
                <a:gd name="connsiteX15" fmla="*/ 66235 w 1075613"/>
                <a:gd name="connsiteY15" fmla="*/ 11259 h 93936"/>
                <a:gd name="connsiteX16" fmla="*/ 65217 w 1075613"/>
                <a:gd name="connsiteY16" fmla="*/ 12596 h 93936"/>
                <a:gd name="connsiteX17" fmla="*/ 64898 w 1075613"/>
                <a:gd name="connsiteY17" fmla="*/ 12596 h 93936"/>
                <a:gd name="connsiteX18" fmla="*/ 40018 w 1075613"/>
                <a:gd name="connsiteY18" fmla="*/ 12596 h 93936"/>
                <a:gd name="connsiteX19" fmla="*/ 39216 w 1075613"/>
                <a:gd name="connsiteY19" fmla="*/ 13201 h 93936"/>
                <a:gd name="connsiteX20" fmla="*/ 39216 w 1075613"/>
                <a:gd name="connsiteY20" fmla="*/ 13399 h 93936"/>
                <a:gd name="connsiteX21" fmla="*/ 39216 w 1075613"/>
                <a:gd name="connsiteY21" fmla="*/ 91114 h 93936"/>
                <a:gd name="connsiteX22" fmla="*/ 38197 w 1075613"/>
                <a:gd name="connsiteY22" fmla="*/ 92452 h 93936"/>
                <a:gd name="connsiteX23" fmla="*/ 37878 w 1075613"/>
                <a:gd name="connsiteY23" fmla="*/ 92452 h 93936"/>
                <a:gd name="connsiteX24" fmla="*/ 133116 w 1075613"/>
                <a:gd name="connsiteY24" fmla="*/ 92452 h 93936"/>
                <a:gd name="connsiteX25" fmla="*/ 131377 w 1075613"/>
                <a:gd name="connsiteY25" fmla="*/ 91114 h 93936"/>
                <a:gd name="connsiteX26" fmla="*/ 113186 w 1075613"/>
                <a:gd name="connsiteY26" fmla="*/ 53929 h 93936"/>
                <a:gd name="connsiteX27" fmla="*/ 93122 w 1075613"/>
                <a:gd name="connsiteY27" fmla="*/ 53929 h 93936"/>
                <a:gd name="connsiteX28" fmla="*/ 92319 w 1075613"/>
                <a:gd name="connsiteY28" fmla="*/ 54533 h 93936"/>
                <a:gd name="connsiteX29" fmla="*/ 92319 w 1075613"/>
                <a:gd name="connsiteY29" fmla="*/ 54731 h 93936"/>
                <a:gd name="connsiteX30" fmla="*/ 92319 w 1075613"/>
                <a:gd name="connsiteY30" fmla="*/ 91114 h 93936"/>
                <a:gd name="connsiteX31" fmla="*/ 91300 w 1075613"/>
                <a:gd name="connsiteY31" fmla="*/ 92452 h 93936"/>
                <a:gd name="connsiteX32" fmla="*/ 90981 w 1075613"/>
                <a:gd name="connsiteY32" fmla="*/ 92452 h 93936"/>
                <a:gd name="connsiteX33" fmla="*/ 81767 w 1075613"/>
                <a:gd name="connsiteY33" fmla="*/ 92452 h 93936"/>
                <a:gd name="connsiteX34" fmla="*/ 80429 w 1075613"/>
                <a:gd name="connsiteY34" fmla="*/ 91433 h 93936"/>
                <a:gd name="connsiteX35" fmla="*/ 80429 w 1075613"/>
                <a:gd name="connsiteY35" fmla="*/ 91114 h 93936"/>
                <a:gd name="connsiteX36" fmla="*/ 80429 w 1075613"/>
                <a:gd name="connsiteY36" fmla="*/ 2832 h 93936"/>
                <a:gd name="connsiteX37" fmla="*/ 81448 w 1075613"/>
                <a:gd name="connsiteY37" fmla="*/ 1494 h 93936"/>
                <a:gd name="connsiteX38" fmla="*/ 81767 w 1075613"/>
                <a:gd name="connsiteY38" fmla="*/ 1494 h 93936"/>
                <a:gd name="connsiteX39" fmla="*/ 114672 w 1075613"/>
                <a:gd name="connsiteY39" fmla="*/ 1494 h 93936"/>
                <a:gd name="connsiteX40" fmla="*/ 126309 w 1075613"/>
                <a:gd name="connsiteY40" fmla="*/ 3367 h 93936"/>
                <a:gd name="connsiteX41" fmla="*/ 135271 w 1075613"/>
                <a:gd name="connsiteY41" fmla="*/ 8649 h 93936"/>
                <a:gd name="connsiteX42" fmla="*/ 141077 w 1075613"/>
                <a:gd name="connsiteY42" fmla="*/ 16951 h 93936"/>
                <a:gd name="connsiteX43" fmla="*/ 143157 w 1075613"/>
                <a:gd name="connsiteY43" fmla="*/ 27717 h 93936"/>
                <a:gd name="connsiteX44" fmla="*/ 138342 w 1075613"/>
                <a:gd name="connsiteY44" fmla="*/ 43367 h 93936"/>
                <a:gd name="connsiteX45" fmla="*/ 125233 w 1075613"/>
                <a:gd name="connsiteY45" fmla="*/ 52463 h 93936"/>
                <a:gd name="connsiteX46" fmla="*/ 144620 w 1075613"/>
                <a:gd name="connsiteY46" fmla="*/ 90847 h 93936"/>
                <a:gd name="connsiteX47" fmla="*/ 144753 w 1075613"/>
                <a:gd name="connsiteY47" fmla="*/ 91982 h 93936"/>
                <a:gd name="connsiteX48" fmla="*/ 143817 w 1075613"/>
                <a:gd name="connsiteY48" fmla="*/ 92452 h 93936"/>
                <a:gd name="connsiteX49" fmla="*/ 114390 w 1075613"/>
                <a:gd name="connsiteY49" fmla="*/ 42826 h 93936"/>
                <a:gd name="connsiteX50" fmla="*/ 126829 w 1075613"/>
                <a:gd name="connsiteY50" fmla="*/ 38882 h 93936"/>
                <a:gd name="connsiteX51" fmla="*/ 131244 w 1075613"/>
                <a:gd name="connsiteY51" fmla="*/ 27711 h 93936"/>
                <a:gd name="connsiteX52" fmla="*/ 126829 w 1075613"/>
                <a:gd name="connsiteY52" fmla="*/ 16541 h 93936"/>
                <a:gd name="connsiteX53" fmla="*/ 114390 w 1075613"/>
                <a:gd name="connsiteY53" fmla="*/ 12596 h 93936"/>
                <a:gd name="connsiteX54" fmla="*/ 93122 w 1075613"/>
                <a:gd name="connsiteY54" fmla="*/ 12596 h 93936"/>
                <a:gd name="connsiteX55" fmla="*/ 92319 w 1075613"/>
                <a:gd name="connsiteY55" fmla="*/ 13201 h 93936"/>
                <a:gd name="connsiteX56" fmla="*/ 92319 w 1075613"/>
                <a:gd name="connsiteY56" fmla="*/ 13399 h 93936"/>
                <a:gd name="connsiteX57" fmla="*/ 92319 w 1075613"/>
                <a:gd name="connsiteY57" fmla="*/ 42024 h 93936"/>
                <a:gd name="connsiteX58" fmla="*/ 92923 w 1075613"/>
                <a:gd name="connsiteY58" fmla="*/ 42826 h 93936"/>
                <a:gd name="connsiteX59" fmla="*/ 93122 w 1075613"/>
                <a:gd name="connsiteY59" fmla="*/ 42826 h 93936"/>
                <a:gd name="connsiteX60" fmla="*/ 186487 w 1075613"/>
                <a:gd name="connsiteY60" fmla="*/ 2832 h 93936"/>
                <a:gd name="connsiteX61" fmla="*/ 188092 w 1075613"/>
                <a:gd name="connsiteY61" fmla="*/ 1494 h 93936"/>
                <a:gd name="connsiteX62" fmla="*/ 196802 w 1075613"/>
                <a:gd name="connsiteY62" fmla="*/ 1494 h 93936"/>
                <a:gd name="connsiteX63" fmla="*/ 198540 w 1075613"/>
                <a:gd name="connsiteY63" fmla="*/ 2832 h 93936"/>
                <a:gd name="connsiteX64" fmla="*/ 229707 w 1075613"/>
                <a:gd name="connsiteY64" fmla="*/ 91114 h 93936"/>
                <a:gd name="connsiteX65" fmla="*/ 228771 w 1075613"/>
                <a:gd name="connsiteY65" fmla="*/ 92452 h 93936"/>
                <a:gd name="connsiteX66" fmla="*/ 219392 w 1075613"/>
                <a:gd name="connsiteY66" fmla="*/ 92452 h 93936"/>
                <a:gd name="connsiteX67" fmla="*/ 217654 w 1075613"/>
                <a:gd name="connsiteY67" fmla="*/ 91114 h 93936"/>
                <a:gd name="connsiteX68" fmla="*/ 210698 w 1075613"/>
                <a:gd name="connsiteY68" fmla="*/ 71318 h 93936"/>
                <a:gd name="connsiteX69" fmla="*/ 173914 w 1075613"/>
                <a:gd name="connsiteY69" fmla="*/ 71318 h 93936"/>
                <a:gd name="connsiteX70" fmla="*/ 166958 w 1075613"/>
                <a:gd name="connsiteY70" fmla="*/ 91114 h 93936"/>
                <a:gd name="connsiteX71" fmla="*/ 165219 w 1075613"/>
                <a:gd name="connsiteY71" fmla="*/ 92452 h 93936"/>
                <a:gd name="connsiteX72" fmla="*/ 155856 w 1075613"/>
                <a:gd name="connsiteY72" fmla="*/ 92452 h 93936"/>
                <a:gd name="connsiteX73" fmla="*/ 154919 w 1075613"/>
                <a:gd name="connsiteY73" fmla="*/ 91114 h 93936"/>
                <a:gd name="connsiteX74" fmla="*/ 206819 w 1075613"/>
                <a:gd name="connsiteY74" fmla="*/ 60349 h 93936"/>
                <a:gd name="connsiteX75" fmla="*/ 192506 w 1075613"/>
                <a:gd name="connsiteY75" fmla="*/ 19017 h 93936"/>
                <a:gd name="connsiteX76" fmla="*/ 192239 w 1075613"/>
                <a:gd name="connsiteY76" fmla="*/ 19017 h 93936"/>
                <a:gd name="connsiteX77" fmla="*/ 177793 w 1075613"/>
                <a:gd name="connsiteY77" fmla="*/ 60349 h 93936"/>
                <a:gd name="connsiteX78" fmla="*/ 244138 w 1075613"/>
                <a:gd name="connsiteY78" fmla="*/ 2832 h 93936"/>
                <a:gd name="connsiteX79" fmla="*/ 245157 w 1075613"/>
                <a:gd name="connsiteY79" fmla="*/ 1494 h 93936"/>
                <a:gd name="connsiteX80" fmla="*/ 245476 w 1075613"/>
                <a:gd name="connsiteY80" fmla="*/ 1494 h 93936"/>
                <a:gd name="connsiteX81" fmla="*/ 254037 w 1075613"/>
                <a:gd name="connsiteY81" fmla="*/ 1494 h 93936"/>
                <a:gd name="connsiteX82" fmla="*/ 256311 w 1075613"/>
                <a:gd name="connsiteY82" fmla="*/ 2832 h 93936"/>
                <a:gd name="connsiteX83" fmla="*/ 297509 w 1075613"/>
                <a:gd name="connsiteY83" fmla="*/ 71050 h 93936"/>
                <a:gd name="connsiteX84" fmla="*/ 298044 w 1075613"/>
                <a:gd name="connsiteY84" fmla="*/ 71050 h 93936"/>
                <a:gd name="connsiteX85" fmla="*/ 298044 w 1075613"/>
                <a:gd name="connsiteY85" fmla="*/ 2832 h 93936"/>
                <a:gd name="connsiteX86" fmla="*/ 299064 w 1075613"/>
                <a:gd name="connsiteY86" fmla="*/ 1494 h 93936"/>
                <a:gd name="connsiteX87" fmla="*/ 299382 w 1075613"/>
                <a:gd name="connsiteY87" fmla="*/ 1494 h 93936"/>
                <a:gd name="connsiteX88" fmla="*/ 307809 w 1075613"/>
                <a:gd name="connsiteY88" fmla="*/ 1494 h 93936"/>
                <a:gd name="connsiteX89" fmla="*/ 309146 w 1075613"/>
                <a:gd name="connsiteY89" fmla="*/ 2513 h 93936"/>
                <a:gd name="connsiteX90" fmla="*/ 309146 w 1075613"/>
                <a:gd name="connsiteY90" fmla="*/ 2832 h 93936"/>
                <a:gd name="connsiteX91" fmla="*/ 309146 w 1075613"/>
                <a:gd name="connsiteY91" fmla="*/ 91114 h 93936"/>
                <a:gd name="connsiteX92" fmla="*/ 308127 w 1075613"/>
                <a:gd name="connsiteY92" fmla="*/ 92452 h 93936"/>
                <a:gd name="connsiteX93" fmla="*/ 307809 w 1075613"/>
                <a:gd name="connsiteY93" fmla="*/ 92452 h 93936"/>
                <a:gd name="connsiteX94" fmla="*/ 299248 w 1075613"/>
                <a:gd name="connsiteY94" fmla="*/ 92452 h 93936"/>
                <a:gd name="connsiteX95" fmla="*/ 296974 w 1075613"/>
                <a:gd name="connsiteY95" fmla="*/ 91114 h 93936"/>
                <a:gd name="connsiteX96" fmla="*/ 255657 w 1075613"/>
                <a:gd name="connsiteY96" fmla="*/ 23164 h 93936"/>
                <a:gd name="connsiteX97" fmla="*/ 255240 w 1075613"/>
                <a:gd name="connsiteY97" fmla="*/ 23164 h 93936"/>
                <a:gd name="connsiteX98" fmla="*/ 255240 w 1075613"/>
                <a:gd name="connsiteY98" fmla="*/ 91114 h 93936"/>
                <a:gd name="connsiteX99" fmla="*/ 254222 w 1075613"/>
                <a:gd name="connsiteY99" fmla="*/ 92452 h 93936"/>
                <a:gd name="connsiteX100" fmla="*/ 253903 w 1075613"/>
                <a:gd name="connsiteY100" fmla="*/ 92452 h 93936"/>
                <a:gd name="connsiteX101" fmla="*/ 245476 w 1075613"/>
                <a:gd name="connsiteY101" fmla="*/ 92452 h 93936"/>
                <a:gd name="connsiteX102" fmla="*/ 244138 w 1075613"/>
                <a:gd name="connsiteY102" fmla="*/ 91433 h 93936"/>
                <a:gd name="connsiteX103" fmla="*/ 244138 w 1075613"/>
                <a:gd name="connsiteY103" fmla="*/ 91114 h 93936"/>
                <a:gd name="connsiteX104" fmla="*/ 359173 w 1075613"/>
                <a:gd name="connsiteY104" fmla="*/ 93923 h 93936"/>
                <a:gd name="connsiteX105" fmla="*/ 349661 w 1075613"/>
                <a:gd name="connsiteY105" fmla="*/ 92987 h 93936"/>
                <a:gd name="connsiteX106" fmla="*/ 340833 w 1075613"/>
                <a:gd name="connsiteY106" fmla="*/ 90511 h 93936"/>
                <a:gd name="connsiteX107" fmla="*/ 333238 w 1075613"/>
                <a:gd name="connsiteY107" fmla="*/ 86899 h 93936"/>
                <a:gd name="connsiteX108" fmla="*/ 327219 w 1075613"/>
                <a:gd name="connsiteY108" fmla="*/ 82554 h 93936"/>
                <a:gd name="connsiteX109" fmla="*/ 327023 w 1075613"/>
                <a:gd name="connsiteY109" fmla="*/ 80617 h 93936"/>
                <a:gd name="connsiteX110" fmla="*/ 327085 w 1075613"/>
                <a:gd name="connsiteY110" fmla="*/ 80547 h 93936"/>
                <a:gd name="connsiteX111" fmla="*/ 332971 w 1075613"/>
                <a:gd name="connsiteY111" fmla="*/ 73592 h 93936"/>
                <a:gd name="connsiteX112" fmla="*/ 334680 w 1075613"/>
                <a:gd name="connsiteY112" fmla="*/ 73317 h 93936"/>
                <a:gd name="connsiteX113" fmla="*/ 334843 w 1075613"/>
                <a:gd name="connsiteY113" fmla="*/ 73458 h 93936"/>
                <a:gd name="connsiteX114" fmla="*/ 345812 w 1075613"/>
                <a:gd name="connsiteY114" fmla="*/ 79878 h 93936"/>
                <a:gd name="connsiteX115" fmla="*/ 360258 w 1075613"/>
                <a:gd name="connsiteY115" fmla="*/ 82821 h 93936"/>
                <a:gd name="connsiteX116" fmla="*/ 375037 w 1075613"/>
                <a:gd name="connsiteY116" fmla="*/ 78541 h 93936"/>
                <a:gd name="connsiteX117" fmla="*/ 380322 w 1075613"/>
                <a:gd name="connsiteY117" fmla="*/ 67305 h 93936"/>
                <a:gd name="connsiteX118" fmla="*/ 379386 w 1075613"/>
                <a:gd name="connsiteY118" fmla="*/ 61954 h 93936"/>
                <a:gd name="connsiteX119" fmla="*/ 376241 w 1075613"/>
                <a:gd name="connsiteY119" fmla="*/ 57674 h 93936"/>
                <a:gd name="connsiteX120" fmla="*/ 370424 w 1075613"/>
                <a:gd name="connsiteY120" fmla="*/ 54464 h 93936"/>
                <a:gd name="connsiteX121" fmla="*/ 361328 w 1075613"/>
                <a:gd name="connsiteY121" fmla="*/ 52457 h 93936"/>
                <a:gd name="connsiteX122" fmla="*/ 356780 w 1075613"/>
                <a:gd name="connsiteY122" fmla="*/ 51788 h 93936"/>
                <a:gd name="connsiteX123" fmla="*/ 330028 w 1075613"/>
                <a:gd name="connsiteY123" fmla="*/ 26641 h 93936"/>
                <a:gd name="connsiteX124" fmla="*/ 332109 w 1075613"/>
                <a:gd name="connsiteY124" fmla="*/ 15673 h 93936"/>
                <a:gd name="connsiteX125" fmla="*/ 338054 w 1075613"/>
                <a:gd name="connsiteY125" fmla="*/ 7246 h 93936"/>
                <a:gd name="connsiteX126" fmla="*/ 347417 w 1075613"/>
                <a:gd name="connsiteY126" fmla="*/ 1895 h 93936"/>
                <a:gd name="connsiteX127" fmla="*/ 359723 w 1075613"/>
                <a:gd name="connsiteY127" fmla="*/ 23 h 93936"/>
                <a:gd name="connsiteX128" fmla="*/ 375040 w 1075613"/>
                <a:gd name="connsiteY128" fmla="*/ 2362 h 93936"/>
                <a:gd name="connsiteX129" fmla="*/ 387397 w 1075613"/>
                <a:gd name="connsiteY129" fmla="*/ 8450 h 93936"/>
                <a:gd name="connsiteX130" fmla="*/ 387855 w 1075613"/>
                <a:gd name="connsiteY130" fmla="*/ 10067 h 93936"/>
                <a:gd name="connsiteX131" fmla="*/ 387664 w 1075613"/>
                <a:gd name="connsiteY131" fmla="*/ 10322 h 93936"/>
                <a:gd name="connsiteX132" fmla="*/ 383116 w 1075613"/>
                <a:gd name="connsiteY132" fmla="*/ 17679 h 93936"/>
                <a:gd name="connsiteX133" fmla="*/ 381300 w 1075613"/>
                <a:gd name="connsiteY133" fmla="*/ 17990 h 93936"/>
                <a:gd name="connsiteX134" fmla="*/ 381244 w 1075613"/>
                <a:gd name="connsiteY134" fmla="*/ 17947 h 93936"/>
                <a:gd name="connsiteX135" fmla="*/ 370409 w 1075613"/>
                <a:gd name="connsiteY135" fmla="*/ 12790 h 93936"/>
                <a:gd name="connsiteX136" fmla="*/ 359307 w 1075613"/>
                <a:gd name="connsiteY136" fmla="*/ 11119 h 93936"/>
                <a:gd name="connsiteX137" fmla="*/ 346466 w 1075613"/>
                <a:gd name="connsiteY137" fmla="*/ 15197 h 93936"/>
                <a:gd name="connsiteX138" fmla="*/ 342052 w 1075613"/>
                <a:gd name="connsiteY138" fmla="*/ 25830 h 93936"/>
                <a:gd name="connsiteX139" fmla="*/ 346332 w 1075613"/>
                <a:gd name="connsiteY139" fmla="*/ 35259 h 93936"/>
                <a:gd name="connsiteX140" fmla="*/ 361180 w 1075613"/>
                <a:gd name="connsiteY140" fmla="*/ 40434 h 93936"/>
                <a:gd name="connsiteX141" fmla="*/ 365594 w 1075613"/>
                <a:gd name="connsiteY141" fmla="*/ 41102 h 93936"/>
                <a:gd name="connsiteX142" fmla="*/ 385658 w 1075613"/>
                <a:gd name="connsiteY142" fmla="*/ 49128 h 93936"/>
                <a:gd name="connsiteX143" fmla="*/ 392346 w 1075613"/>
                <a:gd name="connsiteY143" fmla="*/ 66517 h 93936"/>
                <a:gd name="connsiteX144" fmla="*/ 390265 w 1075613"/>
                <a:gd name="connsiteY144" fmla="*/ 77551 h 93936"/>
                <a:gd name="connsiteX145" fmla="*/ 383979 w 1075613"/>
                <a:gd name="connsiteY145" fmla="*/ 86171 h 93936"/>
                <a:gd name="connsiteX146" fmla="*/ 373545 w 1075613"/>
                <a:gd name="connsiteY146" fmla="*/ 91857 h 93936"/>
                <a:gd name="connsiteX147" fmla="*/ 359173 w 1075613"/>
                <a:gd name="connsiteY147" fmla="*/ 93923 h 93936"/>
                <a:gd name="connsiteX148" fmla="*/ 412009 w 1075613"/>
                <a:gd name="connsiteY148" fmla="*/ 92452 h 93936"/>
                <a:gd name="connsiteX149" fmla="*/ 410671 w 1075613"/>
                <a:gd name="connsiteY149" fmla="*/ 91433 h 93936"/>
                <a:gd name="connsiteX150" fmla="*/ 410671 w 1075613"/>
                <a:gd name="connsiteY150" fmla="*/ 91114 h 93936"/>
                <a:gd name="connsiteX151" fmla="*/ 410671 w 1075613"/>
                <a:gd name="connsiteY151" fmla="*/ 2832 h 93936"/>
                <a:gd name="connsiteX152" fmla="*/ 411691 w 1075613"/>
                <a:gd name="connsiteY152" fmla="*/ 1494 h 93936"/>
                <a:gd name="connsiteX153" fmla="*/ 412009 w 1075613"/>
                <a:gd name="connsiteY153" fmla="*/ 1494 h 93936"/>
                <a:gd name="connsiteX154" fmla="*/ 444379 w 1075613"/>
                <a:gd name="connsiteY154" fmla="*/ 1494 h 93936"/>
                <a:gd name="connsiteX155" fmla="*/ 456284 w 1075613"/>
                <a:gd name="connsiteY155" fmla="*/ 3435 h 93936"/>
                <a:gd name="connsiteX156" fmla="*/ 465380 w 1075613"/>
                <a:gd name="connsiteY156" fmla="*/ 8919 h 93936"/>
                <a:gd name="connsiteX157" fmla="*/ 471200 w 1075613"/>
                <a:gd name="connsiteY157" fmla="*/ 17480 h 93936"/>
                <a:gd name="connsiteX158" fmla="*/ 473281 w 1075613"/>
                <a:gd name="connsiteY158" fmla="*/ 28651 h 93936"/>
                <a:gd name="connsiteX159" fmla="*/ 471200 w 1075613"/>
                <a:gd name="connsiteY159" fmla="*/ 39818 h 93936"/>
                <a:gd name="connsiteX160" fmla="*/ 465380 w 1075613"/>
                <a:gd name="connsiteY160" fmla="*/ 48379 h 93936"/>
                <a:gd name="connsiteX161" fmla="*/ 456284 w 1075613"/>
                <a:gd name="connsiteY161" fmla="*/ 53863 h 93936"/>
                <a:gd name="connsiteX162" fmla="*/ 444379 w 1075613"/>
                <a:gd name="connsiteY162" fmla="*/ 55804 h 93936"/>
                <a:gd name="connsiteX163" fmla="*/ 423379 w 1075613"/>
                <a:gd name="connsiteY163" fmla="*/ 55804 h 93936"/>
                <a:gd name="connsiteX164" fmla="*/ 422576 w 1075613"/>
                <a:gd name="connsiteY164" fmla="*/ 56409 h 93936"/>
                <a:gd name="connsiteX165" fmla="*/ 422576 w 1075613"/>
                <a:gd name="connsiteY165" fmla="*/ 56607 h 93936"/>
                <a:gd name="connsiteX166" fmla="*/ 422576 w 1075613"/>
                <a:gd name="connsiteY166" fmla="*/ 91114 h 93936"/>
                <a:gd name="connsiteX167" fmla="*/ 421557 w 1075613"/>
                <a:gd name="connsiteY167" fmla="*/ 92452 h 93936"/>
                <a:gd name="connsiteX168" fmla="*/ 421239 w 1075613"/>
                <a:gd name="connsiteY168" fmla="*/ 92452 h 93936"/>
                <a:gd name="connsiteX169" fmla="*/ 443710 w 1075613"/>
                <a:gd name="connsiteY169" fmla="*/ 44699 h 93936"/>
                <a:gd name="connsiteX170" fmla="*/ 456819 w 1075613"/>
                <a:gd name="connsiteY170" fmla="*/ 40419 h 93936"/>
                <a:gd name="connsiteX171" fmla="*/ 461501 w 1075613"/>
                <a:gd name="connsiteY171" fmla="*/ 28648 h 93936"/>
                <a:gd name="connsiteX172" fmla="*/ 456819 w 1075613"/>
                <a:gd name="connsiteY172" fmla="*/ 16877 h 93936"/>
                <a:gd name="connsiteX173" fmla="*/ 443710 w 1075613"/>
                <a:gd name="connsiteY173" fmla="*/ 12596 h 93936"/>
                <a:gd name="connsiteX174" fmla="*/ 423379 w 1075613"/>
                <a:gd name="connsiteY174" fmla="*/ 12596 h 93936"/>
                <a:gd name="connsiteX175" fmla="*/ 422576 w 1075613"/>
                <a:gd name="connsiteY175" fmla="*/ 13201 h 93936"/>
                <a:gd name="connsiteX176" fmla="*/ 422576 w 1075613"/>
                <a:gd name="connsiteY176" fmla="*/ 13399 h 93936"/>
                <a:gd name="connsiteX177" fmla="*/ 422576 w 1075613"/>
                <a:gd name="connsiteY177" fmla="*/ 43897 h 93936"/>
                <a:gd name="connsiteX178" fmla="*/ 423180 w 1075613"/>
                <a:gd name="connsiteY178" fmla="*/ 44699 h 93936"/>
                <a:gd name="connsiteX179" fmla="*/ 423379 w 1075613"/>
                <a:gd name="connsiteY179" fmla="*/ 44699 h 93936"/>
                <a:gd name="connsiteX180" fmla="*/ 519955 w 1075613"/>
                <a:gd name="connsiteY180" fmla="*/ 93923 h 93936"/>
                <a:gd name="connsiteX181" fmla="*/ 500491 w 1075613"/>
                <a:gd name="connsiteY181" fmla="*/ 88573 h 93936"/>
                <a:gd name="connsiteX182" fmla="*/ 489053 w 1075613"/>
                <a:gd name="connsiteY182" fmla="*/ 72655 h 93936"/>
                <a:gd name="connsiteX183" fmla="*/ 487917 w 1075613"/>
                <a:gd name="connsiteY183" fmla="*/ 68494 h 93936"/>
                <a:gd name="connsiteX184" fmla="*/ 487183 w 1075613"/>
                <a:gd name="connsiteY184" fmla="*/ 63479 h 93936"/>
                <a:gd name="connsiteX185" fmla="*/ 486782 w 1075613"/>
                <a:gd name="connsiteY185" fmla="*/ 56589 h 93936"/>
                <a:gd name="connsiteX186" fmla="*/ 486648 w 1075613"/>
                <a:gd name="connsiteY186" fmla="*/ 46958 h 93936"/>
                <a:gd name="connsiteX187" fmla="*/ 486782 w 1075613"/>
                <a:gd name="connsiteY187" fmla="*/ 37327 h 93936"/>
                <a:gd name="connsiteX188" fmla="*/ 487183 w 1075613"/>
                <a:gd name="connsiteY188" fmla="*/ 30440 h 93936"/>
                <a:gd name="connsiteX189" fmla="*/ 487917 w 1075613"/>
                <a:gd name="connsiteY189" fmla="*/ 25426 h 93936"/>
                <a:gd name="connsiteX190" fmla="*/ 489053 w 1075613"/>
                <a:gd name="connsiteY190" fmla="*/ 21264 h 93936"/>
                <a:gd name="connsiteX191" fmla="*/ 500494 w 1075613"/>
                <a:gd name="connsiteY191" fmla="*/ 5358 h 93936"/>
                <a:gd name="connsiteX192" fmla="*/ 539552 w 1075613"/>
                <a:gd name="connsiteY192" fmla="*/ 5358 h 93936"/>
                <a:gd name="connsiteX193" fmla="*/ 550990 w 1075613"/>
                <a:gd name="connsiteY193" fmla="*/ 21276 h 93936"/>
                <a:gd name="connsiteX194" fmla="*/ 552126 w 1075613"/>
                <a:gd name="connsiteY194" fmla="*/ 25437 h 93936"/>
                <a:gd name="connsiteX195" fmla="*/ 552863 w 1075613"/>
                <a:gd name="connsiteY195" fmla="*/ 30455 h 93936"/>
                <a:gd name="connsiteX196" fmla="*/ 553264 w 1075613"/>
                <a:gd name="connsiteY196" fmla="*/ 37342 h 93936"/>
                <a:gd name="connsiteX197" fmla="*/ 553398 w 1075613"/>
                <a:gd name="connsiteY197" fmla="*/ 46973 h 93936"/>
                <a:gd name="connsiteX198" fmla="*/ 553264 w 1075613"/>
                <a:gd name="connsiteY198" fmla="*/ 56604 h 93936"/>
                <a:gd name="connsiteX199" fmla="*/ 552863 w 1075613"/>
                <a:gd name="connsiteY199" fmla="*/ 63494 h 93936"/>
                <a:gd name="connsiteX200" fmla="*/ 552126 w 1075613"/>
                <a:gd name="connsiteY200" fmla="*/ 68512 h 93936"/>
                <a:gd name="connsiteX201" fmla="*/ 550990 w 1075613"/>
                <a:gd name="connsiteY201" fmla="*/ 72673 h 93936"/>
                <a:gd name="connsiteX202" fmla="*/ 539552 w 1075613"/>
                <a:gd name="connsiteY202" fmla="*/ 88591 h 93936"/>
                <a:gd name="connsiteX203" fmla="*/ 519955 w 1075613"/>
                <a:gd name="connsiteY203" fmla="*/ 93923 h 93936"/>
                <a:gd name="connsiteX204" fmla="*/ 519955 w 1075613"/>
                <a:gd name="connsiteY204" fmla="*/ 82821 h 93936"/>
                <a:gd name="connsiteX205" fmla="*/ 532394 w 1075613"/>
                <a:gd name="connsiteY205" fmla="*/ 79343 h 93936"/>
                <a:gd name="connsiteX206" fmla="*/ 539350 w 1075613"/>
                <a:gd name="connsiteY206" fmla="*/ 69311 h 93936"/>
                <a:gd name="connsiteX207" fmla="*/ 540087 w 1075613"/>
                <a:gd name="connsiteY207" fmla="*/ 66300 h 93936"/>
                <a:gd name="connsiteX208" fmla="*/ 540756 w 1075613"/>
                <a:gd name="connsiteY208" fmla="*/ 61821 h 93936"/>
                <a:gd name="connsiteX209" fmla="*/ 541226 w 1075613"/>
                <a:gd name="connsiteY209" fmla="*/ 55534 h 93936"/>
                <a:gd name="connsiteX210" fmla="*/ 541359 w 1075613"/>
                <a:gd name="connsiteY210" fmla="*/ 46973 h 93936"/>
                <a:gd name="connsiteX211" fmla="*/ 541226 w 1075613"/>
                <a:gd name="connsiteY211" fmla="*/ 38412 h 93936"/>
                <a:gd name="connsiteX212" fmla="*/ 540756 w 1075613"/>
                <a:gd name="connsiteY212" fmla="*/ 32126 h 93936"/>
                <a:gd name="connsiteX213" fmla="*/ 540087 w 1075613"/>
                <a:gd name="connsiteY213" fmla="*/ 27646 h 93936"/>
                <a:gd name="connsiteX214" fmla="*/ 539350 w 1075613"/>
                <a:gd name="connsiteY214" fmla="*/ 24635 h 93936"/>
                <a:gd name="connsiteX215" fmla="*/ 532394 w 1075613"/>
                <a:gd name="connsiteY215" fmla="*/ 14603 h 93936"/>
                <a:gd name="connsiteX216" fmla="*/ 519955 w 1075613"/>
                <a:gd name="connsiteY216" fmla="*/ 11125 h 93936"/>
                <a:gd name="connsiteX217" fmla="*/ 507580 w 1075613"/>
                <a:gd name="connsiteY217" fmla="*/ 14603 h 93936"/>
                <a:gd name="connsiteX218" fmla="*/ 500693 w 1075613"/>
                <a:gd name="connsiteY218" fmla="*/ 24635 h 93936"/>
                <a:gd name="connsiteX219" fmla="*/ 499959 w 1075613"/>
                <a:gd name="connsiteY219" fmla="*/ 27646 h 93936"/>
                <a:gd name="connsiteX220" fmla="*/ 499290 w 1075613"/>
                <a:gd name="connsiteY220" fmla="*/ 32126 h 93936"/>
                <a:gd name="connsiteX221" fmla="*/ 498820 w 1075613"/>
                <a:gd name="connsiteY221" fmla="*/ 38412 h 93936"/>
                <a:gd name="connsiteX222" fmla="*/ 498686 w 1075613"/>
                <a:gd name="connsiteY222" fmla="*/ 46973 h 93936"/>
                <a:gd name="connsiteX223" fmla="*/ 498820 w 1075613"/>
                <a:gd name="connsiteY223" fmla="*/ 55534 h 93936"/>
                <a:gd name="connsiteX224" fmla="*/ 499290 w 1075613"/>
                <a:gd name="connsiteY224" fmla="*/ 61821 h 93936"/>
                <a:gd name="connsiteX225" fmla="*/ 499959 w 1075613"/>
                <a:gd name="connsiteY225" fmla="*/ 66300 h 93936"/>
                <a:gd name="connsiteX226" fmla="*/ 500693 w 1075613"/>
                <a:gd name="connsiteY226" fmla="*/ 69311 h 93936"/>
                <a:gd name="connsiteX227" fmla="*/ 507580 w 1075613"/>
                <a:gd name="connsiteY227" fmla="*/ 79343 h 93936"/>
                <a:gd name="connsiteX228" fmla="*/ 519955 w 1075613"/>
                <a:gd name="connsiteY228" fmla="*/ 82821 h 93936"/>
                <a:gd name="connsiteX229" fmla="*/ 625359 w 1075613"/>
                <a:gd name="connsiteY229" fmla="*/ 92452 h 93936"/>
                <a:gd name="connsiteX230" fmla="*/ 623620 w 1075613"/>
                <a:gd name="connsiteY230" fmla="*/ 91114 h 93936"/>
                <a:gd name="connsiteX231" fmla="*/ 605428 w 1075613"/>
                <a:gd name="connsiteY231" fmla="*/ 53929 h 93936"/>
                <a:gd name="connsiteX232" fmla="*/ 585364 w 1075613"/>
                <a:gd name="connsiteY232" fmla="*/ 53929 h 93936"/>
                <a:gd name="connsiteX233" fmla="*/ 584561 w 1075613"/>
                <a:gd name="connsiteY233" fmla="*/ 54533 h 93936"/>
                <a:gd name="connsiteX234" fmla="*/ 584561 w 1075613"/>
                <a:gd name="connsiteY234" fmla="*/ 54731 h 93936"/>
                <a:gd name="connsiteX235" fmla="*/ 584561 w 1075613"/>
                <a:gd name="connsiteY235" fmla="*/ 91114 h 93936"/>
                <a:gd name="connsiteX236" fmla="*/ 583542 w 1075613"/>
                <a:gd name="connsiteY236" fmla="*/ 92452 h 93936"/>
                <a:gd name="connsiteX237" fmla="*/ 583224 w 1075613"/>
                <a:gd name="connsiteY237" fmla="*/ 92452 h 93936"/>
                <a:gd name="connsiteX238" fmla="*/ 573994 w 1075613"/>
                <a:gd name="connsiteY238" fmla="*/ 92452 h 93936"/>
                <a:gd name="connsiteX239" fmla="*/ 572657 w 1075613"/>
                <a:gd name="connsiteY239" fmla="*/ 91433 h 93936"/>
                <a:gd name="connsiteX240" fmla="*/ 572657 w 1075613"/>
                <a:gd name="connsiteY240" fmla="*/ 91114 h 93936"/>
                <a:gd name="connsiteX241" fmla="*/ 572657 w 1075613"/>
                <a:gd name="connsiteY241" fmla="*/ 2832 h 93936"/>
                <a:gd name="connsiteX242" fmla="*/ 573676 w 1075613"/>
                <a:gd name="connsiteY242" fmla="*/ 1494 h 93936"/>
                <a:gd name="connsiteX243" fmla="*/ 573994 w 1075613"/>
                <a:gd name="connsiteY243" fmla="*/ 1494 h 93936"/>
                <a:gd name="connsiteX244" fmla="*/ 606900 w 1075613"/>
                <a:gd name="connsiteY244" fmla="*/ 1494 h 93936"/>
                <a:gd name="connsiteX245" fmla="*/ 618537 w 1075613"/>
                <a:gd name="connsiteY245" fmla="*/ 3367 h 93936"/>
                <a:gd name="connsiteX246" fmla="*/ 627499 w 1075613"/>
                <a:gd name="connsiteY246" fmla="*/ 8652 h 93936"/>
                <a:gd name="connsiteX247" fmla="*/ 633319 w 1075613"/>
                <a:gd name="connsiteY247" fmla="*/ 16945 h 93936"/>
                <a:gd name="connsiteX248" fmla="*/ 635400 w 1075613"/>
                <a:gd name="connsiteY248" fmla="*/ 27711 h 93936"/>
                <a:gd name="connsiteX249" fmla="*/ 630584 w 1075613"/>
                <a:gd name="connsiteY249" fmla="*/ 43361 h 93936"/>
                <a:gd name="connsiteX250" fmla="*/ 617476 w 1075613"/>
                <a:gd name="connsiteY250" fmla="*/ 52457 h 93936"/>
                <a:gd name="connsiteX251" fmla="*/ 636871 w 1075613"/>
                <a:gd name="connsiteY251" fmla="*/ 90847 h 93936"/>
                <a:gd name="connsiteX252" fmla="*/ 637005 w 1075613"/>
                <a:gd name="connsiteY252" fmla="*/ 91982 h 93936"/>
                <a:gd name="connsiteX253" fmla="*/ 636068 w 1075613"/>
                <a:gd name="connsiteY253" fmla="*/ 92452 h 93936"/>
                <a:gd name="connsiteX254" fmla="*/ 606632 w 1075613"/>
                <a:gd name="connsiteY254" fmla="*/ 42826 h 93936"/>
                <a:gd name="connsiteX255" fmla="*/ 619072 w 1075613"/>
                <a:gd name="connsiteY255" fmla="*/ 38882 h 93936"/>
                <a:gd name="connsiteX256" fmla="*/ 623486 w 1075613"/>
                <a:gd name="connsiteY256" fmla="*/ 27711 h 93936"/>
                <a:gd name="connsiteX257" fmla="*/ 619072 w 1075613"/>
                <a:gd name="connsiteY257" fmla="*/ 16544 h 93936"/>
                <a:gd name="connsiteX258" fmla="*/ 606632 w 1075613"/>
                <a:gd name="connsiteY258" fmla="*/ 12599 h 93936"/>
                <a:gd name="connsiteX259" fmla="*/ 585364 w 1075613"/>
                <a:gd name="connsiteY259" fmla="*/ 12599 h 93936"/>
                <a:gd name="connsiteX260" fmla="*/ 584561 w 1075613"/>
                <a:gd name="connsiteY260" fmla="*/ 13204 h 93936"/>
                <a:gd name="connsiteX261" fmla="*/ 584561 w 1075613"/>
                <a:gd name="connsiteY261" fmla="*/ 13402 h 93936"/>
                <a:gd name="connsiteX262" fmla="*/ 584561 w 1075613"/>
                <a:gd name="connsiteY262" fmla="*/ 42027 h 93936"/>
                <a:gd name="connsiteX263" fmla="*/ 585165 w 1075613"/>
                <a:gd name="connsiteY263" fmla="*/ 42829 h 93936"/>
                <a:gd name="connsiteX264" fmla="*/ 585364 w 1075613"/>
                <a:gd name="connsiteY264" fmla="*/ 42829 h 93936"/>
                <a:gd name="connsiteX265" fmla="*/ 674717 w 1075613"/>
                <a:gd name="connsiteY265" fmla="*/ 92452 h 93936"/>
                <a:gd name="connsiteX266" fmla="*/ 673379 w 1075613"/>
                <a:gd name="connsiteY266" fmla="*/ 91433 h 93936"/>
                <a:gd name="connsiteX267" fmla="*/ 673379 w 1075613"/>
                <a:gd name="connsiteY267" fmla="*/ 91114 h 93936"/>
                <a:gd name="connsiteX268" fmla="*/ 673379 w 1075613"/>
                <a:gd name="connsiteY268" fmla="*/ 13384 h 93936"/>
                <a:gd name="connsiteX269" fmla="*/ 672776 w 1075613"/>
                <a:gd name="connsiteY269" fmla="*/ 12581 h 93936"/>
                <a:gd name="connsiteX270" fmla="*/ 672576 w 1075613"/>
                <a:gd name="connsiteY270" fmla="*/ 12581 h 93936"/>
                <a:gd name="connsiteX271" fmla="*/ 647697 w 1075613"/>
                <a:gd name="connsiteY271" fmla="*/ 12581 h 93936"/>
                <a:gd name="connsiteX272" fmla="*/ 646359 w 1075613"/>
                <a:gd name="connsiteY272" fmla="*/ 11563 h 93936"/>
                <a:gd name="connsiteX273" fmla="*/ 646359 w 1075613"/>
                <a:gd name="connsiteY273" fmla="*/ 11244 h 93936"/>
                <a:gd name="connsiteX274" fmla="*/ 646359 w 1075613"/>
                <a:gd name="connsiteY274" fmla="*/ 2832 h 93936"/>
                <a:gd name="connsiteX275" fmla="*/ 647379 w 1075613"/>
                <a:gd name="connsiteY275" fmla="*/ 1494 h 93936"/>
                <a:gd name="connsiteX276" fmla="*/ 647697 w 1075613"/>
                <a:gd name="connsiteY276" fmla="*/ 1494 h 93936"/>
                <a:gd name="connsiteX277" fmla="*/ 710966 w 1075613"/>
                <a:gd name="connsiteY277" fmla="*/ 1494 h 93936"/>
                <a:gd name="connsiteX278" fmla="*/ 712304 w 1075613"/>
                <a:gd name="connsiteY278" fmla="*/ 2513 h 93936"/>
                <a:gd name="connsiteX279" fmla="*/ 712304 w 1075613"/>
                <a:gd name="connsiteY279" fmla="*/ 2832 h 93936"/>
                <a:gd name="connsiteX280" fmla="*/ 712304 w 1075613"/>
                <a:gd name="connsiteY280" fmla="*/ 11259 h 93936"/>
                <a:gd name="connsiteX281" fmla="*/ 711284 w 1075613"/>
                <a:gd name="connsiteY281" fmla="*/ 12596 h 93936"/>
                <a:gd name="connsiteX282" fmla="*/ 710966 w 1075613"/>
                <a:gd name="connsiteY282" fmla="*/ 12596 h 93936"/>
                <a:gd name="connsiteX283" fmla="*/ 686086 w 1075613"/>
                <a:gd name="connsiteY283" fmla="*/ 12596 h 93936"/>
                <a:gd name="connsiteX284" fmla="*/ 685284 w 1075613"/>
                <a:gd name="connsiteY284" fmla="*/ 13201 h 93936"/>
                <a:gd name="connsiteX285" fmla="*/ 685284 w 1075613"/>
                <a:gd name="connsiteY285" fmla="*/ 13399 h 93936"/>
                <a:gd name="connsiteX286" fmla="*/ 685284 w 1075613"/>
                <a:gd name="connsiteY286" fmla="*/ 91114 h 93936"/>
                <a:gd name="connsiteX287" fmla="*/ 684264 w 1075613"/>
                <a:gd name="connsiteY287" fmla="*/ 92452 h 93936"/>
                <a:gd name="connsiteX288" fmla="*/ 683946 w 1075613"/>
                <a:gd name="connsiteY288" fmla="*/ 92452 h 93936"/>
                <a:gd name="connsiteX289" fmla="*/ 740393 w 1075613"/>
                <a:gd name="connsiteY289" fmla="*/ 2832 h 93936"/>
                <a:gd name="connsiteX290" fmla="*/ 741999 w 1075613"/>
                <a:gd name="connsiteY290" fmla="*/ 1494 h 93936"/>
                <a:gd name="connsiteX291" fmla="*/ 750693 w 1075613"/>
                <a:gd name="connsiteY291" fmla="*/ 1494 h 93936"/>
                <a:gd name="connsiteX292" fmla="*/ 752432 w 1075613"/>
                <a:gd name="connsiteY292" fmla="*/ 2832 h 93936"/>
                <a:gd name="connsiteX293" fmla="*/ 783598 w 1075613"/>
                <a:gd name="connsiteY293" fmla="*/ 91114 h 93936"/>
                <a:gd name="connsiteX294" fmla="*/ 782662 w 1075613"/>
                <a:gd name="connsiteY294" fmla="*/ 92452 h 93936"/>
                <a:gd name="connsiteX295" fmla="*/ 773299 w 1075613"/>
                <a:gd name="connsiteY295" fmla="*/ 92452 h 93936"/>
                <a:gd name="connsiteX296" fmla="*/ 771560 w 1075613"/>
                <a:gd name="connsiteY296" fmla="*/ 91114 h 93936"/>
                <a:gd name="connsiteX297" fmla="*/ 764604 w 1075613"/>
                <a:gd name="connsiteY297" fmla="*/ 71318 h 93936"/>
                <a:gd name="connsiteX298" fmla="*/ 727820 w 1075613"/>
                <a:gd name="connsiteY298" fmla="*/ 71318 h 93936"/>
                <a:gd name="connsiteX299" fmla="*/ 720864 w 1075613"/>
                <a:gd name="connsiteY299" fmla="*/ 91114 h 93936"/>
                <a:gd name="connsiteX300" fmla="*/ 719125 w 1075613"/>
                <a:gd name="connsiteY300" fmla="*/ 92452 h 93936"/>
                <a:gd name="connsiteX301" fmla="*/ 709762 w 1075613"/>
                <a:gd name="connsiteY301" fmla="*/ 92452 h 93936"/>
                <a:gd name="connsiteX302" fmla="*/ 708826 w 1075613"/>
                <a:gd name="connsiteY302" fmla="*/ 91114 h 93936"/>
                <a:gd name="connsiteX303" fmla="*/ 760725 w 1075613"/>
                <a:gd name="connsiteY303" fmla="*/ 60349 h 93936"/>
                <a:gd name="connsiteX304" fmla="*/ 746413 w 1075613"/>
                <a:gd name="connsiteY304" fmla="*/ 19017 h 93936"/>
                <a:gd name="connsiteX305" fmla="*/ 746145 w 1075613"/>
                <a:gd name="connsiteY305" fmla="*/ 19017 h 93936"/>
                <a:gd name="connsiteX306" fmla="*/ 731699 w 1075613"/>
                <a:gd name="connsiteY306" fmla="*/ 60349 h 93936"/>
                <a:gd name="connsiteX307" fmla="*/ 808478 w 1075613"/>
                <a:gd name="connsiteY307" fmla="*/ 92452 h 93936"/>
                <a:gd name="connsiteX308" fmla="*/ 807140 w 1075613"/>
                <a:gd name="connsiteY308" fmla="*/ 91433 h 93936"/>
                <a:gd name="connsiteX309" fmla="*/ 807140 w 1075613"/>
                <a:gd name="connsiteY309" fmla="*/ 91114 h 93936"/>
                <a:gd name="connsiteX310" fmla="*/ 807140 w 1075613"/>
                <a:gd name="connsiteY310" fmla="*/ 13384 h 93936"/>
                <a:gd name="connsiteX311" fmla="*/ 806537 w 1075613"/>
                <a:gd name="connsiteY311" fmla="*/ 12581 h 93936"/>
                <a:gd name="connsiteX312" fmla="*/ 806338 w 1075613"/>
                <a:gd name="connsiteY312" fmla="*/ 12581 h 93936"/>
                <a:gd name="connsiteX313" fmla="*/ 781458 w 1075613"/>
                <a:gd name="connsiteY313" fmla="*/ 12581 h 93936"/>
                <a:gd name="connsiteX314" fmla="*/ 780121 w 1075613"/>
                <a:gd name="connsiteY314" fmla="*/ 11563 h 93936"/>
                <a:gd name="connsiteX315" fmla="*/ 780121 w 1075613"/>
                <a:gd name="connsiteY315" fmla="*/ 11244 h 93936"/>
                <a:gd name="connsiteX316" fmla="*/ 780121 w 1075613"/>
                <a:gd name="connsiteY316" fmla="*/ 2832 h 93936"/>
                <a:gd name="connsiteX317" fmla="*/ 781140 w 1075613"/>
                <a:gd name="connsiteY317" fmla="*/ 1494 h 93936"/>
                <a:gd name="connsiteX318" fmla="*/ 781458 w 1075613"/>
                <a:gd name="connsiteY318" fmla="*/ 1494 h 93936"/>
                <a:gd name="connsiteX319" fmla="*/ 844727 w 1075613"/>
                <a:gd name="connsiteY319" fmla="*/ 1494 h 93936"/>
                <a:gd name="connsiteX320" fmla="*/ 846065 w 1075613"/>
                <a:gd name="connsiteY320" fmla="*/ 2513 h 93936"/>
                <a:gd name="connsiteX321" fmla="*/ 846065 w 1075613"/>
                <a:gd name="connsiteY321" fmla="*/ 2832 h 93936"/>
                <a:gd name="connsiteX322" fmla="*/ 846065 w 1075613"/>
                <a:gd name="connsiteY322" fmla="*/ 11259 h 93936"/>
                <a:gd name="connsiteX323" fmla="*/ 845046 w 1075613"/>
                <a:gd name="connsiteY323" fmla="*/ 12596 h 93936"/>
                <a:gd name="connsiteX324" fmla="*/ 844727 w 1075613"/>
                <a:gd name="connsiteY324" fmla="*/ 12596 h 93936"/>
                <a:gd name="connsiteX325" fmla="*/ 819848 w 1075613"/>
                <a:gd name="connsiteY325" fmla="*/ 12596 h 93936"/>
                <a:gd name="connsiteX326" fmla="*/ 819045 w 1075613"/>
                <a:gd name="connsiteY326" fmla="*/ 13201 h 93936"/>
                <a:gd name="connsiteX327" fmla="*/ 819045 w 1075613"/>
                <a:gd name="connsiteY327" fmla="*/ 13399 h 93936"/>
                <a:gd name="connsiteX328" fmla="*/ 819045 w 1075613"/>
                <a:gd name="connsiteY328" fmla="*/ 91114 h 93936"/>
                <a:gd name="connsiteX329" fmla="*/ 818026 w 1075613"/>
                <a:gd name="connsiteY329" fmla="*/ 92452 h 93936"/>
                <a:gd name="connsiteX330" fmla="*/ 817708 w 1075613"/>
                <a:gd name="connsiteY330" fmla="*/ 92452 h 93936"/>
                <a:gd name="connsiteX331" fmla="*/ 860259 w 1075613"/>
                <a:gd name="connsiteY331" fmla="*/ 2832 h 93936"/>
                <a:gd name="connsiteX332" fmla="*/ 861278 w 1075613"/>
                <a:gd name="connsiteY332" fmla="*/ 1494 h 93936"/>
                <a:gd name="connsiteX333" fmla="*/ 861596 w 1075613"/>
                <a:gd name="connsiteY333" fmla="*/ 1494 h 93936"/>
                <a:gd name="connsiteX334" fmla="*/ 870811 w 1075613"/>
                <a:gd name="connsiteY334" fmla="*/ 1494 h 93936"/>
                <a:gd name="connsiteX335" fmla="*/ 872149 w 1075613"/>
                <a:gd name="connsiteY335" fmla="*/ 2513 h 93936"/>
                <a:gd name="connsiteX336" fmla="*/ 872149 w 1075613"/>
                <a:gd name="connsiteY336" fmla="*/ 2832 h 93936"/>
                <a:gd name="connsiteX337" fmla="*/ 872149 w 1075613"/>
                <a:gd name="connsiteY337" fmla="*/ 91114 h 93936"/>
                <a:gd name="connsiteX338" fmla="*/ 871129 w 1075613"/>
                <a:gd name="connsiteY338" fmla="*/ 92452 h 93936"/>
                <a:gd name="connsiteX339" fmla="*/ 870811 w 1075613"/>
                <a:gd name="connsiteY339" fmla="*/ 92452 h 93936"/>
                <a:gd name="connsiteX340" fmla="*/ 861596 w 1075613"/>
                <a:gd name="connsiteY340" fmla="*/ 92452 h 93936"/>
                <a:gd name="connsiteX341" fmla="*/ 860259 w 1075613"/>
                <a:gd name="connsiteY341" fmla="*/ 91433 h 93936"/>
                <a:gd name="connsiteX342" fmla="*/ 860259 w 1075613"/>
                <a:gd name="connsiteY342" fmla="*/ 91114 h 93936"/>
                <a:gd name="connsiteX343" fmla="*/ 924732 w 1075613"/>
                <a:gd name="connsiteY343" fmla="*/ 93923 h 93936"/>
                <a:gd name="connsiteX344" fmla="*/ 905271 w 1075613"/>
                <a:gd name="connsiteY344" fmla="*/ 88573 h 93936"/>
                <a:gd name="connsiteX345" fmla="*/ 893833 w 1075613"/>
                <a:gd name="connsiteY345" fmla="*/ 72655 h 93936"/>
                <a:gd name="connsiteX346" fmla="*/ 892694 w 1075613"/>
                <a:gd name="connsiteY346" fmla="*/ 68494 h 93936"/>
                <a:gd name="connsiteX347" fmla="*/ 891960 w 1075613"/>
                <a:gd name="connsiteY347" fmla="*/ 63479 h 93936"/>
                <a:gd name="connsiteX348" fmla="*/ 891559 w 1075613"/>
                <a:gd name="connsiteY348" fmla="*/ 56589 h 93936"/>
                <a:gd name="connsiteX349" fmla="*/ 891425 w 1075613"/>
                <a:gd name="connsiteY349" fmla="*/ 46958 h 93936"/>
                <a:gd name="connsiteX350" fmla="*/ 891559 w 1075613"/>
                <a:gd name="connsiteY350" fmla="*/ 37327 h 93936"/>
                <a:gd name="connsiteX351" fmla="*/ 891960 w 1075613"/>
                <a:gd name="connsiteY351" fmla="*/ 30440 h 93936"/>
                <a:gd name="connsiteX352" fmla="*/ 892694 w 1075613"/>
                <a:gd name="connsiteY352" fmla="*/ 25426 h 93936"/>
                <a:gd name="connsiteX353" fmla="*/ 893833 w 1075613"/>
                <a:gd name="connsiteY353" fmla="*/ 21264 h 93936"/>
                <a:gd name="connsiteX354" fmla="*/ 905256 w 1075613"/>
                <a:gd name="connsiteY354" fmla="*/ 5358 h 93936"/>
                <a:gd name="connsiteX355" fmla="*/ 944314 w 1075613"/>
                <a:gd name="connsiteY355" fmla="*/ 5358 h 93936"/>
                <a:gd name="connsiteX356" fmla="*/ 955752 w 1075613"/>
                <a:gd name="connsiteY356" fmla="*/ 21276 h 93936"/>
                <a:gd name="connsiteX357" fmla="*/ 956891 w 1075613"/>
                <a:gd name="connsiteY357" fmla="*/ 25437 h 93936"/>
                <a:gd name="connsiteX358" fmla="*/ 957625 w 1075613"/>
                <a:gd name="connsiteY358" fmla="*/ 30455 h 93936"/>
                <a:gd name="connsiteX359" fmla="*/ 958026 w 1075613"/>
                <a:gd name="connsiteY359" fmla="*/ 37342 h 93936"/>
                <a:gd name="connsiteX360" fmla="*/ 958160 w 1075613"/>
                <a:gd name="connsiteY360" fmla="*/ 46973 h 93936"/>
                <a:gd name="connsiteX361" fmla="*/ 958026 w 1075613"/>
                <a:gd name="connsiteY361" fmla="*/ 56604 h 93936"/>
                <a:gd name="connsiteX362" fmla="*/ 957625 w 1075613"/>
                <a:gd name="connsiteY362" fmla="*/ 63494 h 93936"/>
                <a:gd name="connsiteX363" fmla="*/ 956891 w 1075613"/>
                <a:gd name="connsiteY363" fmla="*/ 68512 h 93936"/>
                <a:gd name="connsiteX364" fmla="*/ 955752 w 1075613"/>
                <a:gd name="connsiteY364" fmla="*/ 72673 h 93936"/>
                <a:gd name="connsiteX365" fmla="*/ 944314 w 1075613"/>
                <a:gd name="connsiteY365" fmla="*/ 88591 h 93936"/>
                <a:gd name="connsiteX366" fmla="*/ 924717 w 1075613"/>
                <a:gd name="connsiteY366" fmla="*/ 93923 h 93936"/>
                <a:gd name="connsiteX367" fmla="*/ 924732 w 1075613"/>
                <a:gd name="connsiteY367" fmla="*/ 82821 h 93936"/>
                <a:gd name="connsiteX368" fmla="*/ 937171 w 1075613"/>
                <a:gd name="connsiteY368" fmla="*/ 79343 h 93936"/>
                <a:gd name="connsiteX369" fmla="*/ 944127 w 1075613"/>
                <a:gd name="connsiteY369" fmla="*/ 69311 h 93936"/>
                <a:gd name="connsiteX370" fmla="*/ 944861 w 1075613"/>
                <a:gd name="connsiteY370" fmla="*/ 66300 h 93936"/>
                <a:gd name="connsiteX371" fmla="*/ 945530 w 1075613"/>
                <a:gd name="connsiteY371" fmla="*/ 61821 h 93936"/>
                <a:gd name="connsiteX372" fmla="*/ 946000 w 1075613"/>
                <a:gd name="connsiteY372" fmla="*/ 55534 h 93936"/>
                <a:gd name="connsiteX373" fmla="*/ 946134 w 1075613"/>
                <a:gd name="connsiteY373" fmla="*/ 46973 h 93936"/>
                <a:gd name="connsiteX374" fmla="*/ 946000 w 1075613"/>
                <a:gd name="connsiteY374" fmla="*/ 38412 h 93936"/>
                <a:gd name="connsiteX375" fmla="*/ 945530 w 1075613"/>
                <a:gd name="connsiteY375" fmla="*/ 32126 h 93936"/>
                <a:gd name="connsiteX376" fmla="*/ 944861 w 1075613"/>
                <a:gd name="connsiteY376" fmla="*/ 27646 h 93936"/>
                <a:gd name="connsiteX377" fmla="*/ 944127 w 1075613"/>
                <a:gd name="connsiteY377" fmla="*/ 24635 h 93936"/>
                <a:gd name="connsiteX378" fmla="*/ 937171 w 1075613"/>
                <a:gd name="connsiteY378" fmla="*/ 14603 h 93936"/>
                <a:gd name="connsiteX379" fmla="*/ 924732 w 1075613"/>
                <a:gd name="connsiteY379" fmla="*/ 11125 h 93936"/>
                <a:gd name="connsiteX380" fmla="*/ 912357 w 1075613"/>
                <a:gd name="connsiteY380" fmla="*/ 14603 h 93936"/>
                <a:gd name="connsiteX381" fmla="*/ 905467 w 1075613"/>
                <a:gd name="connsiteY381" fmla="*/ 24635 h 93936"/>
                <a:gd name="connsiteX382" fmla="*/ 904733 w 1075613"/>
                <a:gd name="connsiteY382" fmla="*/ 27646 h 93936"/>
                <a:gd name="connsiteX383" fmla="*/ 904064 w 1075613"/>
                <a:gd name="connsiteY383" fmla="*/ 32126 h 93936"/>
                <a:gd name="connsiteX384" fmla="*/ 903594 w 1075613"/>
                <a:gd name="connsiteY384" fmla="*/ 38412 h 93936"/>
                <a:gd name="connsiteX385" fmla="*/ 903461 w 1075613"/>
                <a:gd name="connsiteY385" fmla="*/ 46973 h 93936"/>
                <a:gd name="connsiteX386" fmla="*/ 903594 w 1075613"/>
                <a:gd name="connsiteY386" fmla="*/ 55534 h 93936"/>
                <a:gd name="connsiteX387" fmla="*/ 904064 w 1075613"/>
                <a:gd name="connsiteY387" fmla="*/ 61821 h 93936"/>
                <a:gd name="connsiteX388" fmla="*/ 904733 w 1075613"/>
                <a:gd name="connsiteY388" fmla="*/ 66300 h 93936"/>
                <a:gd name="connsiteX389" fmla="*/ 905467 w 1075613"/>
                <a:gd name="connsiteY389" fmla="*/ 69311 h 93936"/>
                <a:gd name="connsiteX390" fmla="*/ 912357 w 1075613"/>
                <a:gd name="connsiteY390" fmla="*/ 79343 h 93936"/>
                <a:gd name="connsiteX391" fmla="*/ 924717 w 1075613"/>
                <a:gd name="connsiteY391" fmla="*/ 82821 h 93936"/>
                <a:gd name="connsiteX392" fmla="*/ 977434 w 1075613"/>
                <a:gd name="connsiteY392" fmla="*/ 2832 h 93936"/>
                <a:gd name="connsiteX393" fmla="*/ 978453 w 1075613"/>
                <a:gd name="connsiteY393" fmla="*/ 1494 h 93936"/>
                <a:gd name="connsiteX394" fmla="*/ 978771 w 1075613"/>
                <a:gd name="connsiteY394" fmla="*/ 1494 h 93936"/>
                <a:gd name="connsiteX395" fmla="*/ 987332 w 1075613"/>
                <a:gd name="connsiteY395" fmla="*/ 1494 h 93936"/>
                <a:gd name="connsiteX396" fmla="*/ 989606 w 1075613"/>
                <a:gd name="connsiteY396" fmla="*/ 2832 h 93936"/>
                <a:gd name="connsiteX397" fmla="*/ 1030790 w 1075613"/>
                <a:gd name="connsiteY397" fmla="*/ 71050 h 93936"/>
                <a:gd name="connsiteX398" fmla="*/ 1031325 w 1075613"/>
                <a:gd name="connsiteY398" fmla="*/ 71050 h 93936"/>
                <a:gd name="connsiteX399" fmla="*/ 1031325 w 1075613"/>
                <a:gd name="connsiteY399" fmla="*/ 2832 h 93936"/>
                <a:gd name="connsiteX400" fmla="*/ 1032344 w 1075613"/>
                <a:gd name="connsiteY400" fmla="*/ 1494 h 93936"/>
                <a:gd name="connsiteX401" fmla="*/ 1032662 w 1075613"/>
                <a:gd name="connsiteY401" fmla="*/ 1494 h 93936"/>
                <a:gd name="connsiteX402" fmla="*/ 1041089 w 1075613"/>
                <a:gd name="connsiteY402" fmla="*/ 1494 h 93936"/>
                <a:gd name="connsiteX403" fmla="*/ 1042427 w 1075613"/>
                <a:gd name="connsiteY403" fmla="*/ 2513 h 93936"/>
                <a:gd name="connsiteX404" fmla="*/ 1042427 w 1075613"/>
                <a:gd name="connsiteY404" fmla="*/ 2832 h 93936"/>
                <a:gd name="connsiteX405" fmla="*/ 1042427 w 1075613"/>
                <a:gd name="connsiteY405" fmla="*/ 91114 h 93936"/>
                <a:gd name="connsiteX406" fmla="*/ 1041407 w 1075613"/>
                <a:gd name="connsiteY406" fmla="*/ 92452 h 93936"/>
                <a:gd name="connsiteX407" fmla="*/ 1041089 w 1075613"/>
                <a:gd name="connsiteY407" fmla="*/ 92452 h 93936"/>
                <a:gd name="connsiteX408" fmla="*/ 1032529 w 1075613"/>
                <a:gd name="connsiteY408" fmla="*/ 92452 h 93936"/>
                <a:gd name="connsiteX409" fmla="*/ 1030255 w 1075613"/>
                <a:gd name="connsiteY409" fmla="*/ 91114 h 93936"/>
                <a:gd name="connsiteX410" fmla="*/ 988937 w 1075613"/>
                <a:gd name="connsiteY410" fmla="*/ 23164 h 93936"/>
                <a:gd name="connsiteX411" fmla="*/ 988536 w 1075613"/>
                <a:gd name="connsiteY411" fmla="*/ 23164 h 93936"/>
                <a:gd name="connsiteX412" fmla="*/ 988536 w 1075613"/>
                <a:gd name="connsiteY412" fmla="*/ 91114 h 93936"/>
                <a:gd name="connsiteX413" fmla="*/ 987519 w 1075613"/>
                <a:gd name="connsiteY413" fmla="*/ 92454 h 93936"/>
                <a:gd name="connsiteX414" fmla="*/ 987183 w 1075613"/>
                <a:gd name="connsiteY414" fmla="*/ 92452 h 93936"/>
                <a:gd name="connsiteX415" fmla="*/ 978756 w 1075613"/>
                <a:gd name="connsiteY415" fmla="*/ 92452 h 93936"/>
                <a:gd name="connsiteX416" fmla="*/ 977419 w 1075613"/>
                <a:gd name="connsiteY416" fmla="*/ 91433 h 93936"/>
                <a:gd name="connsiteX417" fmla="*/ 977419 w 1075613"/>
                <a:gd name="connsiteY417" fmla="*/ 91114 h 93936"/>
                <a:gd name="connsiteX418" fmla="*/ 1063041 w 1075613"/>
                <a:gd name="connsiteY418" fmla="*/ 79611 h 93936"/>
                <a:gd name="connsiteX419" fmla="*/ 1064061 w 1075613"/>
                <a:gd name="connsiteY419" fmla="*/ 78273 h 93936"/>
                <a:gd name="connsiteX420" fmla="*/ 1064379 w 1075613"/>
                <a:gd name="connsiteY420" fmla="*/ 78273 h 93936"/>
                <a:gd name="connsiteX421" fmla="*/ 1074545 w 1075613"/>
                <a:gd name="connsiteY421" fmla="*/ 78273 h 93936"/>
                <a:gd name="connsiteX422" fmla="*/ 1075882 w 1075613"/>
                <a:gd name="connsiteY422" fmla="*/ 79292 h 93936"/>
                <a:gd name="connsiteX423" fmla="*/ 1075882 w 1075613"/>
                <a:gd name="connsiteY423" fmla="*/ 79611 h 93936"/>
                <a:gd name="connsiteX424" fmla="*/ 1075882 w 1075613"/>
                <a:gd name="connsiteY424" fmla="*/ 91114 h 93936"/>
                <a:gd name="connsiteX425" fmla="*/ 1074863 w 1075613"/>
                <a:gd name="connsiteY425" fmla="*/ 92452 h 93936"/>
                <a:gd name="connsiteX426" fmla="*/ 1074545 w 1075613"/>
                <a:gd name="connsiteY426" fmla="*/ 92452 h 93936"/>
                <a:gd name="connsiteX427" fmla="*/ 1064379 w 1075613"/>
                <a:gd name="connsiteY427" fmla="*/ 92452 h 93936"/>
                <a:gd name="connsiteX428" fmla="*/ 1063041 w 1075613"/>
                <a:gd name="connsiteY428" fmla="*/ 91433 h 93936"/>
                <a:gd name="connsiteX429" fmla="*/ 1063041 w 1075613"/>
                <a:gd name="connsiteY429" fmla="*/ 91114 h 9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Lst>
              <a:rect l="l" t="t" r="r" b="b"/>
              <a:pathLst>
                <a:path w="1075613" h="93936">
                  <a:moveTo>
                    <a:pt x="28649" y="92452"/>
                  </a:moveTo>
                  <a:cubicBezTo>
                    <a:pt x="27998" y="92540"/>
                    <a:pt x="27399" y="92084"/>
                    <a:pt x="27311" y="91433"/>
                  </a:cubicBezTo>
                  <a:cubicBezTo>
                    <a:pt x="27297" y="91327"/>
                    <a:pt x="27297" y="91220"/>
                    <a:pt x="27311" y="91114"/>
                  </a:cubicBezTo>
                  <a:lnTo>
                    <a:pt x="27311" y="13384"/>
                  </a:lnTo>
                  <a:cubicBezTo>
                    <a:pt x="27366" y="12996"/>
                    <a:pt x="27095" y="12636"/>
                    <a:pt x="26706" y="12581"/>
                  </a:cubicBezTo>
                  <a:cubicBezTo>
                    <a:pt x="26641" y="12572"/>
                    <a:pt x="26574" y="12572"/>
                    <a:pt x="26508" y="12581"/>
                  </a:cubicBezTo>
                  <a:lnTo>
                    <a:pt x="1629" y="12581"/>
                  </a:lnTo>
                  <a:cubicBezTo>
                    <a:pt x="978" y="12670"/>
                    <a:pt x="379" y="12213"/>
                    <a:pt x="291" y="11563"/>
                  </a:cubicBezTo>
                  <a:cubicBezTo>
                    <a:pt x="277" y="11457"/>
                    <a:pt x="277" y="11350"/>
                    <a:pt x="291" y="11244"/>
                  </a:cubicBezTo>
                  <a:lnTo>
                    <a:pt x="291" y="2832"/>
                  </a:lnTo>
                  <a:cubicBezTo>
                    <a:pt x="203" y="2181"/>
                    <a:pt x="659" y="1582"/>
                    <a:pt x="1310" y="1494"/>
                  </a:cubicBezTo>
                  <a:cubicBezTo>
                    <a:pt x="1416" y="1480"/>
                    <a:pt x="1523" y="1480"/>
                    <a:pt x="1629" y="1494"/>
                  </a:cubicBezTo>
                  <a:lnTo>
                    <a:pt x="64898" y="1494"/>
                  </a:lnTo>
                  <a:cubicBezTo>
                    <a:pt x="65549" y="1406"/>
                    <a:pt x="66147" y="1862"/>
                    <a:pt x="66235" y="2513"/>
                  </a:cubicBezTo>
                  <a:cubicBezTo>
                    <a:pt x="66250" y="2619"/>
                    <a:pt x="66250" y="2726"/>
                    <a:pt x="66235" y="2832"/>
                  </a:cubicBezTo>
                  <a:lnTo>
                    <a:pt x="66235" y="11259"/>
                  </a:lnTo>
                  <a:cubicBezTo>
                    <a:pt x="66323" y="11909"/>
                    <a:pt x="65867" y="12508"/>
                    <a:pt x="65217" y="12596"/>
                  </a:cubicBezTo>
                  <a:cubicBezTo>
                    <a:pt x="65111" y="12611"/>
                    <a:pt x="65004" y="12611"/>
                    <a:pt x="64898" y="12596"/>
                  </a:cubicBezTo>
                  <a:lnTo>
                    <a:pt x="40018" y="12596"/>
                  </a:lnTo>
                  <a:cubicBezTo>
                    <a:pt x="39630" y="12542"/>
                    <a:pt x="39270" y="12812"/>
                    <a:pt x="39216" y="13201"/>
                  </a:cubicBezTo>
                  <a:cubicBezTo>
                    <a:pt x="39206" y="13266"/>
                    <a:pt x="39206" y="13333"/>
                    <a:pt x="39216" y="13399"/>
                  </a:cubicBezTo>
                  <a:lnTo>
                    <a:pt x="39216" y="91114"/>
                  </a:lnTo>
                  <a:cubicBezTo>
                    <a:pt x="39304" y="91765"/>
                    <a:pt x="38847" y="92364"/>
                    <a:pt x="38197" y="92452"/>
                  </a:cubicBezTo>
                  <a:cubicBezTo>
                    <a:pt x="38091" y="92466"/>
                    <a:pt x="37984" y="92466"/>
                    <a:pt x="37878" y="92452"/>
                  </a:cubicBezTo>
                  <a:close/>
                  <a:moveTo>
                    <a:pt x="133116" y="92452"/>
                  </a:moveTo>
                  <a:cubicBezTo>
                    <a:pt x="132302" y="92446"/>
                    <a:pt x="131592" y="91899"/>
                    <a:pt x="131377" y="91114"/>
                  </a:cubicBezTo>
                  <a:lnTo>
                    <a:pt x="113186" y="53929"/>
                  </a:lnTo>
                  <a:lnTo>
                    <a:pt x="93122" y="53929"/>
                  </a:lnTo>
                  <a:cubicBezTo>
                    <a:pt x="92733" y="53874"/>
                    <a:pt x="92374" y="54144"/>
                    <a:pt x="92319" y="54533"/>
                  </a:cubicBezTo>
                  <a:cubicBezTo>
                    <a:pt x="92310" y="54599"/>
                    <a:pt x="92310" y="54666"/>
                    <a:pt x="92319" y="54731"/>
                  </a:cubicBezTo>
                  <a:lnTo>
                    <a:pt x="92319" y="91114"/>
                  </a:lnTo>
                  <a:cubicBezTo>
                    <a:pt x="92407" y="91765"/>
                    <a:pt x="91951" y="92364"/>
                    <a:pt x="91300" y="92452"/>
                  </a:cubicBezTo>
                  <a:cubicBezTo>
                    <a:pt x="91194" y="92466"/>
                    <a:pt x="91087" y="92466"/>
                    <a:pt x="90981" y="92452"/>
                  </a:cubicBezTo>
                  <a:lnTo>
                    <a:pt x="81767" y="92452"/>
                  </a:lnTo>
                  <a:cubicBezTo>
                    <a:pt x="81116" y="92540"/>
                    <a:pt x="80517" y="92084"/>
                    <a:pt x="80429" y="91433"/>
                  </a:cubicBezTo>
                  <a:cubicBezTo>
                    <a:pt x="80415" y="91327"/>
                    <a:pt x="80415" y="91220"/>
                    <a:pt x="80429" y="91114"/>
                  </a:cubicBezTo>
                  <a:lnTo>
                    <a:pt x="80429" y="2832"/>
                  </a:lnTo>
                  <a:cubicBezTo>
                    <a:pt x="80341" y="2181"/>
                    <a:pt x="80797" y="1582"/>
                    <a:pt x="81448" y="1494"/>
                  </a:cubicBezTo>
                  <a:cubicBezTo>
                    <a:pt x="81554" y="1480"/>
                    <a:pt x="81661" y="1480"/>
                    <a:pt x="81767" y="1494"/>
                  </a:cubicBezTo>
                  <a:lnTo>
                    <a:pt x="114672" y="1494"/>
                  </a:lnTo>
                  <a:cubicBezTo>
                    <a:pt x="118630" y="1441"/>
                    <a:pt x="122568" y="2075"/>
                    <a:pt x="126309" y="3367"/>
                  </a:cubicBezTo>
                  <a:cubicBezTo>
                    <a:pt x="129618" y="4515"/>
                    <a:pt x="132664" y="6310"/>
                    <a:pt x="135271" y="8649"/>
                  </a:cubicBezTo>
                  <a:cubicBezTo>
                    <a:pt x="137788" y="10960"/>
                    <a:pt x="139769" y="13794"/>
                    <a:pt x="141077" y="16951"/>
                  </a:cubicBezTo>
                  <a:cubicBezTo>
                    <a:pt x="142492" y="20362"/>
                    <a:pt x="143200" y="24025"/>
                    <a:pt x="143157" y="27717"/>
                  </a:cubicBezTo>
                  <a:cubicBezTo>
                    <a:pt x="143328" y="33323"/>
                    <a:pt x="141635" y="38828"/>
                    <a:pt x="138342" y="43367"/>
                  </a:cubicBezTo>
                  <a:cubicBezTo>
                    <a:pt x="135044" y="47709"/>
                    <a:pt x="130455" y="50894"/>
                    <a:pt x="125233" y="52463"/>
                  </a:cubicBezTo>
                  <a:lnTo>
                    <a:pt x="144620" y="90847"/>
                  </a:lnTo>
                  <a:cubicBezTo>
                    <a:pt x="144875" y="91170"/>
                    <a:pt x="144927" y="91609"/>
                    <a:pt x="144753" y="91982"/>
                  </a:cubicBezTo>
                  <a:cubicBezTo>
                    <a:pt x="144557" y="92305"/>
                    <a:pt x="144193" y="92488"/>
                    <a:pt x="143817" y="92452"/>
                  </a:cubicBezTo>
                  <a:close/>
                  <a:moveTo>
                    <a:pt x="114390" y="42826"/>
                  </a:moveTo>
                  <a:cubicBezTo>
                    <a:pt x="118883" y="43111"/>
                    <a:pt x="123321" y="41704"/>
                    <a:pt x="126829" y="38882"/>
                  </a:cubicBezTo>
                  <a:cubicBezTo>
                    <a:pt x="129880" y="35995"/>
                    <a:pt x="131497" y="31904"/>
                    <a:pt x="131244" y="27711"/>
                  </a:cubicBezTo>
                  <a:cubicBezTo>
                    <a:pt x="131497" y="23518"/>
                    <a:pt x="129880" y="19428"/>
                    <a:pt x="126829" y="16541"/>
                  </a:cubicBezTo>
                  <a:cubicBezTo>
                    <a:pt x="123321" y="13719"/>
                    <a:pt x="118883" y="12312"/>
                    <a:pt x="114390" y="12596"/>
                  </a:cubicBezTo>
                  <a:lnTo>
                    <a:pt x="93122" y="12596"/>
                  </a:lnTo>
                  <a:cubicBezTo>
                    <a:pt x="92733" y="12542"/>
                    <a:pt x="92374" y="12812"/>
                    <a:pt x="92319" y="13201"/>
                  </a:cubicBezTo>
                  <a:cubicBezTo>
                    <a:pt x="92310" y="13266"/>
                    <a:pt x="92310" y="13333"/>
                    <a:pt x="92319" y="13399"/>
                  </a:cubicBezTo>
                  <a:lnTo>
                    <a:pt x="92319" y="42024"/>
                  </a:lnTo>
                  <a:cubicBezTo>
                    <a:pt x="92264" y="42412"/>
                    <a:pt x="92535" y="42772"/>
                    <a:pt x="92923" y="42826"/>
                  </a:cubicBezTo>
                  <a:cubicBezTo>
                    <a:pt x="92989" y="42836"/>
                    <a:pt x="93056" y="42836"/>
                    <a:pt x="93122" y="42826"/>
                  </a:cubicBezTo>
                  <a:close/>
                  <a:moveTo>
                    <a:pt x="186487" y="2832"/>
                  </a:moveTo>
                  <a:cubicBezTo>
                    <a:pt x="186619" y="2051"/>
                    <a:pt x="187300" y="1483"/>
                    <a:pt x="188092" y="1494"/>
                  </a:cubicBezTo>
                  <a:lnTo>
                    <a:pt x="196802" y="1494"/>
                  </a:lnTo>
                  <a:cubicBezTo>
                    <a:pt x="197633" y="1448"/>
                    <a:pt x="198372" y="2017"/>
                    <a:pt x="198540" y="2832"/>
                  </a:cubicBezTo>
                  <a:lnTo>
                    <a:pt x="229707" y="91114"/>
                  </a:lnTo>
                  <a:cubicBezTo>
                    <a:pt x="229974" y="92006"/>
                    <a:pt x="229662" y="92452"/>
                    <a:pt x="228771" y="92452"/>
                  </a:cubicBezTo>
                  <a:lnTo>
                    <a:pt x="219392" y="92452"/>
                  </a:lnTo>
                  <a:cubicBezTo>
                    <a:pt x="218561" y="92499"/>
                    <a:pt x="217821" y="91929"/>
                    <a:pt x="217654" y="91114"/>
                  </a:cubicBezTo>
                  <a:lnTo>
                    <a:pt x="210698" y="71318"/>
                  </a:lnTo>
                  <a:lnTo>
                    <a:pt x="173914" y="71318"/>
                  </a:lnTo>
                  <a:lnTo>
                    <a:pt x="166958" y="91114"/>
                  </a:lnTo>
                  <a:cubicBezTo>
                    <a:pt x="166744" y="91899"/>
                    <a:pt x="166033" y="92446"/>
                    <a:pt x="165219" y="92452"/>
                  </a:cubicBezTo>
                  <a:lnTo>
                    <a:pt x="155856" y="92452"/>
                  </a:lnTo>
                  <a:cubicBezTo>
                    <a:pt x="154964" y="92452"/>
                    <a:pt x="154652" y="92006"/>
                    <a:pt x="154919" y="91114"/>
                  </a:cubicBezTo>
                  <a:close/>
                  <a:moveTo>
                    <a:pt x="206819" y="60349"/>
                  </a:moveTo>
                  <a:lnTo>
                    <a:pt x="192506" y="19017"/>
                  </a:lnTo>
                  <a:lnTo>
                    <a:pt x="192239" y="19017"/>
                  </a:lnTo>
                  <a:lnTo>
                    <a:pt x="177793" y="60349"/>
                  </a:lnTo>
                  <a:close/>
                  <a:moveTo>
                    <a:pt x="244138" y="2832"/>
                  </a:moveTo>
                  <a:cubicBezTo>
                    <a:pt x="244050" y="2181"/>
                    <a:pt x="244507" y="1582"/>
                    <a:pt x="245157" y="1494"/>
                  </a:cubicBezTo>
                  <a:cubicBezTo>
                    <a:pt x="245263" y="1480"/>
                    <a:pt x="245370" y="1480"/>
                    <a:pt x="245476" y="1494"/>
                  </a:cubicBezTo>
                  <a:lnTo>
                    <a:pt x="254037" y="1494"/>
                  </a:lnTo>
                  <a:cubicBezTo>
                    <a:pt x="254998" y="1429"/>
                    <a:pt x="255900" y="1960"/>
                    <a:pt x="256311" y="2832"/>
                  </a:cubicBezTo>
                  <a:lnTo>
                    <a:pt x="297509" y="71050"/>
                  </a:lnTo>
                  <a:lnTo>
                    <a:pt x="298044" y="71050"/>
                  </a:lnTo>
                  <a:lnTo>
                    <a:pt x="298044" y="2832"/>
                  </a:lnTo>
                  <a:cubicBezTo>
                    <a:pt x="297955" y="2181"/>
                    <a:pt x="298413" y="1582"/>
                    <a:pt x="299064" y="1494"/>
                  </a:cubicBezTo>
                  <a:cubicBezTo>
                    <a:pt x="299168" y="1480"/>
                    <a:pt x="299275" y="1480"/>
                    <a:pt x="299382" y="1494"/>
                  </a:cubicBezTo>
                  <a:lnTo>
                    <a:pt x="307809" y="1494"/>
                  </a:lnTo>
                  <a:cubicBezTo>
                    <a:pt x="308460" y="1406"/>
                    <a:pt x="309057" y="1862"/>
                    <a:pt x="309146" y="2513"/>
                  </a:cubicBezTo>
                  <a:cubicBezTo>
                    <a:pt x="309161" y="2619"/>
                    <a:pt x="309161" y="2726"/>
                    <a:pt x="309146" y="2832"/>
                  </a:cubicBezTo>
                  <a:lnTo>
                    <a:pt x="309146" y="91114"/>
                  </a:lnTo>
                  <a:cubicBezTo>
                    <a:pt x="309236" y="91765"/>
                    <a:pt x="308778" y="92364"/>
                    <a:pt x="308127" y="92452"/>
                  </a:cubicBezTo>
                  <a:cubicBezTo>
                    <a:pt x="308023" y="92466"/>
                    <a:pt x="307916" y="92466"/>
                    <a:pt x="307809" y="92452"/>
                  </a:cubicBezTo>
                  <a:lnTo>
                    <a:pt x="299248" y="92452"/>
                  </a:lnTo>
                  <a:cubicBezTo>
                    <a:pt x="298288" y="92517"/>
                    <a:pt x="297384" y="91986"/>
                    <a:pt x="296974" y="91114"/>
                  </a:cubicBezTo>
                  <a:lnTo>
                    <a:pt x="255657" y="23164"/>
                  </a:lnTo>
                  <a:lnTo>
                    <a:pt x="255240" y="23164"/>
                  </a:lnTo>
                  <a:lnTo>
                    <a:pt x="255240" y="91114"/>
                  </a:lnTo>
                  <a:cubicBezTo>
                    <a:pt x="255328" y="91765"/>
                    <a:pt x="254872" y="92364"/>
                    <a:pt x="254222" y="92452"/>
                  </a:cubicBezTo>
                  <a:cubicBezTo>
                    <a:pt x="254116" y="92466"/>
                    <a:pt x="254009" y="92466"/>
                    <a:pt x="253903" y="92452"/>
                  </a:cubicBezTo>
                  <a:lnTo>
                    <a:pt x="245476" y="92452"/>
                  </a:lnTo>
                  <a:cubicBezTo>
                    <a:pt x="244825" y="92540"/>
                    <a:pt x="244226" y="92084"/>
                    <a:pt x="244138" y="91433"/>
                  </a:cubicBezTo>
                  <a:cubicBezTo>
                    <a:pt x="244124" y="91327"/>
                    <a:pt x="244124" y="91220"/>
                    <a:pt x="244138" y="91114"/>
                  </a:cubicBezTo>
                  <a:close/>
                  <a:moveTo>
                    <a:pt x="359173" y="93923"/>
                  </a:moveTo>
                  <a:cubicBezTo>
                    <a:pt x="355981" y="93926"/>
                    <a:pt x="352794" y="93613"/>
                    <a:pt x="349661" y="92987"/>
                  </a:cubicBezTo>
                  <a:cubicBezTo>
                    <a:pt x="346659" y="92395"/>
                    <a:pt x="343707" y="91567"/>
                    <a:pt x="340833" y="90511"/>
                  </a:cubicBezTo>
                  <a:cubicBezTo>
                    <a:pt x="338196" y="89540"/>
                    <a:pt x="335655" y="88331"/>
                    <a:pt x="333238" y="86899"/>
                  </a:cubicBezTo>
                  <a:cubicBezTo>
                    <a:pt x="331098" y="85646"/>
                    <a:pt x="329083" y="84191"/>
                    <a:pt x="327219" y="82554"/>
                  </a:cubicBezTo>
                  <a:cubicBezTo>
                    <a:pt x="326630" y="82073"/>
                    <a:pt x="326544" y="81206"/>
                    <a:pt x="327023" y="80617"/>
                  </a:cubicBezTo>
                  <a:cubicBezTo>
                    <a:pt x="327044" y="80593"/>
                    <a:pt x="327064" y="80570"/>
                    <a:pt x="327085" y="80547"/>
                  </a:cubicBezTo>
                  <a:lnTo>
                    <a:pt x="332971" y="73592"/>
                  </a:lnTo>
                  <a:cubicBezTo>
                    <a:pt x="333366" y="73043"/>
                    <a:pt x="334133" y="72920"/>
                    <a:pt x="334680" y="73317"/>
                  </a:cubicBezTo>
                  <a:cubicBezTo>
                    <a:pt x="334739" y="73359"/>
                    <a:pt x="334793" y="73406"/>
                    <a:pt x="334843" y="73458"/>
                  </a:cubicBezTo>
                  <a:cubicBezTo>
                    <a:pt x="338226" y="76036"/>
                    <a:pt x="341909" y="78192"/>
                    <a:pt x="345812" y="79878"/>
                  </a:cubicBezTo>
                  <a:cubicBezTo>
                    <a:pt x="350363" y="81878"/>
                    <a:pt x="355288" y="82881"/>
                    <a:pt x="360258" y="82821"/>
                  </a:cubicBezTo>
                  <a:cubicBezTo>
                    <a:pt x="365531" y="83142"/>
                    <a:pt x="370754" y="81630"/>
                    <a:pt x="375037" y="78541"/>
                  </a:cubicBezTo>
                  <a:cubicBezTo>
                    <a:pt x="378485" y="75848"/>
                    <a:pt x="380447" y="71677"/>
                    <a:pt x="380322" y="67305"/>
                  </a:cubicBezTo>
                  <a:cubicBezTo>
                    <a:pt x="380346" y="65479"/>
                    <a:pt x="380028" y="63664"/>
                    <a:pt x="379386" y="61954"/>
                  </a:cubicBezTo>
                  <a:cubicBezTo>
                    <a:pt x="378714" y="60285"/>
                    <a:pt x="377632" y="58813"/>
                    <a:pt x="376241" y="57674"/>
                  </a:cubicBezTo>
                  <a:cubicBezTo>
                    <a:pt x="374502" y="56275"/>
                    <a:pt x="372534" y="55189"/>
                    <a:pt x="370424" y="54464"/>
                  </a:cubicBezTo>
                  <a:cubicBezTo>
                    <a:pt x="367478" y="53450"/>
                    <a:pt x="364426" y="52777"/>
                    <a:pt x="361328" y="52457"/>
                  </a:cubicBezTo>
                  <a:lnTo>
                    <a:pt x="356780" y="51788"/>
                  </a:lnTo>
                  <a:cubicBezTo>
                    <a:pt x="338945" y="49381"/>
                    <a:pt x="330028" y="40998"/>
                    <a:pt x="330028" y="26641"/>
                  </a:cubicBezTo>
                  <a:cubicBezTo>
                    <a:pt x="329980" y="22883"/>
                    <a:pt x="330688" y="19153"/>
                    <a:pt x="332109" y="15673"/>
                  </a:cubicBezTo>
                  <a:cubicBezTo>
                    <a:pt x="333432" y="12453"/>
                    <a:pt x="335465" y="9573"/>
                    <a:pt x="338054" y="7246"/>
                  </a:cubicBezTo>
                  <a:cubicBezTo>
                    <a:pt x="340779" y="4847"/>
                    <a:pt x="343966" y="3026"/>
                    <a:pt x="347417" y="1895"/>
                  </a:cubicBezTo>
                  <a:cubicBezTo>
                    <a:pt x="351388" y="598"/>
                    <a:pt x="355547" y="-35"/>
                    <a:pt x="359723" y="23"/>
                  </a:cubicBezTo>
                  <a:cubicBezTo>
                    <a:pt x="364919" y="-2"/>
                    <a:pt x="370088" y="788"/>
                    <a:pt x="375040" y="2362"/>
                  </a:cubicBezTo>
                  <a:cubicBezTo>
                    <a:pt x="379460" y="3710"/>
                    <a:pt x="383634" y="5766"/>
                    <a:pt x="387397" y="8450"/>
                  </a:cubicBezTo>
                  <a:cubicBezTo>
                    <a:pt x="387971" y="8770"/>
                    <a:pt x="388176" y="9494"/>
                    <a:pt x="387855" y="10067"/>
                  </a:cubicBezTo>
                  <a:cubicBezTo>
                    <a:pt x="387804" y="10161"/>
                    <a:pt x="387739" y="10246"/>
                    <a:pt x="387664" y="10322"/>
                  </a:cubicBezTo>
                  <a:lnTo>
                    <a:pt x="383116" y="17679"/>
                  </a:lnTo>
                  <a:cubicBezTo>
                    <a:pt x="382700" y="18266"/>
                    <a:pt x="381889" y="18405"/>
                    <a:pt x="381300" y="17990"/>
                  </a:cubicBezTo>
                  <a:cubicBezTo>
                    <a:pt x="381282" y="17976"/>
                    <a:pt x="381262" y="17962"/>
                    <a:pt x="381244" y="17947"/>
                  </a:cubicBezTo>
                  <a:cubicBezTo>
                    <a:pt x="377855" y="15794"/>
                    <a:pt x="374217" y="14062"/>
                    <a:pt x="370409" y="12790"/>
                  </a:cubicBezTo>
                  <a:cubicBezTo>
                    <a:pt x="366818" y="11658"/>
                    <a:pt x="363073" y="11095"/>
                    <a:pt x="359307" y="11119"/>
                  </a:cubicBezTo>
                  <a:cubicBezTo>
                    <a:pt x="354664" y="10793"/>
                    <a:pt x="350071" y="12252"/>
                    <a:pt x="346466" y="15197"/>
                  </a:cubicBezTo>
                  <a:cubicBezTo>
                    <a:pt x="343517" y="17930"/>
                    <a:pt x="341906" y="21812"/>
                    <a:pt x="342052" y="25830"/>
                  </a:cubicBezTo>
                  <a:cubicBezTo>
                    <a:pt x="341960" y="29462"/>
                    <a:pt x="343538" y="32936"/>
                    <a:pt x="346332" y="35259"/>
                  </a:cubicBezTo>
                  <a:cubicBezTo>
                    <a:pt x="350722" y="38294"/>
                    <a:pt x="355853" y="40083"/>
                    <a:pt x="361180" y="40434"/>
                  </a:cubicBezTo>
                  <a:lnTo>
                    <a:pt x="365594" y="41102"/>
                  </a:lnTo>
                  <a:cubicBezTo>
                    <a:pt x="372939" y="41695"/>
                    <a:pt x="379930" y="44492"/>
                    <a:pt x="385658" y="49128"/>
                  </a:cubicBezTo>
                  <a:cubicBezTo>
                    <a:pt x="390301" y="53682"/>
                    <a:pt x="392741" y="60025"/>
                    <a:pt x="392346" y="66517"/>
                  </a:cubicBezTo>
                  <a:cubicBezTo>
                    <a:pt x="392388" y="70296"/>
                    <a:pt x="391680" y="74046"/>
                    <a:pt x="390265" y="77551"/>
                  </a:cubicBezTo>
                  <a:cubicBezTo>
                    <a:pt x="388889" y="80885"/>
                    <a:pt x="386731" y="83841"/>
                    <a:pt x="383979" y="86171"/>
                  </a:cubicBezTo>
                  <a:cubicBezTo>
                    <a:pt x="380902" y="88726"/>
                    <a:pt x="377359" y="90658"/>
                    <a:pt x="373545" y="91857"/>
                  </a:cubicBezTo>
                  <a:cubicBezTo>
                    <a:pt x="368896" y="93311"/>
                    <a:pt x="364042" y="94009"/>
                    <a:pt x="359173" y="93923"/>
                  </a:cubicBezTo>
                  <a:close/>
                  <a:moveTo>
                    <a:pt x="412009" y="92452"/>
                  </a:moveTo>
                  <a:cubicBezTo>
                    <a:pt x="411358" y="92540"/>
                    <a:pt x="410761" y="92084"/>
                    <a:pt x="410671" y="91433"/>
                  </a:cubicBezTo>
                  <a:cubicBezTo>
                    <a:pt x="410656" y="91327"/>
                    <a:pt x="410656" y="91220"/>
                    <a:pt x="410671" y="91114"/>
                  </a:cubicBezTo>
                  <a:lnTo>
                    <a:pt x="410671" y="2832"/>
                  </a:lnTo>
                  <a:cubicBezTo>
                    <a:pt x="410582" y="2181"/>
                    <a:pt x="411040" y="1582"/>
                    <a:pt x="411691" y="1494"/>
                  </a:cubicBezTo>
                  <a:cubicBezTo>
                    <a:pt x="411795" y="1480"/>
                    <a:pt x="411902" y="1480"/>
                    <a:pt x="412009" y="1494"/>
                  </a:cubicBezTo>
                  <a:lnTo>
                    <a:pt x="444379" y="1494"/>
                  </a:lnTo>
                  <a:cubicBezTo>
                    <a:pt x="448431" y="1442"/>
                    <a:pt x="452458" y="2099"/>
                    <a:pt x="456284" y="3435"/>
                  </a:cubicBezTo>
                  <a:cubicBezTo>
                    <a:pt x="459664" y="4614"/>
                    <a:pt x="462761" y="6482"/>
                    <a:pt x="465380" y="8919"/>
                  </a:cubicBezTo>
                  <a:cubicBezTo>
                    <a:pt x="467906" y="11326"/>
                    <a:pt x="469892" y="14245"/>
                    <a:pt x="471200" y="17480"/>
                  </a:cubicBezTo>
                  <a:cubicBezTo>
                    <a:pt x="472624" y="21030"/>
                    <a:pt x="473331" y="24826"/>
                    <a:pt x="473281" y="28651"/>
                  </a:cubicBezTo>
                  <a:cubicBezTo>
                    <a:pt x="473331" y="32474"/>
                    <a:pt x="472624" y="36269"/>
                    <a:pt x="471200" y="39818"/>
                  </a:cubicBezTo>
                  <a:cubicBezTo>
                    <a:pt x="469892" y="43054"/>
                    <a:pt x="467906" y="45972"/>
                    <a:pt x="465380" y="48379"/>
                  </a:cubicBezTo>
                  <a:cubicBezTo>
                    <a:pt x="462761" y="50817"/>
                    <a:pt x="459664" y="52684"/>
                    <a:pt x="456284" y="53863"/>
                  </a:cubicBezTo>
                  <a:cubicBezTo>
                    <a:pt x="452458" y="55200"/>
                    <a:pt x="448431" y="55857"/>
                    <a:pt x="444379" y="55804"/>
                  </a:cubicBezTo>
                  <a:lnTo>
                    <a:pt x="423379" y="55804"/>
                  </a:lnTo>
                  <a:cubicBezTo>
                    <a:pt x="422989" y="55750"/>
                    <a:pt x="422630" y="56020"/>
                    <a:pt x="422576" y="56409"/>
                  </a:cubicBezTo>
                  <a:cubicBezTo>
                    <a:pt x="422567" y="56474"/>
                    <a:pt x="422567" y="56541"/>
                    <a:pt x="422576" y="56607"/>
                  </a:cubicBezTo>
                  <a:lnTo>
                    <a:pt x="422576" y="91114"/>
                  </a:lnTo>
                  <a:cubicBezTo>
                    <a:pt x="422665" y="91765"/>
                    <a:pt x="422208" y="92364"/>
                    <a:pt x="421557" y="92452"/>
                  </a:cubicBezTo>
                  <a:cubicBezTo>
                    <a:pt x="421453" y="92466"/>
                    <a:pt x="421346" y="92466"/>
                    <a:pt x="421239" y="92452"/>
                  </a:cubicBezTo>
                  <a:close/>
                  <a:moveTo>
                    <a:pt x="443710" y="44699"/>
                  </a:moveTo>
                  <a:cubicBezTo>
                    <a:pt x="448466" y="44992"/>
                    <a:pt x="453154" y="43461"/>
                    <a:pt x="456819" y="40419"/>
                  </a:cubicBezTo>
                  <a:cubicBezTo>
                    <a:pt x="460023" y="37366"/>
                    <a:pt x="461733" y="33067"/>
                    <a:pt x="461501" y="28648"/>
                  </a:cubicBezTo>
                  <a:cubicBezTo>
                    <a:pt x="461733" y="24229"/>
                    <a:pt x="460023" y="19929"/>
                    <a:pt x="456819" y="16877"/>
                  </a:cubicBezTo>
                  <a:cubicBezTo>
                    <a:pt x="453154" y="13835"/>
                    <a:pt x="448466" y="12304"/>
                    <a:pt x="443710" y="12596"/>
                  </a:cubicBezTo>
                  <a:lnTo>
                    <a:pt x="423379" y="12596"/>
                  </a:lnTo>
                  <a:cubicBezTo>
                    <a:pt x="422989" y="12542"/>
                    <a:pt x="422630" y="12812"/>
                    <a:pt x="422576" y="13201"/>
                  </a:cubicBezTo>
                  <a:cubicBezTo>
                    <a:pt x="422567" y="13266"/>
                    <a:pt x="422567" y="13333"/>
                    <a:pt x="422576" y="13399"/>
                  </a:cubicBezTo>
                  <a:lnTo>
                    <a:pt x="422576" y="43897"/>
                  </a:lnTo>
                  <a:cubicBezTo>
                    <a:pt x="422523" y="44285"/>
                    <a:pt x="422793" y="44644"/>
                    <a:pt x="423180" y="44699"/>
                  </a:cubicBezTo>
                  <a:cubicBezTo>
                    <a:pt x="423245" y="44708"/>
                    <a:pt x="423313" y="44708"/>
                    <a:pt x="423379" y="44699"/>
                  </a:cubicBezTo>
                  <a:close/>
                  <a:moveTo>
                    <a:pt x="519955" y="93923"/>
                  </a:moveTo>
                  <a:cubicBezTo>
                    <a:pt x="513076" y="94146"/>
                    <a:pt x="506290" y="92281"/>
                    <a:pt x="500491" y="88573"/>
                  </a:cubicBezTo>
                  <a:cubicBezTo>
                    <a:pt x="494977" y="84724"/>
                    <a:pt x="490943" y="79109"/>
                    <a:pt x="489053" y="72655"/>
                  </a:cubicBezTo>
                  <a:cubicBezTo>
                    <a:pt x="488601" y="71289"/>
                    <a:pt x="488220" y="69900"/>
                    <a:pt x="487917" y="68494"/>
                  </a:cubicBezTo>
                  <a:cubicBezTo>
                    <a:pt x="487572" y="66839"/>
                    <a:pt x="487326" y="65164"/>
                    <a:pt x="487183" y="63479"/>
                  </a:cubicBezTo>
                  <a:cubicBezTo>
                    <a:pt x="487005" y="61563"/>
                    <a:pt x="486871" y="59266"/>
                    <a:pt x="486782" y="56589"/>
                  </a:cubicBezTo>
                  <a:cubicBezTo>
                    <a:pt x="486692" y="53912"/>
                    <a:pt x="486648" y="50701"/>
                    <a:pt x="486648" y="46958"/>
                  </a:cubicBezTo>
                  <a:cubicBezTo>
                    <a:pt x="486648" y="43213"/>
                    <a:pt x="486692" y="40003"/>
                    <a:pt x="486782" y="37327"/>
                  </a:cubicBezTo>
                  <a:cubicBezTo>
                    <a:pt x="486871" y="34652"/>
                    <a:pt x="487005" y="32356"/>
                    <a:pt x="487183" y="30440"/>
                  </a:cubicBezTo>
                  <a:cubicBezTo>
                    <a:pt x="487326" y="28755"/>
                    <a:pt x="487572" y="27081"/>
                    <a:pt x="487917" y="25426"/>
                  </a:cubicBezTo>
                  <a:cubicBezTo>
                    <a:pt x="488220" y="24019"/>
                    <a:pt x="488601" y="22630"/>
                    <a:pt x="489053" y="21264"/>
                  </a:cubicBezTo>
                  <a:cubicBezTo>
                    <a:pt x="490946" y="14815"/>
                    <a:pt x="494980" y="9204"/>
                    <a:pt x="500494" y="5358"/>
                  </a:cubicBezTo>
                  <a:cubicBezTo>
                    <a:pt x="512535" y="-1776"/>
                    <a:pt x="527511" y="-1776"/>
                    <a:pt x="539552" y="5358"/>
                  </a:cubicBezTo>
                  <a:cubicBezTo>
                    <a:pt x="545066" y="9207"/>
                    <a:pt x="549100" y="14823"/>
                    <a:pt x="550990" y="21276"/>
                  </a:cubicBezTo>
                  <a:cubicBezTo>
                    <a:pt x="551442" y="22642"/>
                    <a:pt x="551822" y="24031"/>
                    <a:pt x="552126" y="25437"/>
                  </a:cubicBezTo>
                  <a:cubicBezTo>
                    <a:pt x="552473" y="27093"/>
                    <a:pt x="552717" y="28769"/>
                    <a:pt x="552863" y="30455"/>
                  </a:cubicBezTo>
                  <a:cubicBezTo>
                    <a:pt x="553041" y="32373"/>
                    <a:pt x="553175" y="34669"/>
                    <a:pt x="553264" y="37342"/>
                  </a:cubicBezTo>
                  <a:cubicBezTo>
                    <a:pt x="553353" y="40015"/>
                    <a:pt x="553398" y="43226"/>
                    <a:pt x="553398" y="46973"/>
                  </a:cubicBezTo>
                  <a:cubicBezTo>
                    <a:pt x="553398" y="50718"/>
                    <a:pt x="553353" y="53929"/>
                    <a:pt x="553264" y="56604"/>
                  </a:cubicBezTo>
                  <a:cubicBezTo>
                    <a:pt x="553175" y="59279"/>
                    <a:pt x="553041" y="61576"/>
                    <a:pt x="552863" y="63494"/>
                  </a:cubicBezTo>
                  <a:cubicBezTo>
                    <a:pt x="552717" y="65180"/>
                    <a:pt x="552473" y="66855"/>
                    <a:pt x="552126" y="68512"/>
                  </a:cubicBezTo>
                  <a:cubicBezTo>
                    <a:pt x="551822" y="69918"/>
                    <a:pt x="551442" y="71307"/>
                    <a:pt x="550990" y="72673"/>
                  </a:cubicBezTo>
                  <a:cubicBezTo>
                    <a:pt x="549100" y="79126"/>
                    <a:pt x="545066" y="84742"/>
                    <a:pt x="539552" y="88591"/>
                  </a:cubicBezTo>
                  <a:cubicBezTo>
                    <a:pt x="533708" y="92304"/>
                    <a:pt x="526874" y="94163"/>
                    <a:pt x="519955" y="93923"/>
                  </a:cubicBezTo>
                  <a:close/>
                  <a:moveTo>
                    <a:pt x="519955" y="82821"/>
                  </a:moveTo>
                  <a:cubicBezTo>
                    <a:pt x="524366" y="83016"/>
                    <a:pt x="528723" y="81797"/>
                    <a:pt x="532394" y="79343"/>
                  </a:cubicBezTo>
                  <a:cubicBezTo>
                    <a:pt x="535735" y="76839"/>
                    <a:pt x="538176" y="73319"/>
                    <a:pt x="539350" y="69311"/>
                  </a:cubicBezTo>
                  <a:cubicBezTo>
                    <a:pt x="539662" y="68325"/>
                    <a:pt x="539909" y="67319"/>
                    <a:pt x="540087" y="66300"/>
                  </a:cubicBezTo>
                  <a:cubicBezTo>
                    <a:pt x="540310" y="65095"/>
                    <a:pt x="540533" y="63602"/>
                    <a:pt x="540756" y="61821"/>
                  </a:cubicBezTo>
                  <a:cubicBezTo>
                    <a:pt x="540979" y="60039"/>
                    <a:pt x="541136" y="57944"/>
                    <a:pt x="541226" y="55534"/>
                  </a:cubicBezTo>
                  <a:cubicBezTo>
                    <a:pt x="541315" y="53126"/>
                    <a:pt x="541359" y="50273"/>
                    <a:pt x="541359" y="46973"/>
                  </a:cubicBezTo>
                  <a:cubicBezTo>
                    <a:pt x="541359" y="43674"/>
                    <a:pt x="541315" y="40820"/>
                    <a:pt x="541226" y="38412"/>
                  </a:cubicBezTo>
                  <a:cubicBezTo>
                    <a:pt x="541136" y="36005"/>
                    <a:pt x="540979" y="33909"/>
                    <a:pt x="540756" y="32126"/>
                  </a:cubicBezTo>
                  <a:cubicBezTo>
                    <a:pt x="540533" y="30342"/>
                    <a:pt x="540310" y="28849"/>
                    <a:pt x="540087" y="27646"/>
                  </a:cubicBezTo>
                  <a:cubicBezTo>
                    <a:pt x="539909" y="26627"/>
                    <a:pt x="539662" y="25621"/>
                    <a:pt x="539350" y="24635"/>
                  </a:cubicBezTo>
                  <a:cubicBezTo>
                    <a:pt x="538176" y="20627"/>
                    <a:pt x="535735" y="17107"/>
                    <a:pt x="532394" y="14603"/>
                  </a:cubicBezTo>
                  <a:cubicBezTo>
                    <a:pt x="528723" y="12149"/>
                    <a:pt x="524366" y="10931"/>
                    <a:pt x="519955" y="11125"/>
                  </a:cubicBezTo>
                  <a:cubicBezTo>
                    <a:pt x="515564" y="10923"/>
                    <a:pt x="511224" y="12143"/>
                    <a:pt x="507580" y="14603"/>
                  </a:cubicBezTo>
                  <a:cubicBezTo>
                    <a:pt x="504272" y="17126"/>
                    <a:pt x="501858" y="20641"/>
                    <a:pt x="500693" y="24635"/>
                  </a:cubicBezTo>
                  <a:cubicBezTo>
                    <a:pt x="500381" y="25621"/>
                    <a:pt x="500134" y="26627"/>
                    <a:pt x="499959" y="27646"/>
                  </a:cubicBezTo>
                  <a:cubicBezTo>
                    <a:pt x="499736" y="28849"/>
                    <a:pt x="499513" y="30342"/>
                    <a:pt x="499290" y="32126"/>
                  </a:cubicBezTo>
                  <a:cubicBezTo>
                    <a:pt x="499067" y="33909"/>
                    <a:pt x="498909" y="36005"/>
                    <a:pt x="498820" y="38412"/>
                  </a:cubicBezTo>
                  <a:cubicBezTo>
                    <a:pt x="498731" y="40820"/>
                    <a:pt x="498686" y="43674"/>
                    <a:pt x="498686" y="46973"/>
                  </a:cubicBezTo>
                  <a:cubicBezTo>
                    <a:pt x="498686" y="50273"/>
                    <a:pt x="498731" y="53126"/>
                    <a:pt x="498820" y="55534"/>
                  </a:cubicBezTo>
                  <a:cubicBezTo>
                    <a:pt x="498909" y="57941"/>
                    <a:pt x="499067" y="60037"/>
                    <a:pt x="499290" y="61821"/>
                  </a:cubicBezTo>
                  <a:cubicBezTo>
                    <a:pt x="499513" y="63604"/>
                    <a:pt x="499736" y="65097"/>
                    <a:pt x="499959" y="66300"/>
                  </a:cubicBezTo>
                  <a:cubicBezTo>
                    <a:pt x="500134" y="67319"/>
                    <a:pt x="500381" y="68325"/>
                    <a:pt x="500693" y="69311"/>
                  </a:cubicBezTo>
                  <a:cubicBezTo>
                    <a:pt x="501858" y="73305"/>
                    <a:pt x="504272" y="76821"/>
                    <a:pt x="507580" y="79343"/>
                  </a:cubicBezTo>
                  <a:cubicBezTo>
                    <a:pt x="511224" y="81803"/>
                    <a:pt x="515564" y="83023"/>
                    <a:pt x="519955" y="82821"/>
                  </a:cubicBezTo>
                  <a:close/>
                  <a:moveTo>
                    <a:pt x="625359" y="92452"/>
                  </a:moveTo>
                  <a:cubicBezTo>
                    <a:pt x="624544" y="92446"/>
                    <a:pt x="623834" y="91899"/>
                    <a:pt x="623620" y="91114"/>
                  </a:cubicBezTo>
                  <a:lnTo>
                    <a:pt x="605428" y="53929"/>
                  </a:lnTo>
                  <a:lnTo>
                    <a:pt x="585364" y="53929"/>
                  </a:lnTo>
                  <a:cubicBezTo>
                    <a:pt x="584974" y="53874"/>
                    <a:pt x="584615" y="54144"/>
                    <a:pt x="584561" y="54533"/>
                  </a:cubicBezTo>
                  <a:cubicBezTo>
                    <a:pt x="584552" y="54599"/>
                    <a:pt x="584552" y="54666"/>
                    <a:pt x="584561" y="54731"/>
                  </a:cubicBezTo>
                  <a:lnTo>
                    <a:pt x="584561" y="91114"/>
                  </a:lnTo>
                  <a:cubicBezTo>
                    <a:pt x="584651" y="91765"/>
                    <a:pt x="584193" y="92364"/>
                    <a:pt x="583542" y="92452"/>
                  </a:cubicBezTo>
                  <a:cubicBezTo>
                    <a:pt x="583438" y="92466"/>
                    <a:pt x="583331" y="92466"/>
                    <a:pt x="583224" y="92452"/>
                  </a:cubicBezTo>
                  <a:lnTo>
                    <a:pt x="573994" y="92452"/>
                  </a:lnTo>
                  <a:cubicBezTo>
                    <a:pt x="573343" y="92540"/>
                    <a:pt x="572746" y="92084"/>
                    <a:pt x="572657" y="91433"/>
                  </a:cubicBezTo>
                  <a:cubicBezTo>
                    <a:pt x="572642" y="91327"/>
                    <a:pt x="572642" y="91220"/>
                    <a:pt x="572657" y="91114"/>
                  </a:cubicBezTo>
                  <a:lnTo>
                    <a:pt x="572657" y="2832"/>
                  </a:lnTo>
                  <a:cubicBezTo>
                    <a:pt x="572567" y="2181"/>
                    <a:pt x="573025" y="1582"/>
                    <a:pt x="573676" y="1494"/>
                  </a:cubicBezTo>
                  <a:cubicBezTo>
                    <a:pt x="573780" y="1480"/>
                    <a:pt x="573887" y="1480"/>
                    <a:pt x="573994" y="1494"/>
                  </a:cubicBezTo>
                  <a:lnTo>
                    <a:pt x="606900" y="1494"/>
                  </a:lnTo>
                  <a:cubicBezTo>
                    <a:pt x="610859" y="1441"/>
                    <a:pt x="614794" y="2075"/>
                    <a:pt x="618537" y="3367"/>
                  </a:cubicBezTo>
                  <a:cubicBezTo>
                    <a:pt x="621845" y="4516"/>
                    <a:pt x="624892" y="6312"/>
                    <a:pt x="627499" y="8652"/>
                  </a:cubicBezTo>
                  <a:cubicBezTo>
                    <a:pt x="630019" y="10959"/>
                    <a:pt x="632005" y="13790"/>
                    <a:pt x="633319" y="16945"/>
                  </a:cubicBezTo>
                  <a:cubicBezTo>
                    <a:pt x="634734" y="20356"/>
                    <a:pt x="635441" y="24019"/>
                    <a:pt x="635400" y="27711"/>
                  </a:cubicBezTo>
                  <a:cubicBezTo>
                    <a:pt x="635572" y="33317"/>
                    <a:pt x="633878" y="38822"/>
                    <a:pt x="630584" y="43361"/>
                  </a:cubicBezTo>
                  <a:cubicBezTo>
                    <a:pt x="627288" y="47703"/>
                    <a:pt x="622698" y="50888"/>
                    <a:pt x="617476" y="52457"/>
                  </a:cubicBezTo>
                  <a:lnTo>
                    <a:pt x="636871" y="90847"/>
                  </a:lnTo>
                  <a:cubicBezTo>
                    <a:pt x="637127" y="91170"/>
                    <a:pt x="637177" y="91609"/>
                    <a:pt x="637005" y="91982"/>
                  </a:cubicBezTo>
                  <a:cubicBezTo>
                    <a:pt x="636809" y="92305"/>
                    <a:pt x="636446" y="92488"/>
                    <a:pt x="636068" y="92452"/>
                  </a:cubicBezTo>
                  <a:close/>
                  <a:moveTo>
                    <a:pt x="606632" y="42826"/>
                  </a:moveTo>
                  <a:cubicBezTo>
                    <a:pt x="611126" y="43111"/>
                    <a:pt x="615564" y="41704"/>
                    <a:pt x="619072" y="38882"/>
                  </a:cubicBezTo>
                  <a:cubicBezTo>
                    <a:pt x="622122" y="35995"/>
                    <a:pt x="623739" y="31904"/>
                    <a:pt x="623486" y="27711"/>
                  </a:cubicBezTo>
                  <a:cubicBezTo>
                    <a:pt x="623739" y="23519"/>
                    <a:pt x="622122" y="19431"/>
                    <a:pt x="619072" y="16544"/>
                  </a:cubicBezTo>
                  <a:cubicBezTo>
                    <a:pt x="615564" y="13722"/>
                    <a:pt x="611126" y="12315"/>
                    <a:pt x="606632" y="12599"/>
                  </a:cubicBezTo>
                  <a:lnTo>
                    <a:pt x="585364" y="12599"/>
                  </a:lnTo>
                  <a:cubicBezTo>
                    <a:pt x="584974" y="12545"/>
                    <a:pt x="584615" y="12815"/>
                    <a:pt x="584561" y="13204"/>
                  </a:cubicBezTo>
                  <a:cubicBezTo>
                    <a:pt x="584552" y="13269"/>
                    <a:pt x="584552" y="13336"/>
                    <a:pt x="584561" y="13402"/>
                  </a:cubicBezTo>
                  <a:lnTo>
                    <a:pt x="584561" y="42027"/>
                  </a:lnTo>
                  <a:cubicBezTo>
                    <a:pt x="584508" y="42415"/>
                    <a:pt x="584778" y="42775"/>
                    <a:pt x="585165" y="42829"/>
                  </a:cubicBezTo>
                  <a:cubicBezTo>
                    <a:pt x="585230" y="42839"/>
                    <a:pt x="585299" y="42839"/>
                    <a:pt x="585364" y="42829"/>
                  </a:cubicBezTo>
                  <a:close/>
                  <a:moveTo>
                    <a:pt x="674717" y="92452"/>
                  </a:moveTo>
                  <a:cubicBezTo>
                    <a:pt x="674066" y="92540"/>
                    <a:pt x="673468" y="92084"/>
                    <a:pt x="673379" y="91433"/>
                  </a:cubicBezTo>
                  <a:cubicBezTo>
                    <a:pt x="673364" y="91327"/>
                    <a:pt x="673364" y="91220"/>
                    <a:pt x="673379" y="91114"/>
                  </a:cubicBezTo>
                  <a:lnTo>
                    <a:pt x="673379" y="13384"/>
                  </a:lnTo>
                  <a:cubicBezTo>
                    <a:pt x="673432" y="12996"/>
                    <a:pt x="673162" y="12636"/>
                    <a:pt x="672776" y="12581"/>
                  </a:cubicBezTo>
                  <a:cubicBezTo>
                    <a:pt x="672710" y="12572"/>
                    <a:pt x="672642" y="12572"/>
                    <a:pt x="672576" y="12581"/>
                  </a:cubicBezTo>
                  <a:lnTo>
                    <a:pt x="647697" y="12581"/>
                  </a:lnTo>
                  <a:cubicBezTo>
                    <a:pt x="647046" y="12670"/>
                    <a:pt x="646448" y="12213"/>
                    <a:pt x="646359" y="11563"/>
                  </a:cubicBezTo>
                  <a:cubicBezTo>
                    <a:pt x="646344" y="11457"/>
                    <a:pt x="646344" y="11350"/>
                    <a:pt x="646359" y="11244"/>
                  </a:cubicBezTo>
                  <a:lnTo>
                    <a:pt x="646359" y="2832"/>
                  </a:lnTo>
                  <a:cubicBezTo>
                    <a:pt x="646270" y="2181"/>
                    <a:pt x="646728" y="1582"/>
                    <a:pt x="647379" y="1494"/>
                  </a:cubicBezTo>
                  <a:cubicBezTo>
                    <a:pt x="647483" y="1480"/>
                    <a:pt x="647590" y="1480"/>
                    <a:pt x="647697" y="1494"/>
                  </a:cubicBezTo>
                  <a:lnTo>
                    <a:pt x="710966" y="1494"/>
                  </a:lnTo>
                  <a:cubicBezTo>
                    <a:pt x="711617" y="1406"/>
                    <a:pt x="712214" y="1862"/>
                    <a:pt x="712304" y="2513"/>
                  </a:cubicBezTo>
                  <a:cubicBezTo>
                    <a:pt x="712318" y="2619"/>
                    <a:pt x="712318" y="2726"/>
                    <a:pt x="712304" y="2832"/>
                  </a:cubicBezTo>
                  <a:lnTo>
                    <a:pt x="712304" y="11259"/>
                  </a:lnTo>
                  <a:cubicBezTo>
                    <a:pt x="712393" y="11909"/>
                    <a:pt x="711935" y="12508"/>
                    <a:pt x="711284" y="12596"/>
                  </a:cubicBezTo>
                  <a:cubicBezTo>
                    <a:pt x="711180" y="12611"/>
                    <a:pt x="711073" y="12611"/>
                    <a:pt x="710966" y="12596"/>
                  </a:cubicBezTo>
                  <a:lnTo>
                    <a:pt x="686086" y="12596"/>
                  </a:lnTo>
                  <a:cubicBezTo>
                    <a:pt x="685697" y="12542"/>
                    <a:pt x="685337" y="12812"/>
                    <a:pt x="685284" y="13201"/>
                  </a:cubicBezTo>
                  <a:cubicBezTo>
                    <a:pt x="685275" y="13266"/>
                    <a:pt x="685275" y="13333"/>
                    <a:pt x="685284" y="13399"/>
                  </a:cubicBezTo>
                  <a:lnTo>
                    <a:pt x="685284" y="91114"/>
                  </a:lnTo>
                  <a:cubicBezTo>
                    <a:pt x="685373" y="91765"/>
                    <a:pt x="684915" y="92364"/>
                    <a:pt x="684264" y="92452"/>
                  </a:cubicBezTo>
                  <a:cubicBezTo>
                    <a:pt x="684160" y="92466"/>
                    <a:pt x="684053" y="92466"/>
                    <a:pt x="683946" y="92452"/>
                  </a:cubicBezTo>
                  <a:close/>
                  <a:moveTo>
                    <a:pt x="740393" y="2832"/>
                  </a:moveTo>
                  <a:cubicBezTo>
                    <a:pt x="740524" y="2051"/>
                    <a:pt x="741208" y="1483"/>
                    <a:pt x="741999" y="1494"/>
                  </a:cubicBezTo>
                  <a:lnTo>
                    <a:pt x="750693" y="1494"/>
                  </a:lnTo>
                  <a:cubicBezTo>
                    <a:pt x="751525" y="1448"/>
                    <a:pt x="752263" y="2017"/>
                    <a:pt x="752432" y="2832"/>
                  </a:cubicBezTo>
                  <a:lnTo>
                    <a:pt x="783598" y="91114"/>
                  </a:lnTo>
                  <a:cubicBezTo>
                    <a:pt x="783866" y="92006"/>
                    <a:pt x="783554" y="92452"/>
                    <a:pt x="782662" y="92452"/>
                  </a:cubicBezTo>
                  <a:lnTo>
                    <a:pt x="773299" y="92452"/>
                  </a:lnTo>
                  <a:cubicBezTo>
                    <a:pt x="772467" y="92499"/>
                    <a:pt x="771729" y="91929"/>
                    <a:pt x="771560" y="91114"/>
                  </a:cubicBezTo>
                  <a:lnTo>
                    <a:pt x="764604" y="71318"/>
                  </a:lnTo>
                  <a:lnTo>
                    <a:pt x="727820" y="71318"/>
                  </a:lnTo>
                  <a:lnTo>
                    <a:pt x="720864" y="91114"/>
                  </a:lnTo>
                  <a:cubicBezTo>
                    <a:pt x="720650" y="91899"/>
                    <a:pt x="719940" y="92446"/>
                    <a:pt x="719125" y="92452"/>
                  </a:cubicBezTo>
                  <a:lnTo>
                    <a:pt x="709762" y="92452"/>
                  </a:lnTo>
                  <a:cubicBezTo>
                    <a:pt x="708870" y="92452"/>
                    <a:pt x="708558" y="92006"/>
                    <a:pt x="708826" y="91114"/>
                  </a:cubicBezTo>
                  <a:close/>
                  <a:moveTo>
                    <a:pt x="760725" y="60349"/>
                  </a:moveTo>
                  <a:lnTo>
                    <a:pt x="746413" y="19017"/>
                  </a:lnTo>
                  <a:lnTo>
                    <a:pt x="746145" y="19017"/>
                  </a:lnTo>
                  <a:lnTo>
                    <a:pt x="731699" y="60349"/>
                  </a:lnTo>
                  <a:close/>
                  <a:moveTo>
                    <a:pt x="808478" y="92452"/>
                  </a:moveTo>
                  <a:cubicBezTo>
                    <a:pt x="807827" y="92540"/>
                    <a:pt x="807230" y="92084"/>
                    <a:pt x="807140" y="91433"/>
                  </a:cubicBezTo>
                  <a:cubicBezTo>
                    <a:pt x="807126" y="91327"/>
                    <a:pt x="807126" y="91220"/>
                    <a:pt x="807140" y="91114"/>
                  </a:cubicBezTo>
                  <a:lnTo>
                    <a:pt x="807140" y="13384"/>
                  </a:lnTo>
                  <a:cubicBezTo>
                    <a:pt x="807194" y="12996"/>
                    <a:pt x="806923" y="12636"/>
                    <a:pt x="806537" y="12581"/>
                  </a:cubicBezTo>
                  <a:cubicBezTo>
                    <a:pt x="806472" y="12572"/>
                    <a:pt x="806403" y="12572"/>
                    <a:pt x="806338" y="12581"/>
                  </a:cubicBezTo>
                  <a:lnTo>
                    <a:pt x="781458" y="12581"/>
                  </a:lnTo>
                  <a:cubicBezTo>
                    <a:pt x="780807" y="12670"/>
                    <a:pt x="780210" y="12213"/>
                    <a:pt x="780121" y="11563"/>
                  </a:cubicBezTo>
                  <a:cubicBezTo>
                    <a:pt x="780106" y="11457"/>
                    <a:pt x="780106" y="11350"/>
                    <a:pt x="780121" y="11244"/>
                  </a:cubicBezTo>
                  <a:lnTo>
                    <a:pt x="780121" y="2832"/>
                  </a:lnTo>
                  <a:cubicBezTo>
                    <a:pt x="780031" y="2181"/>
                    <a:pt x="780489" y="1582"/>
                    <a:pt x="781140" y="1494"/>
                  </a:cubicBezTo>
                  <a:cubicBezTo>
                    <a:pt x="781244" y="1480"/>
                    <a:pt x="781351" y="1480"/>
                    <a:pt x="781458" y="1494"/>
                  </a:cubicBezTo>
                  <a:lnTo>
                    <a:pt x="844727" y="1494"/>
                  </a:lnTo>
                  <a:cubicBezTo>
                    <a:pt x="845378" y="1406"/>
                    <a:pt x="845976" y="1862"/>
                    <a:pt x="846065" y="2513"/>
                  </a:cubicBezTo>
                  <a:cubicBezTo>
                    <a:pt x="846080" y="2619"/>
                    <a:pt x="846080" y="2726"/>
                    <a:pt x="846065" y="2832"/>
                  </a:cubicBezTo>
                  <a:lnTo>
                    <a:pt x="846065" y="11259"/>
                  </a:lnTo>
                  <a:cubicBezTo>
                    <a:pt x="846154" y="11909"/>
                    <a:pt x="845696" y="12508"/>
                    <a:pt x="845046" y="12596"/>
                  </a:cubicBezTo>
                  <a:cubicBezTo>
                    <a:pt x="844941" y="12611"/>
                    <a:pt x="844834" y="12611"/>
                    <a:pt x="844727" y="12596"/>
                  </a:cubicBezTo>
                  <a:lnTo>
                    <a:pt x="819848" y="12596"/>
                  </a:lnTo>
                  <a:cubicBezTo>
                    <a:pt x="819458" y="12542"/>
                    <a:pt x="819099" y="12812"/>
                    <a:pt x="819045" y="13201"/>
                  </a:cubicBezTo>
                  <a:cubicBezTo>
                    <a:pt x="819036" y="13266"/>
                    <a:pt x="819036" y="13333"/>
                    <a:pt x="819045" y="13399"/>
                  </a:cubicBezTo>
                  <a:lnTo>
                    <a:pt x="819045" y="91114"/>
                  </a:lnTo>
                  <a:cubicBezTo>
                    <a:pt x="819134" y="91765"/>
                    <a:pt x="818677" y="92364"/>
                    <a:pt x="818026" y="92452"/>
                  </a:cubicBezTo>
                  <a:cubicBezTo>
                    <a:pt x="817922" y="92466"/>
                    <a:pt x="817815" y="92466"/>
                    <a:pt x="817708" y="92452"/>
                  </a:cubicBezTo>
                  <a:close/>
                  <a:moveTo>
                    <a:pt x="860259" y="2832"/>
                  </a:moveTo>
                  <a:cubicBezTo>
                    <a:pt x="860169" y="2181"/>
                    <a:pt x="860627" y="1582"/>
                    <a:pt x="861278" y="1494"/>
                  </a:cubicBezTo>
                  <a:cubicBezTo>
                    <a:pt x="861382" y="1480"/>
                    <a:pt x="861489" y="1480"/>
                    <a:pt x="861596" y="1494"/>
                  </a:cubicBezTo>
                  <a:lnTo>
                    <a:pt x="870811" y="1494"/>
                  </a:lnTo>
                  <a:cubicBezTo>
                    <a:pt x="871462" y="1406"/>
                    <a:pt x="872059" y="1862"/>
                    <a:pt x="872149" y="2513"/>
                  </a:cubicBezTo>
                  <a:cubicBezTo>
                    <a:pt x="872163" y="2619"/>
                    <a:pt x="872163" y="2726"/>
                    <a:pt x="872149" y="2832"/>
                  </a:cubicBezTo>
                  <a:lnTo>
                    <a:pt x="872149" y="91114"/>
                  </a:lnTo>
                  <a:cubicBezTo>
                    <a:pt x="872238" y="91765"/>
                    <a:pt x="871780" y="92364"/>
                    <a:pt x="871129" y="92452"/>
                  </a:cubicBezTo>
                  <a:cubicBezTo>
                    <a:pt x="871025" y="92466"/>
                    <a:pt x="870918" y="92466"/>
                    <a:pt x="870811" y="92452"/>
                  </a:cubicBezTo>
                  <a:lnTo>
                    <a:pt x="861596" y="92452"/>
                  </a:lnTo>
                  <a:cubicBezTo>
                    <a:pt x="860945" y="92540"/>
                    <a:pt x="860348" y="92084"/>
                    <a:pt x="860259" y="91433"/>
                  </a:cubicBezTo>
                  <a:cubicBezTo>
                    <a:pt x="860244" y="91327"/>
                    <a:pt x="860244" y="91220"/>
                    <a:pt x="860259" y="91114"/>
                  </a:cubicBezTo>
                  <a:close/>
                  <a:moveTo>
                    <a:pt x="924732" y="93923"/>
                  </a:moveTo>
                  <a:cubicBezTo>
                    <a:pt x="917853" y="94145"/>
                    <a:pt x="911070" y="92280"/>
                    <a:pt x="905271" y="88573"/>
                  </a:cubicBezTo>
                  <a:cubicBezTo>
                    <a:pt x="899757" y="84724"/>
                    <a:pt x="895723" y="79109"/>
                    <a:pt x="893833" y="72655"/>
                  </a:cubicBezTo>
                  <a:cubicBezTo>
                    <a:pt x="893381" y="71289"/>
                    <a:pt x="893000" y="69900"/>
                    <a:pt x="892694" y="68494"/>
                  </a:cubicBezTo>
                  <a:cubicBezTo>
                    <a:pt x="892350" y="66839"/>
                    <a:pt x="892103" y="65164"/>
                    <a:pt x="891960" y="63479"/>
                  </a:cubicBezTo>
                  <a:cubicBezTo>
                    <a:pt x="891782" y="61563"/>
                    <a:pt x="891648" y="59266"/>
                    <a:pt x="891559" y="56589"/>
                  </a:cubicBezTo>
                  <a:cubicBezTo>
                    <a:pt x="891470" y="53912"/>
                    <a:pt x="891425" y="50701"/>
                    <a:pt x="891425" y="46958"/>
                  </a:cubicBezTo>
                  <a:cubicBezTo>
                    <a:pt x="891425" y="43213"/>
                    <a:pt x="891470" y="40003"/>
                    <a:pt x="891559" y="37327"/>
                  </a:cubicBezTo>
                  <a:cubicBezTo>
                    <a:pt x="891648" y="34652"/>
                    <a:pt x="891782" y="32356"/>
                    <a:pt x="891960" y="30440"/>
                  </a:cubicBezTo>
                  <a:cubicBezTo>
                    <a:pt x="892103" y="28755"/>
                    <a:pt x="892350" y="27081"/>
                    <a:pt x="892694" y="25426"/>
                  </a:cubicBezTo>
                  <a:cubicBezTo>
                    <a:pt x="893000" y="24019"/>
                    <a:pt x="893381" y="22630"/>
                    <a:pt x="893833" y="21264"/>
                  </a:cubicBezTo>
                  <a:cubicBezTo>
                    <a:pt x="895720" y="14817"/>
                    <a:pt x="899751" y="9207"/>
                    <a:pt x="905256" y="5358"/>
                  </a:cubicBezTo>
                  <a:cubicBezTo>
                    <a:pt x="917298" y="-1776"/>
                    <a:pt x="932273" y="-1776"/>
                    <a:pt x="944314" y="5358"/>
                  </a:cubicBezTo>
                  <a:cubicBezTo>
                    <a:pt x="949828" y="9207"/>
                    <a:pt x="953862" y="14823"/>
                    <a:pt x="955752" y="21276"/>
                  </a:cubicBezTo>
                  <a:cubicBezTo>
                    <a:pt x="956204" y="22642"/>
                    <a:pt x="956585" y="24031"/>
                    <a:pt x="956891" y="25437"/>
                  </a:cubicBezTo>
                  <a:cubicBezTo>
                    <a:pt x="957236" y="27094"/>
                    <a:pt x="957482" y="28769"/>
                    <a:pt x="957625" y="30455"/>
                  </a:cubicBezTo>
                  <a:cubicBezTo>
                    <a:pt x="957803" y="32373"/>
                    <a:pt x="957937" y="34669"/>
                    <a:pt x="958026" y="37342"/>
                  </a:cubicBezTo>
                  <a:cubicBezTo>
                    <a:pt x="958116" y="40015"/>
                    <a:pt x="958160" y="43226"/>
                    <a:pt x="958160" y="46973"/>
                  </a:cubicBezTo>
                  <a:cubicBezTo>
                    <a:pt x="958160" y="50718"/>
                    <a:pt x="958116" y="53929"/>
                    <a:pt x="958026" y="56604"/>
                  </a:cubicBezTo>
                  <a:cubicBezTo>
                    <a:pt x="957937" y="59279"/>
                    <a:pt x="957803" y="61576"/>
                    <a:pt x="957625" y="63494"/>
                  </a:cubicBezTo>
                  <a:cubicBezTo>
                    <a:pt x="957482" y="65180"/>
                    <a:pt x="957236" y="66855"/>
                    <a:pt x="956891" y="68512"/>
                  </a:cubicBezTo>
                  <a:cubicBezTo>
                    <a:pt x="956585" y="69918"/>
                    <a:pt x="956204" y="71307"/>
                    <a:pt x="955752" y="72673"/>
                  </a:cubicBezTo>
                  <a:cubicBezTo>
                    <a:pt x="953862" y="79126"/>
                    <a:pt x="949828" y="84742"/>
                    <a:pt x="944314" y="88591"/>
                  </a:cubicBezTo>
                  <a:cubicBezTo>
                    <a:pt x="938470" y="92304"/>
                    <a:pt x="931637" y="94163"/>
                    <a:pt x="924717" y="93923"/>
                  </a:cubicBezTo>
                  <a:close/>
                  <a:moveTo>
                    <a:pt x="924732" y="82821"/>
                  </a:moveTo>
                  <a:cubicBezTo>
                    <a:pt x="929143" y="83016"/>
                    <a:pt x="933500" y="81797"/>
                    <a:pt x="937171" y="79343"/>
                  </a:cubicBezTo>
                  <a:cubicBezTo>
                    <a:pt x="940513" y="76839"/>
                    <a:pt x="942953" y="73319"/>
                    <a:pt x="944127" y="69311"/>
                  </a:cubicBezTo>
                  <a:cubicBezTo>
                    <a:pt x="944439" y="68325"/>
                    <a:pt x="944686" y="67319"/>
                    <a:pt x="944861" y="66300"/>
                  </a:cubicBezTo>
                  <a:cubicBezTo>
                    <a:pt x="945084" y="65095"/>
                    <a:pt x="945307" y="63602"/>
                    <a:pt x="945530" y="61821"/>
                  </a:cubicBezTo>
                  <a:cubicBezTo>
                    <a:pt x="945753" y="60039"/>
                    <a:pt x="945908" y="57944"/>
                    <a:pt x="946000" y="55534"/>
                  </a:cubicBezTo>
                  <a:cubicBezTo>
                    <a:pt x="946089" y="53126"/>
                    <a:pt x="946134" y="50273"/>
                    <a:pt x="946134" y="46973"/>
                  </a:cubicBezTo>
                  <a:cubicBezTo>
                    <a:pt x="946134" y="43674"/>
                    <a:pt x="946089" y="40820"/>
                    <a:pt x="946000" y="38412"/>
                  </a:cubicBezTo>
                  <a:cubicBezTo>
                    <a:pt x="945911" y="36005"/>
                    <a:pt x="945753" y="33909"/>
                    <a:pt x="945530" y="32126"/>
                  </a:cubicBezTo>
                  <a:cubicBezTo>
                    <a:pt x="945307" y="30342"/>
                    <a:pt x="945084" y="28849"/>
                    <a:pt x="944861" y="27646"/>
                  </a:cubicBezTo>
                  <a:cubicBezTo>
                    <a:pt x="944686" y="26627"/>
                    <a:pt x="944439" y="25621"/>
                    <a:pt x="944127" y="24635"/>
                  </a:cubicBezTo>
                  <a:cubicBezTo>
                    <a:pt x="942953" y="20627"/>
                    <a:pt x="940513" y="17107"/>
                    <a:pt x="937171" y="14603"/>
                  </a:cubicBezTo>
                  <a:cubicBezTo>
                    <a:pt x="933500" y="12149"/>
                    <a:pt x="929143" y="10931"/>
                    <a:pt x="924732" y="11125"/>
                  </a:cubicBezTo>
                  <a:cubicBezTo>
                    <a:pt x="920341" y="10923"/>
                    <a:pt x="916002" y="12143"/>
                    <a:pt x="912357" y="14603"/>
                  </a:cubicBezTo>
                  <a:cubicBezTo>
                    <a:pt x="909049" y="17125"/>
                    <a:pt x="906632" y="20641"/>
                    <a:pt x="905467" y="24635"/>
                  </a:cubicBezTo>
                  <a:cubicBezTo>
                    <a:pt x="905155" y="25621"/>
                    <a:pt x="904908" y="26627"/>
                    <a:pt x="904733" y="27646"/>
                  </a:cubicBezTo>
                  <a:cubicBezTo>
                    <a:pt x="904510" y="28849"/>
                    <a:pt x="904287" y="30342"/>
                    <a:pt x="904064" y="32126"/>
                  </a:cubicBezTo>
                  <a:cubicBezTo>
                    <a:pt x="903841" y="33909"/>
                    <a:pt x="903684" y="36005"/>
                    <a:pt x="903594" y="38412"/>
                  </a:cubicBezTo>
                  <a:cubicBezTo>
                    <a:pt x="903505" y="40820"/>
                    <a:pt x="903461" y="43674"/>
                    <a:pt x="903461" y="46973"/>
                  </a:cubicBezTo>
                  <a:cubicBezTo>
                    <a:pt x="903461" y="50273"/>
                    <a:pt x="903505" y="53126"/>
                    <a:pt x="903594" y="55534"/>
                  </a:cubicBezTo>
                  <a:cubicBezTo>
                    <a:pt x="903684" y="57941"/>
                    <a:pt x="903841" y="60037"/>
                    <a:pt x="904064" y="61821"/>
                  </a:cubicBezTo>
                  <a:cubicBezTo>
                    <a:pt x="904287" y="63604"/>
                    <a:pt x="904510" y="65097"/>
                    <a:pt x="904733" y="66300"/>
                  </a:cubicBezTo>
                  <a:cubicBezTo>
                    <a:pt x="904908" y="67319"/>
                    <a:pt x="905155" y="68325"/>
                    <a:pt x="905467" y="69311"/>
                  </a:cubicBezTo>
                  <a:cubicBezTo>
                    <a:pt x="906632" y="73305"/>
                    <a:pt x="909049" y="76821"/>
                    <a:pt x="912357" y="79343"/>
                  </a:cubicBezTo>
                  <a:cubicBezTo>
                    <a:pt x="915996" y="81800"/>
                    <a:pt x="920329" y="83020"/>
                    <a:pt x="924717" y="82821"/>
                  </a:cubicBezTo>
                  <a:close/>
                  <a:moveTo>
                    <a:pt x="977434" y="2832"/>
                  </a:moveTo>
                  <a:cubicBezTo>
                    <a:pt x="977345" y="2181"/>
                    <a:pt x="977802" y="1582"/>
                    <a:pt x="978453" y="1494"/>
                  </a:cubicBezTo>
                  <a:cubicBezTo>
                    <a:pt x="978557" y="1480"/>
                    <a:pt x="978664" y="1480"/>
                    <a:pt x="978771" y="1494"/>
                  </a:cubicBezTo>
                  <a:lnTo>
                    <a:pt x="987332" y="1494"/>
                  </a:lnTo>
                  <a:cubicBezTo>
                    <a:pt x="988292" y="1429"/>
                    <a:pt x="989196" y="1960"/>
                    <a:pt x="989606" y="2832"/>
                  </a:cubicBezTo>
                  <a:lnTo>
                    <a:pt x="1030790" y="71050"/>
                  </a:lnTo>
                  <a:lnTo>
                    <a:pt x="1031325" y="71050"/>
                  </a:lnTo>
                  <a:lnTo>
                    <a:pt x="1031325" y="2832"/>
                  </a:lnTo>
                  <a:cubicBezTo>
                    <a:pt x="1031236" y="2181"/>
                    <a:pt x="1031693" y="1582"/>
                    <a:pt x="1032344" y="1494"/>
                  </a:cubicBezTo>
                  <a:cubicBezTo>
                    <a:pt x="1032448" y="1480"/>
                    <a:pt x="1032555" y="1480"/>
                    <a:pt x="1032662" y="1494"/>
                  </a:cubicBezTo>
                  <a:lnTo>
                    <a:pt x="1041089" y="1494"/>
                  </a:lnTo>
                  <a:cubicBezTo>
                    <a:pt x="1041740" y="1406"/>
                    <a:pt x="1042338" y="1862"/>
                    <a:pt x="1042427" y="2513"/>
                  </a:cubicBezTo>
                  <a:cubicBezTo>
                    <a:pt x="1042442" y="2619"/>
                    <a:pt x="1042442" y="2726"/>
                    <a:pt x="1042427" y="2832"/>
                  </a:cubicBezTo>
                  <a:lnTo>
                    <a:pt x="1042427" y="91114"/>
                  </a:lnTo>
                  <a:cubicBezTo>
                    <a:pt x="1042516" y="91765"/>
                    <a:pt x="1042058" y="92364"/>
                    <a:pt x="1041407" y="92452"/>
                  </a:cubicBezTo>
                  <a:cubicBezTo>
                    <a:pt x="1041303" y="92466"/>
                    <a:pt x="1041196" y="92466"/>
                    <a:pt x="1041089" y="92452"/>
                  </a:cubicBezTo>
                  <a:lnTo>
                    <a:pt x="1032529" y="92452"/>
                  </a:lnTo>
                  <a:cubicBezTo>
                    <a:pt x="1031568" y="92517"/>
                    <a:pt x="1030665" y="91986"/>
                    <a:pt x="1030255" y="91114"/>
                  </a:cubicBezTo>
                  <a:lnTo>
                    <a:pt x="988937" y="23164"/>
                  </a:lnTo>
                  <a:lnTo>
                    <a:pt x="988536" y="23164"/>
                  </a:lnTo>
                  <a:lnTo>
                    <a:pt x="988536" y="91114"/>
                  </a:lnTo>
                  <a:cubicBezTo>
                    <a:pt x="988625" y="91765"/>
                    <a:pt x="988170" y="92365"/>
                    <a:pt x="987519" y="92454"/>
                  </a:cubicBezTo>
                  <a:cubicBezTo>
                    <a:pt x="987409" y="92469"/>
                    <a:pt x="987293" y="92469"/>
                    <a:pt x="987183" y="92452"/>
                  </a:cubicBezTo>
                  <a:lnTo>
                    <a:pt x="978756" y="92452"/>
                  </a:lnTo>
                  <a:cubicBezTo>
                    <a:pt x="978106" y="92540"/>
                    <a:pt x="977508" y="92084"/>
                    <a:pt x="977419" y="91433"/>
                  </a:cubicBezTo>
                  <a:cubicBezTo>
                    <a:pt x="977404" y="91327"/>
                    <a:pt x="977404" y="91220"/>
                    <a:pt x="977419" y="91114"/>
                  </a:cubicBezTo>
                  <a:close/>
                  <a:moveTo>
                    <a:pt x="1063041" y="79611"/>
                  </a:moveTo>
                  <a:cubicBezTo>
                    <a:pt x="1062952" y="78960"/>
                    <a:pt x="1063410" y="78361"/>
                    <a:pt x="1064061" y="78273"/>
                  </a:cubicBezTo>
                  <a:cubicBezTo>
                    <a:pt x="1064165" y="78259"/>
                    <a:pt x="1064272" y="78259"/>
                    <a:pt x="1064379" y="78273"/>
                  </a:cubicBezTo>
                  <a:lnTo>
                    <a:pt x="1074545" y="78273"/>
                  </a:lnTo>
                  <a:cubicBezTo>
                    <a:pt x="1075196" y="78185"/>
                    <a:pt x="1075793" y="78642"/>
                    <a:pt x="1075882" y="79292"/>
                  </a:cubicBezTo>
                  <a:cubicBezTo>
                    <a:pt x="1075897" y="79398"/>
                    <a:pt x="1075897" y="79505"/>
                    <a:pt x="1075882" y="79611"/>
                  </a:cubicBezTo>
                  <a:lnTo>
                    <a:pt x="1075882" y="91114"/>
                  </a:lnTo>
                  <a:cubicBezTo>
                    <a:pt x="1075971" y="91765"/>
                    <a:pt x="1075514" y="92364"/>
                    <a:pt x="1074863" y="92452"/>
                  </a:cubicBezTo>
                  <a:cubicBezTo>
                    <a:pt x="1074759" y="92466"/>
                    <a:pt x="1074652" y="92466"/>
                    <a:pt x="1074545" y="92452"/>
                  </a:cubicBezTo>
                  <a:lnTo>
                    <a:pt x="1064379" y="92452"/>
                  </a:lnTo>
                  <a:cubicBezTo>
                    <a:pt x="1063728" y="92540"/>
                    <a:pt x="1063130" y="92084"/>
                    <a:pt x="1063041" y="91433"/>
                  </a:cubicBezTo>
                  <a:cubicBezTo>
                    <a:pt x="1063026" y="91327"/>
                    <a:pt x="1063026" y="91220"/>
                    <a:pt x="1063041" y="91114"/>
                  </a:cubicBezTo>
                  <a:close/>
                </a:path>
              </a:pathLst>
            </a:custGeom>
            <a:solidFill>
              <a:schemeClr val="bg2"/>
            </a:solidFill>
            <a:ln w="2965" cap="flat">
              <a:noFill/>
              <a:prstDash val="solid"/>
              <a:miter/>
            </a:ln>
          </p:spPr>
          <p:txBody>
            <a:bodyPr rtlCol="0" anchor="ctr"/>
            <a:lstStyle/>
            <a:p>
              <a:endParaRPr lang="de-DE"/>
            </a:p>
          </p:txBody>
        </p:sp>
        <p:sp>
          <p:nvSpPr>
            <p:cNvPr id="41" name="Freeform: Shape 40">
              <a:extLst>
                <a:ext uri="{FF2B5EF4-FFF2-40B4-BE49-F238E27FC236}">
                  <a16:creationId xmlns:a16="http://schemas.microsoft.com/office/drawing/2014/main" id="{DE59F8CB-BE29-4E08-89DA-85639F9DD549}"/>
                </a:ext>
              </a:extLst>
            </p:cNvPr>
            <p:cNvSpPr/>
            <p:nvPr/>
          </p:nvSpPr>
          <p:spPr>
            <a:xfrm>
              <a:off x="10774019" y="6569216"/>
              <a:ext cx="1193687" cy="93972"/>
            </a:xfrm>
            <a:custGeom>
              <a:avLst/>
              <a:gdLst>
                <a:gd name="connsiteX0" fmla="*/ 31941 w 1193687"/>
                <a:gd name="connsiteY0" fmla="*/ 2904 h 93972"/>
                <a:gd name="connsiteX1" fmla="*/ 33546 w 1193687"/>
                <a:gd name="connsiteY1" fmla="*/ 1567 h 93972"/>
                <a:gd name="connsiteX2" fmla="*/ 42240 w 1193687"/>
                <a:gd name="connsiteY2" fmla="*/ 1567 h 93972"/>
                <a:gd name="connsiteX3" fmla="*/ 43979 w 1193687"/>
                <a:gd name="connsiteY3" fmla="*/ 2904 h 93972"/>
                <a:gd name="connsiteX4" fmla="*/ 75145 w 1193687"/>
                <a:gd name="connsiteY4" fmla="*/ 91187 h 93972"/>
                <a:gd name="connsiteX5" fmla="*/ 74209 w 1193687"/>
                <a:gd name="connsiteY5" fmla="*/ 92524 h 93972"/>
                <a:gd name="connsiteX6" fmla="*/ 64846 w 1193687"/>
                <a:gd name="connsiteY6" fmla="*/ 92524 h 93972"/>
                <a:gd name="connsiteX7" fmla="*/ 63107 w 1193687"/>
                <a:gd name="connsiteY7" fmla="*/ 91187 h 93972"/>
                <a:gd name="connsiteX8" fmla="*/ 56151 w 1193687"/>
                <a:gd name="connsiteY8" fmla="*/ 71390 h 93972"/>
                <a:gd name="connsiteX9" fmla="*/ 19367 w 1193687"/>
                <a:gd name="connsiteY9" fmla="*/ 71390 h 93972"/>
                <a:gd name="connsiteX10" fmla="*/ 12411 w 1193687"/>
                <a:gd name="connsiteY10" fmla="*/ 91187 h 93972"/>
                <a:gd name="connsiteX11" fmla="*/ 10672 w 1193687"/>
                <a:gd name="connsiteY11" fmla="*/ 92524 h 93972"/>
                <a:gd name="connsiteX12" fmla="*/ 1309 w 1193687"/>
                <a:gd name="connsiteY12" fmla="*/ 92524 h 93972"/>
                <a:gd name="connsiteX13" fmla="*/ 373 w 1193687"/>
                <a:gd name="connsiteY13" fmla="*/ 91187 h 93972"/>
                <a:gd name="connsiteX14" fmla="*/ 52272 w 1193687"/>
                <a:gd name="connsiteY14" fmla="*/ 60422 h 93972"/>
                <a:gd name="connsiteX15" fmla="*/ 37960 w 1193687"/>
                <a:gd name="connsiteY15" fmla="*/ 19089 h 93972"/>
                <a:gd name="connsiteX16" fmla="*/ 37692 w 1193687"/>
                <a:gd name="connsiteY16" fmla="*/ 19089 h 93972"/>
                <a:gd name="connsiteX17" fmla="*/ 23246 w 1193687"/>
                <a:gd name="connsiteY17" fmla="*/ 60422 h 93972"/>
                <a:gd name="connsiteX18" fmla="*/ 105911 w 1193687"/>
                <a:gd name="connsiteY18" fmla="*/ 92524 h 93972"/>
                <a:gd name="connsiteX19" fmla="*/ 104305 w 1193687"/>
                <a:gd name="connsiteY19" fmla="*/ 91187 h 93972"/>
                <a:gd name="connsiteX20" fmla="*/ 74878 w 1193687"/>
                <a:gd name="connsiteY20" fmla="*/ 3172 h 93972"/>
                <a:gd name="connsiteX21" fmla="*/ 74878 w 1193687"/>
                <a:gd name="connsiteY21" fmla="*/ 1968 h 93972"/>
                <a:gd name="connsiteX22" fmla="*/ 75814 w 1193687"/>
                <a:gd name="connsiteY22" fmla="*/ 1567 h 93972"/>
                <a:gd name="connsiteX23" fmla="*/ 84910 w 1193687"/>
                <a:gd name="connsiteY23" fmla="*/ 1567 h 93972"/>
                <a:gd name="connsiteX24" fmla="*/ 86783 w 1193687"/>
                <a:gd name="connsiteY24" fmla="*/ 2904 h 93972"/>
                <a:gd name="connsiteX25" fmla="*/ 110057 w 1193687"/>
                <a:gd name="connsiteY25" fmla="*/ 73129 h 93972"/>
                <a:gd name="connsiteX26" fmla="*/ 110325 w 1193687"/>
                <a:gd name="connsiteY26" fmla="*/ 73129 h 93972"/>
                <a:gd name="connsiteX27" fmla="*/ 132797 w 1193687"/>
                <a:gd name="connsiteY27" fmla="*/ 2904 h 93972"/>
                <a:gd name="connsiteX28" fmla="*/ 134536 w 1193687"/>
                <a:gd name="connsiteY28" fmla="*/ 1567 h 93972"/>
                <a:gd name="connsiteX29" fmla="*/ 143750 w 1193687"/>
                <a:gd name="connsiteY29" fmla="*/ 1567 h 93972"/>
                <a:gd name="connsiteX30" fmla="*/ 144687 w 1193687"/>
                <a:gd name="connsiteY30" fmla="*/ 3172 h 93972"/>
                <a:gd name="connsiteX31" fmla="*/ 115408 w 1193687"/>
                <a:gd name="connsiteY31" fmla="*/ 91187 h 93972"/>
                <a:gd name="connsiteX32" fmla="*/ 113803 w 1193687"/>
                <a:gd name="connsiteY32" fmla="*/ 92524 h 93972"/>
                <a:gd name="connsiteX33" fmla="*/ 158613 w 1193687"/>
                <a:gd name="connsiteY33" fmla="*/ 2904 h 93972"/>
                <a:gd name="connsiteX34" fmla="*/ 159632 w 1193687"/>
                <a:gd name="connsiteY34" fmla="*/ 1567 h 93972"/>
                <a:gd name="connsiteX35" fmla="*/ 159950 w 1193687"/>
                <a:gd name="connsiteY35" fmla="*/ 1567 h 93972"/>
                <a:gd name="connsiteX36" fmla="*/ 169165 w 1193687"/>
                <a:gd name="connsiteY36" fmla="*/ 1567 h 93972"/>
                <a:gd name="connsiteX37" fmla="*/ 170503 w 1193687"/>
                <a:gd name="connsiteY37" fmla="*/ 2586 h 93972"/>
                <a:gd name="connsiteX38" fmla="*/ 170503 w 1193687"/>
                <a:gd name="connsiteY38" fmla="*/ 2904 h 93972"/>
                <a:gd name="connsiteX39" fmla="*/ 170503 w 1193687"/>
                <a:gd name="connsiteY39" fmla="*/ 91187 h 93972"/>
                <a:gd name="connsiteX40" fmla="*/ 169484 w 1193687"/>
                <a:gd name="connsiteY40" fmla="*/ 92524 h 93972"/>
                <a:gd name="connsiteX41" fmla="*/ 169165 w 1193687"/>
                <a:gd name="connsiteY41" fmla="*/ 92524 h 93972"/>
                <a:gd name="connsiteX42" fmla="*/ 159950 w 1193687"/>
                <a:gd name="connsiteY42" fmla="*/ 92524 h 93972"/>
                <a:gd name="connsiteX43" fmla="*/ 158613 w 1193687"/>
                <a:gd name="connsiteY43" fmla="*/ 91505 h 93972"/>
                <a:gd name="connsiteX44" fmla="*/ 158613 w 1193687"/>
                <a:gd name="connsiteY44" fmla="*/ 91187 h 93972"/>
                <a:gd name="connsiteX45" fmla="*/ 216531 w 1193687"/>
                <a:gd name="connsiteY45" fmla="*/ 2904 h 93972"/>
                <a:gd name="connsiteX46" fmla="*/ 218137 w 1193687"/>
                <a:gd name="connsiteY46" fmla="*/ 1567 h 93972"/>
                <a:gd name="connsiteX47" fmla="*/ 226831 w 1193687"/>
                <a:gd name="connsiteY47" fmla="*/ 1567 h 93972"/>
                <a:gd name="connsiteX48" fmla="*/ 228570 w 1193687"/>
                <a:gd name="connsiteY48" fmla="*/ 2904 h 93972"/>
                <a:gd name="connsiteX49" fmla="*/ 259736 w 1193687"/>
                <a:gd name="connsiteY49" fmla="*/ 91187 h 93972"/>
                <a:gd name="connsiteX50" fmla="*/ 258800 w 1193687"/>
                <a:gd name="connsiteY50" fmla="*/ 92524 h 93972"/>
                <a:gd name="connsiteX51" fmla="*/ 249437 w 1193687"/>
                <a:gd name="connsiteY51" fmla="*/ 92524 h 93972"/>
                <a:gd name="connsiteX52" fmla="*/ 247698 w 1193687"/>
                <a:gd name="connsiteY52" fmla="*/ 91187 h 93972"/>
                <a:gd name="connsiteX53" fmla="*/ 240742 w 1193687"/>
                <a:gd name="connsiteY53" fmla="*/ 71390 h 93972"/>
                <a:gd name="connsiteX54" fmla="*/ 203958 w 1193687"/>
                <a:gd name="connsiteY54" fmla="*/ 71390 h 93972"/>
                <a:gd name="connsiteX55" fmla="*/ 197002 w 1193687"/>
                <a:gd name="connsiteY55" fmla="*/ 91187 h 93972"/>
                <a:gd name="connsiteX56" fmla="*/ 195263 w 1193687"/>
                <a:gd name="connsiteY56" fmla="*/ 92524 h 93972"/>
                <a:gd name="connsiteX57" fmla="*/ 185900 w 1193687"/>
                <a:gd name="connsiteY57" fmla="*/ 92524 h 93972"/>
                <a:gd name="connsiteX58" fmla="*/ 184964 w 1193687"/>
                <a:gd name="connsiteY58" fmla="*/ 91187 h 93972"/>
                <a:gd name="connsiteX59" fmla="*/ 236863 w 1193687"/>
                <a:gd name="connsiteY59" fmla="*/ 60422 h 93972"/>
                <a:gd name="connsiteX60" fmla="*/ 222551 w 1193687"/>
                <a:gd name="connsiteY60" fmla="*/ 19089 h 93972"/>
                <a:gd name="connsiteX61" fmla="*/ 222283 w 1193687"/>
                <a:gd name="connsiteY61" fmla="*/ 19089 h 93972"/>
                <a:gd name="connsiteX62" fmla="*/ 207837 w 1193687"/>
                <a:gd name="connsiteY62" fmla="*/ 60422 h 93972"/>
                <a:gd name="connsiteX63" fmla="*/ 284616 w 1193687"/>
                <a:gd name="connsiteY63" fmla="*/ 92524 h 93972"/>
                <a:gd name="connsiteX64" fmla="*/ 283278 w 1193687"/>
                <a:gd name="connsiteY64" fmla="*/ 91505 h 93972"/>
                <a:gd name="connsiteX65" fmla="*/ 283278 w 1193687"/>
                <a:gd name="connsiteY65" fmla="*/ 91187 h 93972"/>
                <a:gd name="connsiteX66" fmla="*/ 283278 w 1193687"/>
                <a:gd name="connsiteY66" fmla="*/ 13457 h 93972"/>
                <a:gd name="connsiteX67" fmla="*/ 282674 w 1193687"/>
                <a:gd name="connsiteY67" fmla="*/ 12654 h 93972"/>
                <a:gd name="connsiteX68" fmla="*/ 282476 w 1193687"/>
                <a:gd name="connsiteY68" fmla="*/ 12654 h 93972"/>
                <a:gd name="connsiteX69" fmla="*/ 257596 w 1193687"/>
                <a:gd name="connsiteY69" fmla="*/ 12654 h 93972"/>
                <a:gd name="connsiteX70" fmla="*/ 256259 w 1193687"/>
                <a:gd name="connsiteY70" fmla="*/ 11635 h 93972"/>
                <a:gd name="connsiteX71" fmla="*/ 256259 w 1193687"/>
                <a:gd name="connsiteY71" fmla="*/ 11316 h 93972"/>
                <a:gd name="connsiteX72" fmla="*/ 256259 w 1193687"/>
                <a:gd name="connsiteY72" fmla="*/ 2904 h 93972"/>
                <a:gd name="connsiteX73" fmla="*/ 257278 w 1193687"/>
                <a:gd name="connsiteY73" fmla="*/ 1567 h 93972"/>
                <a:gd name="connsiteX74" fmla="*/ 257596 w 1193687"/>
                <a:gd name="connsiteY74" fmla="*/ 1567 h 93972"/>
                <a:gd name="connsiteX75" fmla="*/ 320865 w 1193687"/>
                <a:gd name="connsiteY75" fmla="*/ 1567 h 93972"/>
                <a:gd name="connsiteX76" fmla="*/ 322203 w 1193687"/>
                <a:gd name="connsiteY76" fmla="*/ 2586 h 93972"/>
                <a:gd name="connsiteX77" fmla="*/ 322203 w 1193687"/>
                <a:gd name="connsiteY77" fmla="*/ 2904 h 93972"/>
                <a:gd name="connsiteX78" fmla="*/ 322203 w 1193687"/>
                <a:gd name="connsiteY78" fmla="*/ 11331 h 93972"/>
                <a:gd name="connsiteX79" fmla="*/ 321183 w 1193687"/>
                <a:gd name="connsiteY79" fmla="*/ 12669 h 93972"/>
                <a:gd name="connsiteX80" fmla="*/ 320865 w 1193687"/>
                <a:gd name="connsiteY80" fmla="*/ 12669 h 93972"/>
                <a:gd name="connsiteX81" fmla="*/ 295986 w 1193687"/>
                <a:gd name="connsiteY81" fmla="*/ 12669 h 93972"/>
                <a:gd name="connsiteX82" fmla="*/ 295183 w 1193687"/>
                <a:gd name="connsiteY82" fmla="*/ 13273 h 93972"/>
                <a:gd name="connsiteX83" fmla="*/ 295183 w 1193687"/>
                <a:gd name="connsiteY83" fmla="*/ 13471 h 93972"/>
                <a:gd name="connsiteX84" fmla="*/ 295183 w 1193687"/>
                <a:gd name="connsiteY84" fmla="*/ 91187 h 93972"/>
                <a:gd name="connsiteX85" fmla="*/ 294164 w 1193687"/>
                <a:gd name="connsiteY85" fmla="*/ 92524 h 93972"/>
                <a:gd name="connsiteX86" fmla="*/ 293846 w 1193687"/>
                <a:gd name="connsiteY86" fmla="*/ 92524 h 93972"/>
                <a:gd name="connsiteX87" fmla="*/ 336382 w 1193687"/>
                <a:gd name="connsiteY87" fmla="*/ 2904 h 93972"/>
                <a:gd name="connsiteX88" fmla="*/ 337401 w 1193687"/>
                <a:gd name="connsiteY88" fmla="*/ 1567 h 93972"/>
                <a:gd name="connsiteX89" fmla="*/ 337719 w 1193687"/>
                <a:gd name="connsiteY89" fmla="*/ 1567 h 93972"/>
                <a:gd name="connsiteX90" fmla="*/ 346934 w 1193687"/>
                <a:gd name="connsiteY90" fmla="*/ 1567 h 93972"/>
                <a:gd name="connsiteX91" fmla="*/ 348272 w 1193687"/>
                <a:gd name="connsiteY91" fmla="*/ 2586 h 93972"/>
                <a:gd name="connsiteX92" fmla="*/ 348272 w 1193687"/>
                <a:gd name="connsiteY92" fmla="*/ 2904 h 93972"/>
                <a:gd name="connsiteX93" fmla="*/ 348272 w 1193687"/>
                <a:gd name="connsiteY93" fmla="*/ 91187 h 93972"/>
                <a:gd name="connsiteX94" fmla="*/ 347252 w 1193687"/>
                <a:gd name="connsiteY94" fmla="*/ 92524 h 93972"/>
                <a:gd name="connsiteX95" fmla="*/ 346934 w 1193687"/>
                <a:gd name="connsiteY95" fmla="*/ 92524 h 93972"/>
                <a:gd name="connsiteX96" fmla="*/ 337719 w 1193687"/>
                <a:gd name="connsiteY96" fmla="*/ 92524 h 93972"/>
                <a:gd name="connsiteX97" fmla="*/ 336382 w 1193687"/>
                <a:gd name="connsiteY97" fmla="*/ 91505 h 93972"/>
                <a:gd name="connsiteX98" fmla="*/ 336382 w 1193687"/>
                <a:gd name="connsiteY98" fmla="*/ 91187 h 93972"/>
                <a:gd name="connsiteX99" fmla="*/ 400855 w 1193687"/>
                <a:gd name="connsiteY99" fmla="*/ 93996 h 93972"/>
                <a:gd name="connsiteX100" fmla="*/ 381391 w 1193687"/>
                <a:gd name="connsiteY100" fmla="*/ 88645 h 93972"/>
                <a:gd name="connsiteX101" fmla="*/ 369956 w 1193687"/>
                <a:gd name="connsiteY101" fmla="*/ 72728 h 93972"/>
                <a:gd name="connsiteX102" fmla="*/ 368820 w 1193687"/>
                <a:gd name="connsiteY102" fmla="*/ 68566 h 93972"/>
                <a:gd name="connsiteX103" fmla="*/ 368083 w 1193687"/>
                <a:gd name="connsiteY103" fmla="*/ 63552 h 93972"/>
                <a:gd name="connsiteX104" fmla="*/ 367682 w 1193687"/>
                <a:gd name="connsiteY104" fmla="*/ 56661 h 93972"/>
                <a:gd name="connsiteX105" fmla="*/ 367533 w 1193687"/>
                <a:gd name="connsiteY105" fmla="*/ 47046 h 93972"/>
                <a:gd name="connsiteX106" fmla="*/ 367667 w 1193687"/>
                <a:gd name="connsiteY106" fmla="*/ 37415 h 93972"/>
                <a:gd name="connsiteX107" fmla="*/ 368068 w 1193687"/>
                <a:gd name="connsiteY107" fmla="*/ 30527 h 93972"/>
                <a:gd name="connsiteX108" fmla="*/ 368805 w 1193687"/>
                <a:gd name="connsiteY108" fmla="*/ 25513 h 93972"/>
                <a:gd name="connsiteX109" fmla="*/ 369941 w 1193687"/>
                <a:gd name="connsiteY109" fmla="*/ 21351 h 93972"/>
                <a:gd name="connsiteX110" fmla="*/ 381391 w 1193687"/>
                <a:gd name="connsiteY110" fmla="*/ 5431 h 93972"/>
                <a:gd name="connsiteX111" fmla="*/ 420449 w 1193687"/>
                <a:gd name="connsiteY111" fmla="*/ 5431 h 93972"/>
                <a:gd name="connsiteX112" fmla="*/ 431887 w 1193687"/>
                <a:gd name="connsiteY112" fmla="*/ 21348 h 93972"/>
                <a:gd name="connsiteX113" fmla="*/ 433023 w 1193687"/>
                <a:gd name="connsiteY113" fmla="*/ 25510 h 93972"/>
                <a:gd name="connsiteX114" fmla="*/ 433760 w 1193687"/>
                <a:gd name="connsiteY114" fmla="*/ 30527 h 93972"/>
                <a:gd name="connsiteX115" fmla="*/ 434161 w 1193687"/>
                <a:gd name="connsiteY115" fmla="*/ 37415 h 93972"/>
                <a:gd name="connsiteX116" fmla="*/ 434295 w 1193687"/>
                <a:gd name="connsiteY116" fmla="*/ 47046 h 93972"/>
                <a:gd name="connsiteX117" fmla="*/ 434161 w 1193687"/>
                <a:gd name="connsiteY117" fmla="*/ 56676 h 93972"/>
                <a:gd name="connsiteX118" fmla="*/ 433760 w 1193687"/>
                <a:gd name="connsiteY118" fmla="*/ 63567 h 93972"/>
                <a:gd name="connsiteX119" fmla="*/ 433023 w 1193687"/>
                <a:gd name="connsiteY119" fmla="*/ 68584 h 93972"/>
                <a:gd name="connsiteX120" fmla="*/ 431887 w 1193687"/>
                <a:gd name="connsiteY120" fmla="*/ 72746 h 93972"/>
                <a:gd name="connsiteX121" fmla="*/ 420449 w 1193687"/>
                <a:gd name="connsiteY121" fmla="*/ 88663 h 93972"/>
                <a:gd name="connsiteX122" fmla="*/ 400855 w 1193687"/>
                <a:gd name="connsiteY122" fmla="*/ 93996 h 93972"/>
                <a:gd name="connsiteX123" fmla="*/ 400855 w 1193687"/>
                <a:gd name="connsiteY123" fmla="*/ 82894 h 93972"/>
                <a:gd name="connsiteX124" fmla="*/ 413295 w 1193687"/>
                <a:gd name="connsiteY124" fmla="*/ 79416 h 93972"/>
                <a:gd name="connsiteX125" fmla="*/ 420250 w 1193687"/>
                <a:gd name="connsiteY125" fmla="*/ 69384 h 93972"/>
                <a:gd name="connsiteX126" fmla="*/ 420987 w 1193687"/>
                <a:gd name="connsiteY126" fmla="*/ 66373 h 93972"/>
                <a:gd name="connsiteX127" fmla="*/ 421656 w 1193687"/>
                <a:gd name="connsiteY127" fmla="*/ 61893 h 93972"/>
                <a:gd name="connsiteX128" fmla="*/ 422126 w 1193687"/>
                <a:gd name="connsiteY128" fmla="*/ 55606 h 93972"/>
                <a:gd name="connsiteX129" fmla="*/ 422260 w 1193687"/>
                <a:gd name="connsiteY129" fmla="*/ 47046 h 93972"/>
                <a:gd name="connsiteX130" fmla="*/ 422126 w 1193687"/>
                <a:gd name="connsiteY130" fmla="*/ 38485 h 93972"/>
                <a:gd name="connsiteX131" fmla="*/ 421656 w 1193687"/>
                <a:gd name="connsiteY131" fmla="*/ 32198 h 93972"/>
                <a:gd name="connsiteX132" fmla="*/ 420987 w 1193687"/>
                <a:gd name="connsiteY132" fmla="*/ 27718 h 93972"/>
                <a:gd name="connsiteX133" fmla="*/ 420250 w 1193687"/>
                <a:gd name="connsiteY133" fmla="*/ 24707 h 93972"/>
                <a:gd name="connsiteX134" fmla="*/ 413295 w 1193687"/>
                <a:gd name="connsiteY134" fmla="*/ 14675 h 93972"/>
                <a:gd name="connsiteX135" fmla="*/ 400855 w 1193687"/>
                <a:gd name="connsiteY135" fmla="*/ 11197 h 93972"/>
                <a:gd name="connsiteX136" fmla="*/ 388480 w 1193687"/>
                <a:gd name="connsiteY136" fmla="*/ 14675 h 93972"/>
                <a:gd name="connsiteX137" fmla="*/ 381593 w 1193687"/>
                <a:gd name="connsiteY137" fmla="*/ 24707 h 93972"/>
                <a:gd name="connsiteX138" fmla="*/ 380859 w 1193687"/>
                <a:gd name="connsiteY138" fmla="*/ 27718 h 93972"/>
                <a:gd name="connsiteX139" fmla="*/ 380190 w 1193687"/>
                <a:gd name="connsiteY139" fmla="*/ 32198 h 93972"/>
                <a:gd name="connsiteX140" fmla="*/ 379720 w 1193687"/>
                <a:gd name="connsiteY140" fmla="*/ 38485 h 93972"/>
                <a:gd name="connsiteX141" fmla="*/ 379587 w 1193687"/>
                <a:gd name="connsiteY141" fmla="*/ 47046 h 93972"/>
                <a:gd name="connsiteX142" fmla="*/ 379720 w 1193687"/>
                <a:gd name="connsiteY142" fmla="*/ 55606 h 93972"/>
                <a:gd name="connsiteX143" fmla="*/ 380190 w 1193687"/>
                <a:gd name="connsiteY143" fmla="*/ 61893 h 93972"/>
                <a:gd name="connsiteX144" fmla="*/ 380859 w 1193687"/>
                <a:gd name="connsiteY144" fmla="*/ 66373 h 93972"/>
                <a:gd name="connsiteX145" fmla="*/ 381593 w 1193687"/>
                <a:gd name="connsiteY145" fmla="*/ 69384 h 93972"/>
                <a:gd name="connsiteX146" fmla="*/ 388480 w 1193687"/>
                <a:gd name="connsiteY146" fmla="*/ 79416 h 93972"/>
                <a:gd name="connsiteX147" fmla="*/ 400855 w 1193687"/>
                <a:gd name="connsiteY147" fmla="*/ 82894 h 93972"/>
                <a:gd name="connsiteX148" fmla="*/ 453557 w 1193687"/>
                <a:gd name="connsiteY148" fmla="*/ 2904 h 93972"/>
                <a:gd name="connsiteX149" fmla="*/ 454576 w 1193687"/>
                <a:gd name="connsiteY149" fmla="*/ 1567 h 93972"/>
                <a:gd name="connsiteX150" fmla="*/ 454894 w 1193687"/>
                <a:gd name="connsiteY150" fmla="*/ 1567 h 93972"/>
                <a:gd name="connsiteX151" fmla="*/ 463455 w 1193687"/>
                <a:gd name="connsiteY151" fmla="*/ 1567 h 93972"/>
                <a:gd name="connsiteX152" fmla="*/ 465729 w 1193687"/>
                <a:gd name="connsiteY152" fmla="*/ 2904 h 93972"/>
                <a:gd name="connsiteX153" fmla="*/ 506928 w 1193687"/>
                <a:gd name="connsiteY153" fmla="*/ 71123 h 93972"/>
                <a:gd name="connsiteX154" fmla="*/ 507463 w 1193687"/>
                <a:gd name="connsiteY154" fmla="*/ 71123 h 93972"/>
                <a:gd name="connsiteX155" fmla="*/ 507463 w 1193687"/>
                <a:gd name="connsiteY155" fmla="*/ 2904 h 93972"/>
                <a:gd name="connsiteX156" fmla="*/ 508482 w 1193687"/>
                <a:gd name="connsiteY156" fmla="*/ 1567 h 93972"/>
                <a:gd name="connsiteX157" fmla="*/ 508800 w 1193687"/>
                <a:gd name="connsiteY157" fmla="*/ 1567 h 93972"/>
                <a:gd name="connsiteX158" fmla="*/ 517227 w 1193687"/>
                <a:gd name="connsiteY158" fmla="*/ 1567 h 93972"/>
                <a:gd name="connsiteX159" fmla="*/ 518565 w 1193687"/>
                <a:gd name="connsiteY159" fmla="*/ 2586 h 93972"/>
                <a:gd name="connsiteX160" fmla="*/ 518565 w 1193687"/>
                <a:gd name="connsiteY160" fmla="*/ 2904 h 93972"/>
                <a:gd name="connsiteX161" fmla="*/ 518565 w 1193687"/>
                <a:gd name="connsiteY161" fmla="*/ 91187 h 93972"/>
                <a:gd name="connsiteX162" fmla="*/ 517545 w 1193687"/>
                <a:gd name="connsiteY162" fmla="*/ 92524 h 93972"/>
                <a:gd name="connsiteX163" fmla="*/ 517227 w 1193687"/>
                <a:gd name="connsiteY163" fmla="*/ 92524 h 93972"/>
                <a:gd name="connsiteX164" fmla="*/ 508667 w 1193687"/>
                <a:gd name="connsiteY164" fmla="*/ 92524 h 93972"/>
                <a:gd name="connsiteX165" fmla="*/ 506393 w 1193687"/>
                <a:gd name="connsiteY165" fmla="*/ 91187 h 93972"/>
                <a:gd name="connsiteX166" fmla="*/ 465060 w 1193687"/>
                <a:gd name="connsiteY166" fmla="*/ 23236 h 93972"/>
                <a:gd name="connsiteX167" fmla="*/ 464659 w 1193687"/>
                <a:gd name="connsiteY167" fmla="*/ 23236 h 93972"/>
                <a:gd name="connsiteX168" fmla="*/ 464659 w 1193687"/>
                <a:gd name="connsiteY168" fmla="*/ 91187 h 93972"/>
                <a:gd name="connsiteX169" fmla="*/ 463639 w 1193687"/>
                <a:gd name="connsiteY169" fmla="*/ 92524 h 93972"/>
                <a:gd name="connsiteX170" fmla="*/ 463321 w 1193687"/>
                <a:gd name="connsiteY170" fmla="*/ 92524 h 93972"/>
                <a:gd name="connsiteX171" fmla="*/ 454894 w 1193687"/>
                <a:gd name="connsiteY171" fmla="*/ 92524 h 93972"/>
                <a:gd name="connsiteX172" fmla="*/ 453557 w 1193687"/>
                <a:gd name="connsiteY172" fmla="*/ 91505 h 93972"/>
                <a:gd name="connsiteX173" fmla="*/ 453557 w 1193687"/>
                <a:gd name="connsiteY173" fmla="*/ 91187 h 93972"/>
                <a:gd name="connsiteX174" fmla="*/ 539164 w 1193687"/>
                <a:gd name="connsiteY174" fmla="*/ 79683 h 93972"/>
                <a:gd name="connsiteX175" fmla="*/ 540184 w 1193687"/>
                <a:gd name="connsiteY175" fmla="*/ 78346 h 93972"/>
                <a:gd name="connsiteX176" fmla="*/ 540502 w 1193687"/>
                <a:gd name="connsiteY176" fmla="*/ 78346 h 93972"/>
                <a:gd name="connsiteX177" fmla="*/ 550668 w 1193687"/>
                <a:gd name="connsiteY177" fmla="*/ 78346 h 93972"/>
                <a:gd name="connsiteX178" fmla="*/ 552005 w 1193687"/>
                <a:gd name="connsiteY178" fmla="*/ 79365 h 93972"/>
                <a:gd name="connsiteX179" fmla="*/ 552005 w 1193687"/>
                <a:gd name="connsiteY179" fmla="*/ 79683 h 93972"/>
                <a:gd name="connsiteX180" fmla="*/ 552005 w 1193687"/>
                <a:gd name="connsiteY180" fmla="*/ 91187 h 93972"/>
                <a:gd name="connsiteX181" fmla="*/ 550986 w 1193687"/>
                <a:gd name="connsiteY181" fmla="*/ 92524 h 93972"/>
                <a:gd name="connsiteX182" fmla="*/ 550668 w 1193687"/>
                <a:gd name="connsiteY182" fmla="*/ 92524 h 93972"/>
                <a:gd name="connsiteX183" fmla="*/ 540502 w 1193687"/>
                <a:gd name="connsiteY183" fmla="*/ 92524 h 93972"/>
                <a:gd name="connsiteX184" fmla="*/ 539164 w 1193687"/>
                <a:gd name="connsiteY184" fmla="*/ 91505 h 93972"/>
                <a:gd name="connsiteX185" fmla="*/ 539164 w 1193687"/>
                <a:gd name="connsiteY185" fmla="*/ 91187 h 93972"/>
                <a:gd name="connsiteX186" fmla="*/ 601883 w 1193687"/>
                <a:gd name="connsiteY186" fmla="*/ 2904 h 93972"/>
                <a:gd name="connsiteX187" fmla="*/ 602903 w 1193687"/>
                <a:gd name="connsiteY187" fmla="*/ 1567 h 93972"/>
                <a:gd name="connsiteX188" fmla="*/ 603221 w 1193687"/>
                <a:gd name="connsiteY188" fmla="*/ 1567 h 93972"/>
                <a:gd name="connsiteX189" fmla="*/ 612465 w 1193687"/>
                <a:gd name="connsiteY189" fmla="*/ 1567 h 93972"/>
                <a:gd name="connsiteX190" fmla="*/ 613803 w 1193687"/>
                <a:gd name="connsiteY190" fmla="*/ 2586 h 93972"/>
                <a:gd name="connsiteX191" fmla="*/ 613803 w 1193687"/>
                <a:gd name="connsiteY191" fmla="*/ 2904 h 93972"/>
                <a:gd name="connsiteX192" fmla="*/ 613803 w 1193687"/>
                <a:gd name="connsiteY192" fmla="*/ 80620 h 93972"/>
                <a:gd name="connsiteX193" fmla="*/ 614406 w 1193687"/>
                <a:gd name="connsiteY193" fmla="*/ 81422 h 93972"/>
                <a:gd name="connsiteX194" fmla="*/ 614606 w 1193687"/>
                <a:gd name="connsiteY194" fmla="*/ 81422 h 93972"/>
                <a:gd name="connsiteX195" fmla="*/ 657944 w 1193687"/>
                <a:gd name="connsiteY195" fmla="*/ 81422 h 93972"/>
                <a:gd name="connsiteX196" fmla="*/ 659282 w 1193687"/>
                <a:gd name="connsiteY196" fmla="*/ 82441 h 93972"/>
                <a:gd name="connsiteX197" fmla="*/ 659282 w 1193687"/>
                <a:gd name="connsiteY197" fmla="*/ 82760 h 93972"/>
                <a:gd name="connsiteX198" fmla="*/ 659282 w 1193687"/>
                <a:gd name="connsiteY198" fmla="*/ 91187 h 93972"/>
                <a:gd name="connsiteX199" fmla="*/ 658262 w 1193687"/>
                <a:gd name="connsiteY199" fmla="*/ 92524 h 93972"/>
                <a:gd name="connsiteX200" fmla="*/ 657944 w 1193687"/>
                <a:gd name="connsiteY200" fmla="*/ 92524 h 93972"/>
                <a:gd name="connsiteX201" fmla="*/ 603251 w 1193687"/>
                <a:gd name="connsiteY201" fmla="*/ 92524 h 93972"/>
                <a:gd name="connsiteX202" fmla="*/ 601913 w 1193687"/>
                <a:gd name="connsiteY202" fmla="*/ 91505 h 93972"/>
                <a:gd name="connsiteX203" fmla="*/ 601913 w 1193687"/>
                <a:gd name="connsiteY203" fmla="*/ 91187 h 93972"/>
                <a:gd name="connsiteX204" fmla="*/ 703958 w 1193687"/>
                <a:gd name="connsiteY204" fmla="*/ 93996 h 93972"/>
                <a:gd name="connsiteX205" fmla="*/ 684495 w 1193687"/>
                <a:gd name="connsiteY205" fmla="*/ 88645 h 93972"/>
                <a:gd name="connsiteX206" fmla="*/ 673056 w 1193687"/>
                <a:gd name="connsiteY206" fmla="*/ 72728 h 93972"/>
                <a:gd name="connsiteX207" fmla="*/ 671921 w 1193687"/>
                <a:gd name="connsiteY207" fmla="*/ 68566 h 93972"/>
                <a:gd name="connsiteX208" fmla="*/ 671187 w 1193687"/>
                <a:gd name="connsiteY208" fmla="*/ 63552 h 93972"/>
                <a:gd name="connsiteX209" fmla="*/ 670785 w 1193687"/>
                <a:gd name="connsiteY209" fmla="*/ 56661 h 93972"/>
                <a:gd name="connsiteX210" fmla="*/ 670652 w 1193687"/>
                <a:gd name="connsiteY210" fmla="*/ 47031 h 93972"/>
                <a:gd name="connsiteX211" fmla="*/ 670785 w 1193687"/>
                <a:gd name="connsiteY211" fmla="*/ 37400 h 93972"/>
                <a:gd name="connsiteX212" fmla="*/ 671187 w 1193687"/>
                <a:gd name="connsiteY212" fmla="*/ 30513 h 93972"/>
                <a:gd name="connsiteX213" fmla="*/ 671915 w 1193687"/>
                <a:gd name="connsiteY213" fmla="*/ 25510 h 93972"/>
                <a:gd name="connsiteX214" fmla="*/ 673051 w 1193687"/>
                <a:gd name="connsiteY214" fmla="*/ 21348 h 93972"/>
                <a:gd name="connsiteX215" fmla="*/ 684495 w 1193687"/>
                <a:gd name="connsiteY215" fmla="*/ 5431 h 93972"/>
                <a:gd name="connsiteX216" fmla="*/ 723553 w 1193687"/>
                <a:gd name="connsiteY216" fmla="*/ 5431 h 93972"/>
                <a:gd name="connsiteX217" fmla="*/ 734991 w 1193687"/>
                <a:gd name="connsiteY217" fmla="*/ 21348 h 93972"/>
                <a:gd name="connsiteX218" fmla="*/ 736126 w 1193687"/>
                <a:gd name="connsiteY218" fmla="*/ 25510 h 93972"/>
                <a:gd name="connsiteX219" fmla="*/ 736864 w 1193687"/>
                <a:gd name="connsiteY219" fmla="*/ 30527 h 93972"/>
                <a:gd name="connsiteX220" fmla="*/ 737265 w 1193687"/>
                <a:gd name="connsiteY220" fmla="*/ 37415 h 93972"/>
                <a:gd name="connsiteX221" fmla="*/ 737399 w 1193687"/>
                <a:gd name="connsiteY221" fmla="*/ 47046 h 93972"/>
                <a:gd name="connsiteX222" fmla="*/ 737265 w 1193687"/>
                <a:gd name="connsiteY222" fmla="*/ 56676 h 93972"/>
                <a:gd name="connsiteX223" fmla="*/ 736864 w 1193687"/>
                <a:gd name="connsiteY223" fmla="*/ 63567 h 93972"/>
                <a:gd name="connsiteX224" fmla="*/ 736126 w 1193687"/>
                <a:gd name="connsiteY224" fmla="*/ 68584 h 93972"/>
                <a:gd name="connsiteX225" fmla="*/ 734991 w 1193687"/>
                <a:gd name="connsiteY225" fmla="*/ 72746 h 93972"/>
                <a:gd name="connsiteX226" fmla="*/ 723553 w 1193687"/>
                <a:gd name="connsiteY226" fmla="*/ 88663 h 93972"/>
                <a:gd name="connsiteX227" fmla="*/ 703958 w 1193687"/>
                <a:gd name="connsiteY227" fmla="*/ 93996 h 93972"/>
                <a:gd name="connsiteX228" fmla="*/ 703958 w 1193687"/>
                <a:gd name="connsiteY228" fmla="*/ 82894 h 93972"/>
                <a:gd name="connsiteX229" fmla="*/ 716398 w 1193687"/>
                <a:gd name="connsiteY229" fmla="*/ 79416 h 93972"/>
                <a:gd name="connsiteX230" fmla="*/ 723354 w 1193687"/>
                <a:gd name="connsiteY230" fmla="*/ 69384 h 93972"/>
                <a:gd name="connsiteX231" fmla="*/ 724091 w 1193687"/>
                <a:gd name="connsiteY231" fmla="*/ 66373 h 93972"/>
                <a:gd name="connsiteX232" fmla="*/ 724760 w 1193687"/>
                <a:gd name="connsiteY232" fmla="*/ 61893 h 93972"/>
                <a:gd name="connsiteX233" fmla="*/ 725229 w 1193687"/>
                <a:gd name="connsiteY233" fmla="*/ 55606 h 93972"/>
                <a:gd name="connsiteX234" fmla="*/ 725363 w 1193687"/>
                <a:gd name="connsiteY234" fmla="*/ 47046 h 93972"/>
                <a:gd name="connsiteX235" fmla="*/ 725229 w 1193687"/>
                <a:gd name="connsiteY235" fmla="*/ 38485 h 93972"/>
                <a:gd name="connsiteX236" fmla="*/ 724760 w 1193687"/>
                <a:gd name="connsiteY236" fmla="*/ 32198 h 93972"/>
                <a:gd name="connsiteX237" fmla="*/ 724091 w 1193687"/>
                <a:gd name="connsiteY237" fmla="*/ 27718 h 93972"/>
                <a:gd name="connsiteX238" fmla="*/ 723354 w 1193687"/>
                <a:gd name="connsiteY238" fmla="*/ 24707 h 93972"/>
                <a:gd name="connsiteX239" fmla="*/ 716398 w 1193687"/>
                <a:gd name="connsiteY239" fmla="*/ 14675 h 93972"/>
                <a:gd name="connsiteX240" fmla="*/ 703958 w 1193687"/>
                <a:gd name="connsiteY240" fmla="*/ 11197 h 93972"/>
                <a:gd name="connsiteX241" fmla="*/ 691584 w 1193687"/>
                <a:gd name="connsiteY241" fmla="*/ 14675 h 93972"/>
                <a:gd name="connsiteX242" fmla="*/ 684697 w 1193687"/>
                <a:gd name="connsiteY242" fmla="*/ 24707 h 93972"/>
                <a:gd name="connsiteX243" fmla="*/ 683962 w 1193687"/>
                <a:gd name="connsiteY243" fmla="*/ 27718 h 93972"/>
                <a:gd name="connsiteX244" fmla="*/ 683294 w 1193687"/>
                <a:gd name="connsiteY244" fmla="*/ 32198 h 93972"/>
                <a:gd name="connsiteX245" fmla="*/ 682824 w 1193687"/>
                <a:gd name="connsiteY245" fmla="*/ 38485 h 93972"/>
                <a:gd name="connsiteX246" fmla="*/ 682690 w 1193687"/>
                <a:gd name="connsiteY246" fmla="*/ 47046 h 93972"/>
                <a:gd name="connsiteX247" fmla="*/ 682824 w 1193687"/>
                <a:gd name="connsiteY247" fmla="*/ 55606 h 93972"/>
                <a:gd name="connsiteX248" fmla="*/ 683294 w 1193687"/>
                <a:gd name="connsiteY248" fmla="*/ 61893 h 93972"/>
                <a:gd name="connsiteX249" fmla="*/ 683962 w 1193687"/>
                <a:gd name="connsiteY249" fmla="*/ 66373 h 93972"/>
                <a:gd name="connsiteX250" fmla="*/ 684697 w 1193687"/>
                <a:gd name="connsiteY250" fmla="*/ 69384 h 93972"/>
                <a:gd name="connsiteX251" fmla="*/ 691584 w 1193687"/>
                <a:gd name="connsiteY251" fmla="*/ 79416 h 93972"/>
                <a:gd name="connsiteX252" fmla="*/ 703958 w 1193687"/>
                <a:gd name="connsiteY252" fmla="*/ 82894 h 93972"/>
                <a:gd name="connsiteX253" fmla="*/ 755858 w 1193687"/>
                <a:gd name="connsiteY253" fmla="*/ 72728 h 93972"/>
                <a:gd name="connsiteX254" fmla="*/ 754788 w 1193687"/>
                <a:gd name="connsiteY254" fmla="*/ 68566 h 93972"/>
                <a:gd name="connsiteX255" fmla="*/ 754053 w 1193687"/>
                <a:gd name="connsiteY255" fmla="*/ 63552 h 93972"/>
                <a:gd name="connsiteX256" fmla="*/ 753584 w 1193687"/>
                <a:gd name="connsiteY256" fmla="*/ 56661 h 93972"/>
                <a:gd name="connsiteX257" fmla="*/ 753450 w 1193687"/>
                <a:gd name="connsiteY257" fmla="*/ 47031 h 93972"/>
                <a:gd name="connsiteX258" fmla="*/ 753584 w 1193687"/>
                <a:gd name="connsiteY258" fmla="*/ 37400 h 93972"/>
                <a:gd name="connsiteX259" fmla="*/ 754053 w 1193687"/>
                <a:gd name="connsiteY259" fmla="*/ 30513 h 93972"/>
                <a:gd name="connsiteX260" fmla="*/ 754788 w 1193687"/>
                <a:gd name="connsiteY260" fmla="*/ 25498 h 93972"/>
                <a:gd name="connsiteX261" fmla="*/ 755858 w 1193687"/>
                <a:gd name="connsiteY261" fmla="*/ 21337 h 93972"/>
                <a:gd name="connsiteX262" fmla="*/ 767361 w 1193687"/>
                <a:gd name="connsiteY262" fmla="*/ 5431 h 93972"/>
                <a:gd name="connsiteX263" fmla="*/ 787024 w 1193687"/>
                <a:gd name="connsiteY263" fmla="*/ 80 h 93972"/>
                <a:gd name="connsiteX264" fmla="*/ 797859 w 1193687"/>
                <a:gd name="connsiteY264" fmla="*/ 1483 h 93972"/>
                <a:gd name="connsiteX265" fmla="*/ 806420 w 1193687"/>
                <a:gd name="connsiteY265" fmla="*/ 5362 h 93972"/>
                <a:gd name="connsiteX266" fmla="*/ 812840 w 1193687"/>
                <a:gd name="connsiteY266" fmla="*/ 11114 h 93972"/>
                <a:gd name="connsiteX267" fmla="*/ 817254 w 1193687"/>
                <a:gd name="connsiteY267" fmla="*/ 18135 h 93972"/>
                <a:gd name="connsiteX268" fmla="*/ 817061 w 1193687"/>
                <a:gd name="connsiteY268" fmla="*/ 19873 h 93972"/>
                <a:gd name="connsiteX269" fmla="*/ 816853 w 1193687"/>
                <a:gd name="connsiteY269" fmla="*/ 20008 h 93972"/>
                <a:gd name="connsiteX270" fmla="*/ 808827 w 1193687"/>
                <a:gd name="connsiteY270" fmla="*/ 23872 h 93972"/>
                <a:gd name="connsiteX271" fmla="*/ 806955 w 1193687"/>
                <a:gd name="connsiteY271" fmla="*/ 23203 h 93972"/>
                <a:gd name="connsiteX272" fmla="*/ 798929 w 1193687"/>
                <a:gd name="connsiteY272" fmla="*/ 14107 h 93972"/>
                <a:gd name="connsiteX273" fmla="*/ 787039 w 1193687"/>
                <a:gd name="connsiteY273" fmla="*/ 11165 h 93972"/>
                <a:gd name="connsiteX274" fmla="*/ 774397 w 1193687"/>
                <a:gd name="connsiteY274" fmla="*/ 14643 h 93972"/>
                <a:gd name="connsiteX275" fmla="*/ 767373 w 1193687"/>
                <a:gd name="connsiteY275" fmla="*/ 24675 h 93972"/>
                <a:gd name="connsiteX276" fmla="*/ 766571 w 1193687"/>
                <a:gd name="connsiteY276" fmla="*/ 27617 h 93972"/>
                <a:gd name="connsiteX277" fmla="*/ 765976 w 1193687"/>
                <a:gd name="connsiteY277" fmla="*/ 31898 h 93972"/>
                <a:gd name="connsiteX278" fmla="*/ 765643 w 1193687"/>
                <a:gd name="connsiteY278" fmla="*/ 38116 h 93972"/>
                <a:gd name="connsiteX279" fmla="*/ 765489 w 1193687"/>
                <a:gd name="connsiteY279" fmla="*/ 47046 h 93972"/>
                <a:gd name="connsiteX280" fmla="*/ 765622 w 1193687"/>
                <a:gd name="connsiteY280" fmla="*/ 55942 h 93972"/>
                <a:gd name="connsiteX281" fmla="*/ 765955 w 1193687"/>
                <a:gd name="connsiteY281" fmla="*/ 62161 h 93972"/>
                <a:gd name="connsiteX282" fmla="*/ 766550 w 1193687"/>
                <a:gd name="connsiteY282" fmla="*/ 66441 h 93972"/>
                <a:gd name="connsiteX283" fmla="*/ 767352 w 1193687"/>
                <a:gd name="connsiteY283" fmla="*/ 69384 h 93972"/>
                <a:gd name="connsiteX284" fmla="*/ 774376 w 1193687"/>
                <a:gd name="connsiteY284" fmla="*/ 79416 h 93972"/>
                <a:gd name="connsiteX285" fmla="*/ 787018 w 1193687"/>
                <a:gd name="connsiteY285" fmla="*/ 82894 h 93972"/>
                <a:gd name="connsiteX286" fmla="*/ 799205 w 1193687"/>
                <a:gd name="connsiteY286" fmla="*/ 79550 h 93972"/>
                <a:gd name="connsiteX287" fmla="*/ 806562 w 1193687"/>
                <a:gd name="connsiteY287" fmla="*/ 69785 h 93972"/>
                <a:gd name="connsiteX288" fmla="*/ 807751 w 1193687"/>
                <a:gd name="connsiteY288" fmla="*/ 64033 h 93972"/>
                <a:gd name="connsiteX289" fmla="*/ 808286 w 1193687"/>
                <a:gd name="connsiteY289" fmla="*/ 55472 h 93972"/>
                <a:gd name="connsiteX290" fmla="*/ 807683 w 1193687"/>
                <a:gd name="connsiteY290" fmla="*/ 54670 h 93972"/>
                <a:gd name="connsiteX291" fmla="*/ 807484 w 1193687"/>
                <a:gd name="connsiteY291" fmla="*/ 54670 h 93972"/>
                <a:gd name="connsiteX292" fmla="*/ 789827 w 1193687"/>
                <a:gd name="connsiteY292" fmla="*/ 54670 h 93972"/>
                <a:gd name="connsiteX293" fmla="*/ 788490 w 1193687"/>
                <a:gd name="connsiteY293" fmla="*/ 53651 h 93972"/>
                <a:gd name="connsiteX294" fmla="*/ 788490 w 1193687"/>
                <a:gd name="connsiteY294" fmla="*/ 53332 h 93972"/>
                <a:gd name="connsiteX295" fmla="*/ 788490 w 1193687"/>
                <a:gd name="connsiteY295" fmla="*/ 45559 h 93972"/>
                <a:gd name="connsiteX296" fmla="*/ 789509 w 1193687"/>
                <a:gd name="connsiteY296" fmla="*/ 44222 h 93972"/>
                <a:gd name="connsiteX297" fmla="*/ 789827 w 1193687"/>
                <a:gd name="connsiteY297" fmla="*/ 44222 h 93972"/>
                <a:gd name="connsiteX298" fmla="*/ 818854 w 1193687"/>
                <a:gd name="connsiteY298" fmla="*/ 44222 h 93972"/>
                <a:gd name="connsiteX299" fmla="*/ 820191 w 1193687"/>
                <a:gd name="connsiteY299" fmla="*/ 45241 h 93972"/>
                <a:gd name="connsiteX300" fmla="*/ 820191 w 1193687"/>
                <a:gd name="connsiteY300" fmla="*/ 45559 h 93972"/>
                <a:gd name="connsiteX301" fmla="*/ 820191 w 1193687"/>
                <a:gd name="connsiteY301" fmla="*/ 52396 h 93972"/>
                <a:gd name="connsiteX302" fmla="*/ 819597 w 1193687"/>
                <a:gd name="connsiteY302" fmla="*/ 63831 h 93972"/>
                <a:gd name="connsiteX303" fmla="*/ 817926 w 1193687"/>
                <a:gd name="connsiteY303" fmla="*/ 72451 h 93972"/>
                <a:gd name="connsiteX304" fmla="*/ 806488 w 1193687"/>
                <a:gd name="connsiteY304" fmla="*/ 88434 h 93972"/>
                <a:gd name="connsiteX305" fmla="*/ 787027 w 1193687"/>
                <a:gd name="connsiteY305" fmla="*/ 93987 h 93972"/>
                <a:gd name="connsiteX306" fmla="*/ 767364 w 1193687"/>
                <a:gd name="connsiteY306" fmla="*/ 88636 h 93972"/>
                <a:gd name="connsiteX307" fmla="*/ 755858 w 1193687"/>
                <a:gd name="connsiteY307" fmla="*/ 72728 h 93972"/>
                <a:gd name="connsiteX308" fmla="*/ 839459 w 1193687"/>
                <a:gd name="connsiteY308" fmla="*/ 2904 h 93972"/>
                <a:gd name="connsiteX309" fmla="*/ 840478 w 1193687"/>
                <a:gd name="connsiteY309" fmla="*/ 1567 h 93972"/>
                <a:gd name="connsiteX310" fmla="*/ 840796 w 1193687"/>
                <a:gd name="connsiteY310" fmla="*/ 1567 h 93972"/>
                <a:gd name="connsiteX311" fmla="*/ 850011 w 1193687"/>
                <a:gd name="connsiteY311" fmla="*/ 1567 h 93972"/>
                <a:gd name="connsiteX312" fmla="*/ 851349 w 1193687"/>
                <a:gd name="connsiteY312" fmla="*/ 2586 h 93972"/>
                <a:gd name="connsiteX313" fmla="*/ 851349 w 1193687"/>
                <a:gd name="connsiteY313" fmla="*/ 2904 h 93972"/>
                <a:gd name="connsiteX314" fmla="*/ 851349 w 1193687"/>
                <a:gd name="connsiteY314" fmla="*/ 91187 h 93972"/>
                <a:gd name="connsiteX315" fmla="*/ 850329 w 1193687"/>
                <a:gd name="connsiteY315" fmla="*/ 92524 h 93972"/>
                <a:gd name="connsiteX316" fmla="*/ 850011 w 1193687"/>
                <a:gd name="connsiteY316" fmla="*/ 92524 h 93972"/>
                <a:gd name="connsiteX317" fmla="*/ 840796 w 1193687"/>
                <a:gd name="connsiteY317" fmla="*/ 92524 h 93972"/>
                <a:gd name="connsiteX318" fmla="*/ 839459 w 1193687"/>
                <a:gd name="connsiteY318" fmla="*/ 91505 h 93972"/>
                <a:gd name="connsiteX319" fmla="*/ 839459 w 1193687"/>
                <a:gd name="connsiteY319" fmla="*/ 91187 h 93972"/>
                <a:gd name="connsiteX320" fmla="*/ 901390 w 1193687"/>
                <a:gd name="connsiteY320" fmla="*/ 93996 h 93972"/>
                <a:gd name="connsiteX321" fmla="*/ 891893 w 1193687"/>
                <a:gd name="connsiteY321" fmla="*/ 93059 h 93972"/>
                <a:gd name="connsiteX322" fmla="*/ 883065 w 1193687"/>
                <a:gd name="connsiteY322" fmla="*/ 90583 h 93972"/>
                <a:gd name="connsiteX323" fmla="*/ 875441 w 1193687"/>
                <a:gd name="connsiteY323" fmla="*/ 86972 h 93972"/>
                <a:gd name="connsiteX324" fmla="*/ 869421 w 1193687"/>
                <a:gd name="connsiteY324" fmla="*/ 82626 h 93972"/>
                <a:gd name="connsiteX325" fmla="*/ 869225 w 1193687"/>
                <a:gd name="connsiteY325" fmla="*/ 80689 h 93972"/>
                <a:gd name="connsiteX326" fmla="*/ 869288 w 1193687"/>
                <a:gd name="connsiteY326" fmla="*/ 80620 h 93972"/>
                <a:gd name="connsiteX327" fmla="*/ 875173 w 1193687"/>
                <a:gd name="connsiteY327" fmla="*/ 73664 h 93972"/>
                <a:gd name="connsiteX328" fmla="*/ 876882 w 1193687"/>
                <a:gd name="connsiteY328" fmla="*/ 73389 h 93972"/>
                <a:gd name="connsiteX329" fmla="*/ 877046 w 1193687"/>
                <a:gd name="connsiteY329" fmla="*/ 73530 h 93972"/>
                <a:gd name="connsiteX330" fmla="*/ 888014 w 1193687"/>
                <a:gd name="connsiteY330" fmla="*/ 79951 h 93972"/>
                <a:gd name="connsiteX331" fmla="*/ 902460 w 1193687"/>
                <a:gd name="connsiteY331" fmla="*/ 82894 h 93972"/>
                <a:gd name="connsiteX332" fmla="*/ 917242 w 1193687"/>
                <a:gd name="connsiteY332" fmla="*/ 78613 h 93972"/>
                <a:gd name="connsiteX333" fmla="*/ 922525 w 1193687"/>
                <a:gd name="connsiteY333" fmla="*/ 67377 h 93972"/>
                <a:gd name="connsiteX334" fmla="*/ 921588 w 1193687"/>
                <a:gd name="connsiteY334" fmla="*/ 62027 h 93972"/>
                <a:gd name="connsiteX335" fmla="*/ 918446 w 1193687"/>
                <a:gd name="connsiteY335" fmla="*/ 57746 h 93972"/>
                <a:gd name="connsiteX336" fmla="*/ 912626 w 1193687"/>
                <a:gd name="connsiteY336" fmla="*/ 54536 h 93972"/>
                <a:gd name="connsiteX337" fmla="*/ 903531 w 1193687"/>
                <a:gd name="connsiteY337" fmla="*/ 52530 h 93972"/>
                <a:gd name="connsiteX338" fmla="*/ 898983 w 1193687"/>
                <a:gd name="connsiteY338" fmla="*/ 51861 h 93972"/>
                <a:gd name="connsiteX339" fmla="*/ 872230 w 1193687"/>
                <a:gd name="connsiteY339" fmla="*/ 26714 h 93972"/>
                <a:gd name="connsiteX340" fmla="*/ 874311 w 1193687"/>
                <a:gd name="connsiteY340" fmla="*/ 15745 h 93972"/>
                <a:gd name="connsiteX341" fmla="*/ 880256 w 1193687"/>
                <a:gd name="connsiteY341" fmla="*/ 7318 h 93972"/>
                <a:gd name="connsiteX342" fmla="*/ 889619 w 1193687"/>
                <a:gd name="connsiteY342" fmla="*/ 1968 h 93972"/>
                <a:gd name="connsiteX343" fmla="*/ 901925 w 1193687"/>
                <a:gd name="connsiteY343" fmla="*/ 95 h 93972"/>
                <a:gd name="connsiteX344" fmla="*/ 917240 w 1193687"/>
                <a:gd name="connsiteY344" fmla="*/ 2435 h 93972"/>
                <a:gd name="connsiteX345" fmla="*/ 929629 w 1193687"/>
                <a:gd name="connsiteY345" fmla="*/ 8522 h 93972"/>
                <a:gd name="connsiteX346" fmla="*/ 930087 w 1193687"/>
                <a:gd name="connsiteY346" fmla="*/ 10140 h 93972"/>
                <a:gd name="connsiteX347" fmla="*/ 929896 w 1193687"/>
                <a:gd name="connsiteY347" fmla="*/ 10395 h 93972"/>
                <a:gd name="connsiteX348" fmla="*/ 925348 w 1193687"/>
                <a:gd name="connsiteY348" fmla="*/ 17752 h 93972"/>
                <a:gd name="connsiteX349" fmla="*/ 923532 w 1193687"/>
                <a:gd name="connsiteY349" fmla="*/ 18063 h 93972"/>
                <a:gd name="connsiteX350" fmla="*/ 923476 w 1193687"/>
                <a:gd name="connsiteY350" fmla="*/ 18019 h 93972"/>
                <a:gd name="connsiteX351" fmla="*/ 912626 w 1193687"/>
                <a:gd name="connsiteY351" fmla="*/ 12862 h 93972"/>
                <a:gd name="connsiteX352" fmla="*/ 901524 w 1193687"/>
                <a:gd name="connsiteY352" fmla="*/ 11191 h 93972"/>
                <a:gd name="connsiteX353" fmla="*/ 888683 w 1193687"/>
                <a:gd name="connsiteY353" fmla="*/ 15270 h 93972"/>
                <a:gd name="connsiteX354" fmla="*/ 884269 w 1193687"/>
                <a:gd name="connsiteY354" fmla="*/ 25902 h 93972"/>
                <a:gd name="connsiteX355" fmla="*/ 888549 w 1193687"/>
                <a:gd name="connsiteY355" fmla="*/ 35331 h 93972"/>
                <a:gd name="connsiteX356" fmla="*/ 903397 w 1193687"/>
                <a:gd name="connsiteY356" fmla="*/ 40482 h 93972"/>
                <a:gd name="connsiteX357" fmla="*/ 907811 w 1193687"/>
                <a:gd name="connsiteY357" fmla="*/ 41151 h 93972"/>
                <a:gd name="connsiteX358" fmla="*/ 927875 w 1193687"/>
                <a:gd name="connsiteY358" fmla="*/ 49177 h 93972"/>
                <a:gd name="connsiteX359" fmla="*/ 934563 w 1193687"/>
                <a:gd name="connsiteY359" fmla="*/ 66566 h 93972"/>
                <a:gd name="connsiteX360" fmla="*/ 932482 w 1193687"/>
                <a:gd name="connsiteY360" fmla="*/ 77600 h 93972"/>
                <a:gd name="connsiteX361" fmla="*/ 926196 w 1193687"/>
                <a:gd name="connsiteY361" fmla="*/ 86220 h 93972"/>
                <a:gd name="connsiteX362" fmla="*/ 915762 w 1193687"/>
                <a:gd name="connsiteY362" fmla="*/ 91906 h 93972"/>
                <a:gd name="connsiteX363" fmla="*/ 901390 w 1193687"/>
                <a:gd name="connsiteY363" fmla="*/ 93996 h 93972"/>
                <a:gd name="connsiteX364" fmla="*/ 971348 w 1193687"/>
                <a:gd name="connsiteY364" fmla="*/ 92524 h 93972"/>
                <a:gd name="connsiteX365" fmla="*/ 970010 w 1193687"/>
                <a:gd name="connsiteY365" fmla="*/ 91505 h 93972"/>
                <a:gd name="connsiteX366" fmla="*/ 970010 w 1193687"/>
                <a:gd name="connsiteY366" fmla="*/ 91187 h 93972"/>
                <a:gd name="connsiteX367" fmla="*/ 970010 w 1193687"/>
                <a:gd name="connsiteY367" fmla="*/ 13457 h 93972"/>
                <a:gd name="connsiteX368" fmla="*/ 969407 w 1193687"/>
                <a:gd name="connsiteY368" fmla="*/ 12654 h 93972"/>
                <a:gd name="connsiteX369" fmla="*/ 969207 w 1193687"/>
                <a:gd name="connsiteY369" fmla="*/ 12654 h 93972"/>
                <a:gd name="connsiteX370" fmla="*/ 944328 w 1193687"/>
                <a:gd name="connsiteY370" fmla="*/ 12654 h 93972"/>
                <a:gd name="connsiteX371" fmla="*/ 942990 w 1193687"/>
                <a:gd name="connsiteY371" fmla="*/ 11635 h 93972"/>
                <a:gd name="connsiteX372" fmla="*/ 942990 w 1193687"/>
                <a:gd name="connsiteY372" fmla="*/ 11316 h 93972"/>
                <a:gd name="connsiteX373" fmla="*/ 942990 w 1193687"/>
                <a:gd name="connsiteY373" fmla="*/ 2904 h 93972"/>
                <a:gd name="connsiteX374" fmla="*/ 944010 w 1193687"/>
                <a:gd name="connsiteY374" fmla="*/ 1567 h 93972"/>
                <a:gd name="connsiteX375" fmla="*/ 944328 w 1193687"/>
                <a:gd name="connsiteY375" fmla="*/ 1567 h 93972"/>
                <a:gd name="connsiteX376" fmla="*/ 1007597 w 1193687"/>
                <a:gd name="connsiteY376" fmla="*/ 1567 h 93972"/>
                <a:gd name="connsiteX377" fmla="*/ 1008935 w 1193687"/>
                <a:gd name="connsiteY377" fmla="*/ 2586 h 93972"/>
                <a:gd name="connsiteX378" fmla="*/ 1008935 w 1193687"/>
                <a:gd name="connsiteY378" fmla="*/ 2904 h 93972"/>
                <a:gd name="connsiteX379" fmla="*/ 1008935 w 1193687"/>
                <a:gd name="connsiteY379" fmla="*/ 11331 h 93972"/>
                <a:gd name="connsiteX380" fmla="*/ 1007915 w 1193687"/>
                <a:gd name="connsiteY380" fmla="*/ 12669 h 93972"/>
                <a:gd name="connsiteX381" fmla="*/ 1007597 w 1193687"/>
                <a:gd name="connsiteY381" fmla="*/ 12669 h 93972"/>
                <a:gd name="connsiteX382" fmla="*/ 982717 w 1193687"/>
                <a:gd name="connsiteY382" fmla="*/ 12669 h 93972"/>
                <a:gd name="connsiteX383" fmla="*/ 981915 w 1193687"/>
                <a:gd name="connsiteY383" fmla="*/ 13273 h 93972"/>
                <a:gd name="connsiteX384" fmla="*/ 981915 w 1193687"/>
                <a:gd name="connsiteY384" fmla="*/ 13471 h 93972"/>
                <a:gd name="connsiteX385" fmla="*/ 981915 w 1193687"/>
                <a:gd name="connsiteY385" fmla="*/ 91187 h 93972"/>
                <a:gd name="connsiteX386" fmla="*/ 980895 w 1193687"/>
                <a:gd name="connsiteY386" fmla="*/ 92524 h 93972"/>
                <a:gd name="connsiteX387" fmla="*/ 980577 w 1193687"/>
                <a:gd name="connsiteY387" fmla="*/ 92524 h 93972"/>
                <a:gd name="connsiteX388" fmla="*/ 1023113 w 1193687"/>
                <a:gd name="connsiteY388" fmla="*/ 2904 h 93972"/>
                <a:gd name="connsiteX389" fmla="*/ 1024133 w 1193687"/>
                <a:gd name="connsiteY389" fmla="*/ 1567 h 93972"/>
                <a:gd name="connsiteX390" fmla="*/ 1024451 w 1193687"/>
                <a:gd name="connsiteY390" fmla="*/ 1567 h 93972"/>
                <a:gd name="connsiteX391" fmla="*/ 1033666 w 1193687"/>
                <a:gd name="connsiteY391" fmla="*/ 1567 h 93972"/>
                <a:gd name="connsiteX392" fmla="*/ 1035003 w 1193687"/>
                <a:gd name="connsiteY392" fmla="*/ 2586 h 93972"/>
                <a:gd name="connsiteX393" fmla="*/ 1035003 w 1193687"/>
                <a:gd name="connsiteY393" fmla="*/ 2904 h 93972"/>
                <a:gd name="connsiteX394" fmla="*/ 1035003 w 1193687"/>
                <a:gd name="connsiteY394" fmla="*/ 91187 h 93972"/>
                <a:gd name="connsiteX395" fmla="*/ 1033984 w 1193687"/>
                <a:gd name="connsiteY395" fmla="*/ 92524 h 93972"/>
                <a:gd name="connsiteX396" fmla="*/ 1033666 w 1193687"/>
                <a:gd name="connsiteY396" fmla="*/ 92524 h 93972"/>
                <a:gd name="connsiteX397" fmla="*/ 1024451 w 1193687"/>
                <a:gd name="connsiteY397" fmla="*/ 92524 h 93972"/>
                <a:gd name="connsiteX398" fmla="*/ 1023113 w 1193687"/>
                <a:gd name="connsiteY398" fmla="*/ 91505 h 93972"/>
                <a:gd name="connsiteX399" fmla="*/ 1023113 w 1193687"/>
                <a:gd name="connsiteY399" fmla="*/ 91187 h 93972"/>
                <a:gd name="connsiteX400" fmla="*/ 1056702 w 1193687"/>
                <a:gd name="connsiteY400" fmla="*/ 72594 h 93972"/>
                <a:gd name="connsiteX401" fmla="*/ 1055564 w 1193687"/>
                <a:gd name="connsiteY401" fmla="*/ 68516 h 93972"/>
                <a:gd name="connsiteX402" fmla="*/ 1054830 w 1193687"/>
                <a:gd name="connsiteY402" fmla="*/ 63567 h 93972"/>
                <a:gd name="connsiteX403" fmla="*/ 1054428 w 1193687"/>
                <a:gd name="connsiteY403" fmla="*/ 56676 h 93972"/>
                <a:gd name="connsiteX404" fmla="*/ 1054295 w 1193687"/>
                <a:gd name="connsiteY404" fmla="*/ 47046 h 93972"/>
                <a:gd name="connsiteX405" fmla="*/ 1054428 w 1193687"/>
                <a:gd name="connsiteY405" fmla="*/ 37415 h 93972"/>
                <a:gd name="connsiteX406" fmla="*/ 1054830 w 1193687"/>
                <a:gd name="connsiteY406" fmla="*/ 30527 h 93972"/>
                <a:gd name="connsiteX407" fmla="*/ 1055564 w 1193687"/>
                <a:gd name="connsiteY407" fmla="*/ 25578 h 93972"/>
                <a:gd name="connsiteX408" fmla="*/ 1056702 w 1193687"/>
                <a:gd name="connsiteY408" fmla="*/ 21500 h 93972"/>
                <a:gd name="connsiteX409" fmla="*/ 1067938 w 1193687"/>
                <a:gd name="connsiteY409" fmla="*/ 5383 h 93972"/>
                <a:gd name="connsiteX410" fmla="*/ 1086932 w 1193687"/>
                <a:gd name="connsiteY410" fmla="*/ 98 h 93972"/>
                <a:gd name="connsiteX411" fmla="*/ 1104654 w 1193687"/>
                <a:gd name="connsiteY411" fmla="*/ 4854 h 93972"/>
                <a:gd name="connsiteX412" fmla="*/ 1116092 w 1193687"/>
                <a:gd name="connsiteY412" fmla="*/ 18429 h 93972"/>
                <a:gd name="connsiteX413" fmla="*/ 1115557 w 1193687"/>
                <a:gd name="connsiteY413" fmla="*/ 20168 h 93972"/>
                <a:gd name="connsiteX414" fmla="*/ 1107532 w 1193687"/>
                <a:gd name="connsiteY414" fmla="*/ 24047 h 93972"/>
                <a:gd name="connsiteX415" fmla="*/ 1105867 w 1193687"/>
                <a:gd name="connsiteY415" fmla="*/ 23816 h 93972"/>
                <a:gd name="connsiteX416" fmla="*/ 1105659 w 1193687"/>
                <a:gd name="connsiteY416" fmla="*/ 23379 h 93972"/>
                <a:gd name="connsiteX417" fmla="*/ 1098570 w 1193687"/>
                <a:gd name="connsiteY417" fmla="*/ 14619 h 93972"/>
                <a:gd name="connsiteX418" fmla="*/ 1086932 w 1193687"/>
                <a:gd name="connsiteY418" fmla="*/ 11209 h 93972"/>
                <a:gd name="connsiteX419" fmla="*/ 1074894 w 1193687"/>
                <a:gd name="connsiteY419" fmla="*/ 14687 h 93972"/>
                <a:gd name="connsiteX420" fmla="*/ 1068057 w 1193687"/>
                <a:gd name="connsiteY420" fmla="*/ 24585 h 93972"/>
                <a:gd name="connsiteX421" fmla="*/ 1067323 w 1193687"/>
                <a:gd name="connsiteY421" fmla="*/ 27730 h 93972"/>
                <a:gd name="connsiteX422" fmla="*/ 1066788 w 1193687"/>
                <a:gd name="connsiteY422" fmla="*/ 31892 h 93972"/>
                <a:gd name="connsiteX423" fmla="*/ 1066455 w 1193687"/>
                <a:gd name="connsiteY423" fmla="*/ 38045 h 93972"/>
                <a:gd name="connsiteX424" fmla="*/ 1066321 w 1193687"/>
                <a:gd name="connsiteY424" fmla="*/ 47075 h 93972"/>
                <a:gd name="connsiteX425" fmla="*/ 1066455 w 1193687"/>
                <a:gd name="connsiteY425" fmla="*/ 56103 h 93972"/>
                <a:gd name="connsiteX426" fmla="*/ 1066788 w 1193687"/>
                <a:gd name="connsiteY426" fmla="*/ 62256 h 93972"/>
                <a:gd name="connsiteX427" fmla="*/ 1067323 w 1193687"/>
                <a:gd name="connsiteY427" fmla="*/ 66471 h 93972"/>
                <a:gd name="connsiteX428" fmla="*/ 1068057 w 1193687"/>
                <a:gd name="connsiteY428" fmla="*/ 69547 h 93972"/>
                <a:gd name="connsiteX429" fmla="*/ 1074894 w 1193687"/>
                <a:gd name="connsiteY429" fmla="*/ 79446 h 93972"/>
                <a:gd name="connsiteX430" fmla="*/ 1086932 w 1193687"/>
                <a:gd name="connsiteY430" fmla="*/ 82923 h 93972"/>
                <a:gd name="connsiteX431" fmla="*/ 1098570 w 1193687"/>
                <a:gd name="connsiteY431" fmla="*/ 79511 h 93972"/>
                <a:gd name="connsiteX432" fmla="*/ 1105659 w 1193687"/>
                <a:gd name="connsiteY432" fmla="*/ 70751 h 93972"/>
                <a:gd name="connsiteX433" fmla="*/ 1107095 w 1193687"/>
                <a:gd name="connsiteY433" fmla="*/ 69875 h 93972"/>
                <a:gd name="connsiteX434" fmla="*/ 1107532 w 1193687"/>
                <a:gd name="connsiteY434" fmla="*/ 70082 h 93972"/>
                <a:gd name="connsiteX435" fmla="*/ 1115557 w 1193687"/>
                <a:gd name="connsiteY435" fmla="*/ 73946 h 93972"/>
                <a:gd name="connsiteX436" fmla="*/ 1116092 w 1193687"/>
                <a:gd name="connsiteY436" fmla="*/ 75685 h 93972"/>
                <a:gd name="connsiteX437" fmla="*/ 1104654 w 1193687"/>
                <a:gd name="connsiteY437" fmla="*/ 89261 h 93972"/>
                <a:gd name="connsiteX438" fmla="*/ 1086932 w 1193687"/>
                <a:gd name="connsiteY438" fmla="*/ 94017 h 93972"/>
                <a:gd name="connsiteX439" fmla="*/ 1067938 w 1193687"/>
                <a:gd name="connsiteY439" fmla="*/ 88732 h 93972"/>
                <a:gd name="connsiteX440" fmla="*/ 1056687 w 1193687"/>
                <a:gd name="connsiteY440" fmla="*/ 72609 h 93972"/>
                <a:gd name="connsiteX441" fmla="*/ 1160769 w 1193687"/>
                <a:gd name="connsiteY441" fmla="*/ 93996 h 93972"/>
                <a:gd name="connsiteX442" fmla="*/ 1151272 w 1193687"/>
                <a:gd name="connsiteY442" fmla="*/ 93059 h 93972"/>
                <a:gd name="connsiteX443" fmla="*/ 1142443 w 1193687"/>
                <a:gd name="connsiteY443" fmla="*/ 90583 h 93972"/>
                <a:gd name="connsiteX444" fmla="*/ 1134819 w 1193687"/>
                <a:gd name="connsiteY444" fmla="*/ 86972 h 93972"/>
                <a:gd name="connsiteX445" fmla="*/ 1128785 w 1193687"/>
                <a:gd name="connsiteY445" fmla="*/ 82626 h 93972"/>
                <a:gd name="connsiteX446" fmla="*/ 1128589 w 1193687"/>
                <a:gd name="connsiteY446" fmla="*/ 80689 h 93972"/>
                <a:gd name="connsiteX447" fmla="*/ 1128651 w 1193687"/>
                <a:gd name="connsiteY447" fmla="*/ 80620 h 93972"/>
                <a:gd name="connsiteX448" fmla="*/ 1134537 w 1193687"/>
                <a:gd name="connsiteY448" fmla="*/ 73664 h 93972"/>
                <a:gd name="connsiteX449" fmla="*/ 1136246 w 1193687"/>
                <a:gd name="connsiteY449" fmla="*/ 73389 h 93972"/>
                <a:gd name="connsiteX450" fmla="*/ 1136409 w 1193687"/>
                <a:gd name="connsiteY450" fmla="*/ 73530 h 93972"/>
                <a:gd name="connsiteX451" fmla="*/ 1147378 w 1193687"/>
                <a:gd name="connsiteY451" fmla="*/ 79951 h 93972"/>
                <a:gd name="connsiteX452" fmla="*/ 1161824 w 1193687"/>
                <a:gd name="connsiteY452" fmla="*/ 82894 h 93972"/>
                <a:gd name="connsiteX453" fmla="*/ 1176606 w 1193687"/>
                <a:gd name="connsiteY453" fmla="*/ 78613 h 93972"/>
                <a:gd name="connsiteX454" fmla="*/ 1181888 w 1193687"/>
                <a:gd name="connsiteY454" fmla="*/ 67377 h 93972"/>
                <a:gd name="connsiteX455" fmla="*/ 1180952 w 1193687"/>
                <a:gd name="connsiteY455" fmla="*/ 62027 h 93972"/>
                <a:gd name="connsiteX456" fmla="*/ 1177810 w 1193687"/>
                <a:gd name="connsiteY456" fmla="*/ 57746 h 93972"/>
                <a:gd name="connsiteX457" fmla="*/ 1171990 w 1193687"/>
                <a:gd name="connsiteY457" fmla="*/ 54536 h 93972"/>
                <a:gd name="connsiteX458" fmla="*/ 1162894 w 1193687"/>
                <a:gd name="connsiteY458" fmla="*/ 52530 h 93972"/>
                <a:gd name="connsiteX459" fmla="*/ 1158346 w 1193687"/>
                <a:gd name="connsiteY459" fmla="*/ 51861 h 93972"/>
                <a:gd name="connsiteX460" fmla="*/ 1131594 w 1193687"/>
                <a:gd name="connsiteY460" fmla="*/ 26714 h 93972"/>
                <a:gd name="connsiteX461" fmla="*/ 1133675 w 1193687"/>
                <a:gd name="connsiteY461" fmla="*/ 15745 h 93972"/>
                <a:gd name="connsiteX462" fmla="*/ 1139620 w 1193687"/>
                <a:gd name="connsiteY462" fmla="*/ 7318 h 93972"/>
                <a:gd name="connsiteX463" fmla="*/ 1148983 w 1193687"/>
                <a:gd name="connsiteY463" fmla="*/ 1968 h 93972"/>
                <a:gd name="connsiteX464" fmla="*/ 1161289 w 1193687"/>
                <a:gd name="connsiteY464" fmla="*/ 95 h 93972"/>
                <a:gd name="connsiteX465" fmla="*/ 1176603 w 1193687"/>
                <a:gd name="connsiteY465" fmla="*/ 2435 h 93972"/>
                <a:gd name="connsiteX466" fmla="*/ 1188978 w 1193687"/>
                <a:gd name="connsiteY466" fmla="*/ 8522 h 93972"/>
                <a:gd name="connsiteX467" fmla="*/ 1189435 w 1193687"/>
                <a:gd name="connsiteY467" fmla="*/ 10140 h 93972"/>
                <a:gd name="connsiteX468" fmla="*/ 1189245 w 1193687"/>
                <a:gd name="connsiteY468" fmla="*/ 10395 h 93972"/>
                <a:gd name="connsiteX469" fmla="*/ 1184697 w 1193687"/>
                <a:gd name="connsiteY469" fmla="*/ 17752 h 93972"/>
                <a:gd name="connsiteX470" fmla="*/ 1182881 w 1193687"/>
                <a:gd name="connsiteY470" fmla="*/ 18063 h 93972"/>
                <a:gd name="connsiteX471" fmla="*/ 1182825 w 1193687"/>
                <a:gd name="connsiteY471" fmla="*/ 18019 h 93972"/>
                <a:gd name="connsiteX472" fmla="*/ 1171990 w 1193687"/>
                <a:gd name="connsiteY472" fmla="*/ 12862 h 93972"/>
                <a:gd name="connsiteX473" fmla="*/ 1160888 w 1193687"/>
                <a:gd name="connsiteY473" fmla="*/ 11197 h 93972"/>
                <a:gd name="connsiteX474" fmla="*/ 1148047 w 1193687"/>
                <a:gd name="connsiteY474" fmla="*/ 15276 h 93972"/>
                <a:gd name="connsiteX475" fmla="*/ 1143647 w 1193687"/>
                <a:gd name="connsiteY475" fmla="*/ 25911 h 93972"/>
                <a:gd name="connsiteX476" fmla="*/ 1147928 w 1193687"/>
                <a:gd name="connsiteY476" fmla="*/ 35340 h 93972"/>
                <a:gd name="connsiteX477" fmla="*/ 1162760 w 1193687"/>
                <a:gd name="connsiteY477" fmla="*/ 40506 h 93972"/>
                <a:gd name="connsiteX478" fmla="*/ 1167174 w 1193687"/>
                <a:gd name="connsiteY478" fmla="*/ 41175 h 93972"/>
                <a:gd name="connsiteX479" fmla="*/ 1187239 w 1193687"/>
                <a:gd name="connsiteY479" fmla="*/ 49201 h 93972"/>
                <a:gd name="connsiteX480" fmla="*/ 1193927 w 1193687"/>
                <a:gd name="connsiteY480" fmla="*/ 66590 h 93972"/>
                <a:gd name="connsiteX481" fmla="*/ 1191846 w 1193687"/>
                <a:gd name="connsiteY481" fmla="*/ 77623 h 93972"/>
                <a:gd name="connsiteX482" fmla="*/ 1185559 w 1193687"/>
                <a:gd name="connsiteY482" fmla="*/ 86244 h 93972"/>
                <a:gd name="connsiteX483" fmla="*/ 1175126 w 1193687"/>
                <a:gd name="connsiteY483" fmla="*/ 91930 h 93972"/>
                <a:gd name="connsiteX484" fmla="*/ 1160754 w 1193687"/>
                <a:gd name="connsiteY484" fmla="*/ 93996 h 93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Lst>
              <a:rect l="l" t="t" r="r" b="b"/>
              <a:pathLst>
                <a:path w="1193687" h="93972">
                  <a:moveTo>
                    <a:pt x="31941" y="2904"/>
                  </a:moveTo>
                  <a:cubicBezTo>
                    <a:pt x="32072" y="2123"/>
                    <a:pt x="32754" y="1556"/>
                    <a:pt x="33546" y="1567"/>
                  </a:cubicBezTo>
                  <a:lnTo>
                    <a:pt x="42240" y="1567"/>
                  </a:lnTo>
                  <a:cubicBezTo>
                    <a:pt x="43071" y="1520"/>
                    <a:pt x="43811" y="2089"/>
                    <a:pt x="43979" y="2904"/>
                  </a:cubicBezTo>
                  <a:lnTo>
                    <a:pt x="75145" y="91187"/>
                  </a:lnTo>
                  <a:cubicBezTo>
                    <a:pt x="75413" y="92079"/>
                    <a:pt x="75101" y="92524"/>
                    <a:pt x="74209" y="92524"/>
                  </a:cubicBezTo>
                  <a:lnTo>
                    <a:pt x="64846" y="92524"/>
                  </a:lnTo>
                  <a:cubicBezTo>
                    <a:pt x="64015" y="92571"/>
                    <a:pt x="63275" y="92002"/>
                    <a:pt x="63107" y="91187"/>
                  </a:cubicBezTo>
                  <a:lnTo>
                    <a:pt x="56151" y="71390"/>
                  </a:lnTo>
                  <a:lnTo>
                    <a:pt x="19367" y="71390"/>
                  </a:lnTo>
                  <a:lnTo>
                    <a:pt x="12411" y="91187"/>
                  </a:lnTo>
                  <a:cubicBezTo>
                    <a:pt x="12197" y="91972"/>
                    <a:pt x="11486" y="92518"/>
                    <a:pt x="10672" y="92524"/>
                  </a:cubicBezTo>
                  <a:lnTo>
                    <a:pt x="1309" y="92524"/>
                  </a:lnTo>
                  <a:cubicBezTo>
                    <a:pt x="417" y="92524"/>
                    <a:pt x="105" y="92079"/>
                    <a:pt x="373" y="91187"/>
                  </a:cubicBezTo>
                  <a:close/>
                  <a:moveTo>
                    <a:pt x="52272" y="60422"/>
                  </a:moveTo>
                  <a:lnTo>
                    <a:pt x="37960" y="19089"/>
                  </a:lnTo>
                  <a:lnTo>
                    <a:pt x="37692" y="19089"/>
                  </a:lnTo>
                  <a:lnTo>
                    <a:pt x="23246" y="60422"/>
                  </a:lnTo>
                  <a:close/>
                  <a:moveTo>
                    <a:pt x="105911" y="92524"/>
                  </a:moveTo>
                  <a:cubicBezTo>
                    <a:pt x="105119" y="92535"/>
                    <a:pt x="104437" y="91968"/>
                    <a:pt x="104305" y="91187"/>
                  </a:cubicBezTo>
                  <a:lnTo>
                    <a:pt x="74878" y="3172"/>
                  </a:lnTo>
                  <a:cubicBezTo>
                    <a:pt x="74695" y="2791"/>
                    <a:pt x="74695" y="2348"/>
                    <a:pt x="74878" y="1968"/>
                  </a:cubicBezTo>
                  <a:cubicBezTo>
                    <a:pt x="75099" y="1680"/>
                    <a:pt x="75453" y="1528"/>
                    <a:pt x="75814" y="1567"/>
                  </a:cubicBezTo>
                  <a:lnTo>
                    <a:pt x="84910" y="1567"/>
                  </a:lnTo>
                  <a:cubicBezTo>
                    <a:pt x="85780" y="1487"/>
                    <a:pt x="86576" y="2056"/>
                    <a:pt x="86783" y="2904"/>
                  </a:cubicBezTo>
                  <a:lnTo>
                    <a:pt x="110057" y="73129"/>
                  </a:lnTo>
                  <a:lnTo>
                    <a:pt x="110325" y="73129"/>
                  </a:lnTo>
                  <a:lnTo>
                    <a:pt x="132797" y="2904"/>
                  </a:lnTo>
                  <a:cubicBezTo>
                    <a:pt x="132965" y="2089"/>
                    <a:pt x="133704" y="1520"/>
                    <a:pt x="134536" y="1567"/>
                  </a:cubicBezTo>
                  <a:lnTo>
                    <a:pt x="143750" y="1567"/>
                  </a:lnTo>
                  <a:cubicBezTo>
                    <a:pt x="144741" y="1567"/>
                    <a:pt x="145053" y="2102"/>
                    <a:pt x="144687" y="3172"/>
                  </a:cubicBezTo>
                  <a:lnTo>
                    <a:pt x="115408" y="91187"/>
                  </a:lnTo>
                  <a:cubicBezTo>
                    <a:pt x="115276" y="91968"/>
                    <a:pt x="114594" y="92535"/>
                    <a:pt x="113803" y="92524"/>
                  </a:cubicBezTo>
                  <a:close/>
                  <a:moveTo>
                    <a:pt x="158613" y="2904"/>
                  </a:moveTo>
                  <a:cubicBezTo>
                    <a:pt x="158525" y="2253"/>
                    <a:pt x="158981" y="1655"/>
                    <a:pt x="159632" y="1567"/>
                  </a:cubicBezTo>
                  <a:cubicBezTo>
                    <a:pt x="159737" y="1552"/>
                    <a:pt x="159844" y="1552"/>
                    <a:pt x="159950" y="1567"/>
                  </a:cubicBezTo>
                  <a:lnTo>
                    <a:pt x="169165" y="1567"/>
                  </a:lnTo>
                  <a:cubicBezTo>
                    <a:pt x="169816" y="1479"/>
                    <a:pt x="170415" y="1935"/>
                    <a:pt x="170503" y="2586"/>
                  </a:cubicBezTo>
                  <a:cubicBezTo>
                    <a:pt x="170517" y="2691"/>
                    <a:pt x="170517" y="2798"/>
                    <a:pt x="170503" y="2904"/>
                  </a:cubicBezTo>
                  <a:lnTo>
                    <a:pt x="170503" y="91187"/>
                  </a:lnTo>
                  <a:cubicBezTo>
                    <a:pt x="170591" y="91837"/>
                    <a:pt x="170134" y="92436"/>
                    <a:pt x="169484" y="92524"/>
                  </a:cubicBezTo>
                  <a:cubicBezTo>
                    <a:pt x="169378" y="92539"/>
                    <a:pt x="169271" y="92539"/>
                    <a:pt x="169165" y="92524"/>
                  </a:cubicBezTo>
                  <a:lnTo>
                    <a:pt x="159950" y="92524"/>
                  </a:lnTo>
                  <a:cubicBezTo>
                    <a:pt x="159300" y="92612"/>
                    <a:pt x="158701" y="92156"/>
                    <a:pt x="158613" y="91505"/>
                  </a:cubicBezTo>
                  <a:cubicBezTo>
                    <a:pt x="158598" y="91400"/>
                    <a:pt x="158598" y="91293"/>
                    <a:pt x="158613" y="91187"/>
                  </a:cubicBezTo>
                  <a:close/>
                  <a:moveTo>
                    <a:pt x="216531" y="2904"/>
                  </a:moveTo>
                  <a:cubicBezTo>
                    <a:pt x="216663" y="2123"/>
                    <a:pt x="217345" y="1556"/>
                    <a:pt x="218137" y="1567"/>
                  </a:cubicBezTo>
                  <a:lnTo>
                    <a:pt x="226831" y="1567"/>
                  </a:lnTo>
                  <a:cubicBezTo>
                    <a:pt x="227662" y="1520"/>
                    <a:pt x="228402" y="2089"/>
                    <a:pt x="228570" y="2904"/>
                  </a:cubicBezTo>
                  <a:lnTo>
                    <a:pt x="259736" y="91187"/>
                  </a:lnTo>
                  <a:cubicBezTo>
                    <a:pt x="260004" y="92079"/>
                    <a:pt x="259692" y="92524"/>
                    <a:pt x="258800" y="92524"/>
                  </a:cubicBezTo>
                  <a:lnTo>
                    <a:pt x="249437" y="92524"/>
                  </a:lnTo>
                  <a:cubicBezTo>
                    <a:pt x="248606" y="92571"/>
                    <a:pt x="247866" y="92002"/>
                    <a:pt x="247698" y="91187"/>
                  </a:cubicBezTo>
                  <a:lnTo>
                    <a:pt x="240742" y="71390"/>
                  </a:lnTo>
                  <a:lnTo>
                    <a:pt x="203958" y="71390"/>
                  </a:lnTo>
                  <a:lnTo>
                    <a:pt x="197002" y="91187"/>
                  </a:lnTo>
                  <a:cubicBezTo>
                    <a:pt x="196788" y="91972"/>
                    <a:pt x="196077" y="92518"/>
                    <a:pt x="195263" y="92524"/>
                  </a:cubicBezTo>
                  <a:lnTo>
                    <a:pt x="185900" y="92524"/>
                  </a:lnTo>
                  <a:cubicBezTo>
                    <a:pt x="185008" y="92524"/>
                    <a:pt x="184696" y="92079"/>
                    <a:pt x="184964" y="91187"/>
                  </a:cubicBezTo>
                  <a:close/>
                  <a:moveTo>
                    <a:pt x="236863" y="60422"/>
                  </a:moveTo>
                  <a:lnTo>
                    <a:pt x="222551" y="19089"/>
                  </a:lnTo>
                  <a:lnTo>
                    <a:pt x="222283" y="19089"/>
                  </a:lnTo>
                  <a:lnTo>
                    <a:pt x="207837" y="60422"/>
                  </a:lnTo>
                  <a:close/>
                  <a:moveTo>
                    <a:pt x="284616" y="92524"/>
                  </a:moveTo>
                  <a:cubicBezTo>
                    <a:pt x="283965" y="92612"/>
                    <a:pt x="283366" y="92156"/>
                    <a:pt x="283278" y="91505"/>
                  </a:cubicBezTo>
                  <a:cubicBezTo>
                    <a:pt x="283264" y="91400"/>
                    <a:pt x="283264" y="91293"/>
                    <a:pt x="283278" y="91187"/>
                  </a:cubicBezTo>
                  <a:lnTo>
                    <a:pt x="283278" y="13457"/>
                  </a:lnTo>
                  <a:cubicBezTo>
                    <a:pt x="283333" y="13068"/>
                    <a:pt x="283063" y="12709"/>
                    <a:pt x="282674" y="12654"/>
                  </a:cubicBezTo>
                  <a:cubicBezTo>
                    <a:pt x="282608" y="12645"/>
                    <a:pt x="282542" y="12645"/>
                    <a:pt x="282476" y="12654"/>
                  </a:cubicBezTo>
                  <a:lnTo>
                    <a:pt x="257596" y="12654"/>
                  </a:lnTo>
                  <a:cubicBezTo>
                    <a:pt x="256946" y="12742"/>
                    <a:pt x="256347" y="12286"/>
                    <a:pt x="256259" y="11635"/>
                  </a:cubicBezTo>
                  <a:cubicBezTo>
                    <a:pt x="256244" y="11529"/>
                    <a:pt x="256244" y="11422"/>
                    <a:pt x="256259" y="11316"/>
                  </a:cubicBezTo>
                  <a:lnTo>
                    <a:pt x="256259" y="2904"/>
                  </a:lnTo>
                  <a:cubicBezTo>
                    <a:pt x="256171" y="2253"/>
                    <a:pt x="256627" y="1655"/>
                    <a:pt x="257278" y="1567"/>
                  </a:cubicBezTo>
                  <a:cubicBezTo>
                    <a:pt x="257383" y="1552"/>
                    <a:pt x="257490" y="1552"/>
                    <a:pt x="257596" y="1567"/>
                  </a:cubicBezTo>
                  <a:lnTo>
                    <a:pt x="320865" y="1567"/>
                  </a:lnTo>
                  <a:cubicBezTo>
                    <a:pt x="321516" y="1479"/>
                    <a:pt x="322114" y="1935"/>
                    <a:pt x="322203" y="2586"/>
                  </a:cubicBezTo>
                  <a:cubicBezTo>
                    <a:pt x="322218" y="2691"/>
                    <a:pt x="322218" y="2798"/>
                    <a:pt x="322203" y="2904"/>
                  </a:cubicBezTo>
                  <a:lnTo>
                    <a:pt x="322203" y="11331"/>
                  </a:lnTo>
                  <a:cubicBezTo>
                    <a:pt x="322292" y="11982"/>
                    <a:pt x="321834" y="12581"/>
                    <a:pt x="321183" y="12669"/>
                  </a:cubicBezTo>
                  <a:cubicBezTo>
                    <a:pt x="321079" y="12683"/>
                    <a:pt x="320972" y="12683"/>
                    <a:pt x="320865" y="12669"/>
                  </a:cubicBezTo>
                  <a:lnTo>
                    <a:pt x="295986" y="12669"/>
                  </a:lnTo>
                  <a:cubicBezTo>
                    <a:pt x="295596" y="12614"/>
                    <a:pt x="295237" y="12885"/>
                    <a:pt x="295183" y="13273"/>
                  </a:cubicBezTo>
                  <a:cubicBezTo>
                    <a:pt x="295174" y="13339"/>
                    <a:pt x="295174" y="13406"/>
                    <a:pt x="295183" y="13471"/>
                  </a:cubicBezTo>
                  <a:lnTo>
                    <a:pt x="295183" y="91187"/>
                  </a:lnTo>
                  <a:cubicBezTo>
                    <a:pt x="295272" y="91837"/>
                    <a:pt x="294815" y="92436"/>
                    <a:pt x="294164" y="92524"/>
                  </a:cubicBezTo>
                  <a:cubicBezTo>
                    <a:pt x="294058" y="92539"/>
                    <a:pt x="293951" y="92539"/>
                    <a:pt x="293846" y="92524"/>
                  </a:cubicBezTo>
                  <a:close/>
                  <a:moveTo>
                    <a:pt x="336382" y="2904"/>
                  </a:moveTo>
                  <a:cubicBezTo>
                    <a:pt x="336293" y="2253"/>
                    <a:pt x="336750" y="1655"/>
                    <a:pt x="337401" y="1567"/>
                  </a:cubicBezTo>
                  <a:cubicBezTo>
                    <a:pt x="337505" y="1552"/>
                    <a:pt x="337612" y="1552"/>
                    <a:pt x="337719" y="1567"/>
                  </a:cubicBezTo>
                  <a:lnTo>
                    <a:pt x="346934" y="1567"/>
                  </a:lnTo>
                  <a:cubicBezTo>
                    <a:pt x="347585" y="1479"/>
                    <a:pt x="348182" y="1935"/>
                    <a:pt x="348272" y="2586"/>
                  </a:cubicBezTo>
                  <a:cubicBezTo>
                    <a:pt x="348286" y="2691"/>
                    <a:pt x="348286" y="2798"/>
                    <a:pt x="348272" y="2904"/>
                  </a:cubicBezTo>
                  <a:lnTo>
                    <a:pt x="348272" y="91187"/>
                  </a:lnTo>
                  <a:cubicBezTo>
                    <a:pt x="348361" y="91837"/>
                    <a:pt x="347903" y="92436"/>
                    <a:pt x="347252" y="92524"/>
                  </a:cubicBezTo>
                  <a:cubicBezTo>
                    <a:pt x="347148" y="92539"/>
                    <a:pt x="347041" y="92539"/>
                    <a:pt x="346934" y="92524"/>
                  </a:cubicBezTo>
                  <a:lnTo>
                    <a:pt x="337719" y="92524"/>
                  </a:lnTo>
                  <a:cubicBezTo>
                    <a:pt x="337068" y="92612"/>
                    <a:pt x="336471" y="92156"/>
                    <a:pt x="336382" y="91505"/>
                  </a:cubicBezTo>
                  <a:cubicBezTo>
                    <a:pt x="336367" y="91400"/>
                    <a:pt x="336367" y="91293"/>
                    <a:pt x="336382" y="91187"/>
                  </a:cubicBezTo>
                  <a:close/>
                  <a:moveTo>
                    <a:pt x="400855" y="93996"/>
                  </a:moveTo>
                  <a:cubicBezTo>
                    <a:pt x="393976" y="94218"/>
                    <a:pt x="387190" y="92353"/>
                    <a:pt x="381391" y="88645"/>
                  </a:cubicBezTo>
                  <a:cubicBezTo>
                    <a:pt x="375877" y="84796"/>
                    <a:pt x="371843" y="79181"/>
                    <a:pt x="369956" y="72728"/>
                  </a:cubicBezTo>
                  <a:cubicBezTo>
                    <a:pt x="369504" y="71362"/>
                    <a:pt x="369124" y="69973"/>
                    <a:pt x="368820" y="68566"/>
                  </a:cubicBezTo>
                  <a:cubicBezTo>
                    <a:pt x="368473" y="66911"/>
                    <a:pt x="368229" y="65236"/>
                    <a:pt x="368083" y="63552"/>
                  </a:cubicBezTo>
                  <a:cubicBezTo>
                    <a:pt x="367905" y="61635"/>
                    <a:pt x="367771" y="59339"/>
                    <a:pt x="367682" y="56661"/>
                  </a:cubicBezTo>
                  <a:cubicBezTo>
                    <a:pt x="367593" y="53984"/>
                    <a:pt x="367542" y="50779"/>
                    <a:pt x="367533" y="47046"/>
                  </a:cubicBezTo>
                  <a:cubicBezTo>
                    <a:pt x="367533" y="43300"/>
                    <a:pt x="367578" y="40090"/>
                    <a:pt x="367667" y="37415"/>
                  </a:cubicBezTo>
                  <a:cubicBezTo>
                    <a:pt x="367756" y="34739"/>
                    <a:pt x="367890" y="32444"/>
                    <a:pt x="368068" y="30527"/>
                  </a:cubicBezTo>
                  <a:cubicBezTo>
                    <a:pt x="368214" y="28843"/>
                    <a:pt x="368458" y="27168"/>
                    <a:pt x="368805" y="25513"/>
                  </a:cubicBezTo>
                  <a:cubicBezTo>
                    <a:pt x="369109" y="24107"/>
                    <a:pt x="369489" y="22717"/>
                    <a:pt x="369941" y="21351"/>
                  </a:cubicBezTo>
                  <a:cubicBezTo>
                    <a:pt x="371831" y="14895"/>
                    <a:pt x="375871" y="9279"/>
                    <a:pt x="381391" y="5431"/>
                  </a:cubicBezTo>
                  <a:cubicBezTo>
                    <a:pt x="393432" y="-1703"/>
                    <a:pt x="408408" y="-1703"/>
                    <a:pt x="420449" y="5431"/>
                  </a:cubicBezTo>
                  <a:cubicBezTo>
                    <a:pt x="425963" y="9280"/>
                    <a:pt x="429997" y="14895"/>
                    <a:pt x="431887" y="21348"/>
                  </a:cubicBezTo>
                  <a:cubicBezTo>
                    <a:pt x="432339" y="22714"/>
                    <a:pt x="432720" y="24104"/>
                    <a:pt x="433023" y="25510"/>
                  </a:cubicBezTo>
                  <a:cubicBezTo>
                    <a:pt x="433371" y="27166"/>
                    <a:pt x="433614" y="28841"/>
                    <a:pt x="433760" y="30527"/>
                  </a:cubicBezTo>
                  <a:cubicBezTo>
                    <a:pt x="433938" y="32446"/>
                    <a:pt x="434072" y="34742"/>
                    <a:pt x="434161" y="37415"/>
                  </a:cubicBezTo>
                  <a:cubicBezTo>
                    <a:pt x="434251" y="40088"/>
                    <a:pt x="434295" y="43298"/>
                    <a:pt x="434295" y="47046"/>
                  </a:cubicBezTo>
                  <a:cubicBezTo>
                    <a:pt x="434295" y="50791"/>
                    <a:pt x="434251" y="54001"/>
                    <a:pt x="434161" y="56676"/>
                  </a:cubicBezTo>
                  <a:cubicBezTo>
                    <a:pt x="434072" y="59352"/>
                    <a:pt x="433938" y="61648"/>
                    <a:pt x="433760" y="63567"/>
                  </a:cubicBezTo>
                  <a:cubicBezTo>
                    <a:pt x="433614" y="65253"/>
                    <a:pt x="433371" y="66928"/>
                    <a:pt x="433023" y="68584"/>
                  </a:cubicBezTo>
                  <a:cubicBezTo>
                    <a:pt x="432720" y="69990"/>
                    <a:pt x="432339" y="71380"/>
                    <a:pt x="431887" y="72746"/>
                  </a:cubicBezTo>
                  <a:cubicBezTo>
                    <a:pt x="429997" y="79199"/>
                    <a:pt x="425963" y="84814"/>
                    <a:pt x="420449" y="88663"/>
                  </a:cubicBezTo>
                  <a:cubicBezTo>
                    <a:pt x="414605" y="92376"/>
                    <a:pt x="407775" y="94235"/>
                    <a:pt x="400855" y="93996"/>
                  </a:cubicBezTo>
                  <a:close/>
                  <a:moveTo>
                    <a:pt x="400855" y="82894"/>
                  </a:moveTo>
                  <a:cubicBezTo>
                    <a:pt x="405266" y="83088"/>
                    <a:pt x="409624" y="81870"/>
                    <a:pt x="413295" y="79416"/>
                  </a:cubicBezTo>
                  <a:cubicBezTo>
                    <a:pt x="416636" y="76911"/>
                    <a:pt x="419076" y="73391"/>
                    <a:pt x="420250" y="69384"/>
                  </a:cubicBezTo>
                  <a:cubicBezTo>
                    <a:pt x="420562" y="68398"/>
                    <a:pt x="420809" y="67392"/>
                    <a:pt x="420987" y="66373"/>
                  </a:cubicBezTo>
                  <a:cubicBezTo>
                    <a:pt x="421210" y="65168"/>
                    <a:pt x="421433" y="63674"/>
                    <a:pt x="421656" y="61893"/>
                  </a:cubicBezTo>
                  <a:cubicBezTo>
                    <a:pt x="421879" y="60112"/>
                    <a:pt x="422037" y="58016"/>
                    <a:pt x="422126" y="55606"/>
                  </a:cubicBezTo>
                  <a:cubicBezTo>
                    <a:pt x="422215" y="53199"/>
                    <a:pt x="422260" y="50345"/>
                    <a:pt x="422260" y="47046"/>
                  </a:cubicBezTo>
                  <a:cubicBezTo>
                    <a:pt x="422260" y="43746"/>
                    <a:pt x="422215" y="40892"/>
                    <a:pt x="422126" y="38485"/>
                  </a:cubicBezTo>
                  <a:cubicBezTo>
                    <a:pt x="422037" y="36077"/>
                    <a:pt x="421879" y="33981"/>
                    <a:pt x="421656" y="32198"/>
                  </a:cubicBezTo>
                  <a:cubicBezTo>
                    <a:pt x="421433" y="30415"/>
                    <a:pt x="421210" y="28921"/>
                    <a:pt x="420987" y="27718"/>
                  </a:cubicBezTo>
                  <a:cubicBezTo>
                    <a:pt x="420809" y="26699"/>
                    <a:pt x="420562" y="25693"/>
                    <a:pt x="420250" y="24707"/>
                  </a:cubicBezTo>
                  <a:cubicBezTo>
                    <a:pt x="419076" y="20699"/>
                    <a:pt x="416636" y="17180"/>
                    <a:pt x="413295" y="14675"/>
                  </a:cubicBezTo>
                  <a:cubicBezTo>
                    <a:pt x="409624" y="12221"/>
                    <a:pt x="405266" y="11003"/>
                    <a:pt x="400855" y="11197"/>
                  </a:cubicBezTo>
                  <a:cubicBezTo>
                    <a:pt x="396464" y="10996"/>
                    <a:pt x="392125" y="12215"/>
                    <a:pt x="388480" y="14675"/>
                  </a:cubicBezTo>
                  <a:cubicBezTo>
                    <a:pt x="385172" y="17198"/>
                    <a:pt x="382758" y="20714"/>
                    <a:pt x="381593" y="24707"/>
                  </a:cubicBezTo>
                  <a:cubicBezTo>
                    <a:pt x="381281" y="25693"/>
                    <a:pt x="381034" y="26699"/>
                    <a:pt x="380859" y="27718"/>
                  </a:cubicBezTo>
                  <a:cubicBezTo>
                    <a:pt x="380636" y="28921"/>
                    <a:pt x="380413" y="30415"/>
                    <a:pt x="380190" y="32198"/>
                  </a:cubicBezTo>
                  <a:cubicBezTo>
                    <a:pt x="379967" y="33981"/>
                    <a:pt x="379810" y="36077"/>
                    <a:pt x="379720" y="38485"/>
                  </a:cubicBezTo>
                  <a:cubicBezTo>
                    <a:pt x="379631" y="40892"/>
                    <a:pt x="379587" y="43746"/>
                    <a:pt x="379587" y="47046"/>
                  </a:cubicBezTo>
                  <a:cubicBezTo>
                    <a:pt x="379587" y="50345"/>
                    <a:pt x="379631" y="53199"/>
                    <a:pt x="379720" y="55606"/>
                  </a:cubicBezTo>
                  <a:cubicBezTo>
                    <a:pt x="379810" y="58014"/>
                    <a:pt x="379967" y="60110"/>
                    <a:pt x="380190" y="61893"/>
                  </a:cubicBezTo>
                  <a:cubicBezTo>
                    <a:pt x="380413" y="63677"/>
                    <a:pt x="380636" y="65170"/>
                    <a:pt x="380859" y="66373"/>
                  </a:cubicBezTo>
                  <a:cubicBezTo>
                    <a:pt x="381034" y="67392"/>
                    <a:pt x="381281" y="68398"/>
                    <a:pt x="381593" y="69384"/>
                  </a:cubicBezTo>
                  <a:cubicBezTo>
                    <a:pt x="382758" y="73377"/>
                    <a:pt x="385172" y="76893"/>
                    <a:pt x="388480" y="79416"/>
                  </a:cubicBezTo>
                  <a:cubicBezTo>
                    <a:pt x="392125" y="81876"/>
                    <a:pt x="396464" y="83095"/>
                    <a:pt x="400855" y="82894"/>
                  </a:cubicBezTo>
                  <a:close/>
                  <a:moveTo>
                    <a:pt x="453557" y="2904"/>
                  </a:moveTo>
                  <a:cubicBezTo>
                    <a:pt x="453468" y="2253"/>
                    <a:pt x="453925" y="1655"/>
                    <a:pt x="454576" y="1567"/>
                  </a:cubicBezTo>
                  <a:cubicBezTo>
                    <a:pt x="454680" y="1552"/>
                    <a:pt x="454787" y="1552"/>
                    <a:pt x="454894" y="1567"/>
                  </a:cubicBezTo>
                  <a:lnTo>
                    <a:pt x="463455" y="1567"/>
                  </a:lnTo>
                  <a:cubicBezTo>
                    <a:pt x="464415" y="1502"/>
                    <a:pt x="465319" y="2033"/>
                    <a:pt x="465729" y="2904"/>
                  </a:cubicBezTo>
                  <a:lnTo>
                    <a:pt x="506928" y="71123"/>
                  </a:lnTo>
                  <a:lnTo>
                    <a:pt x="507463" y="71123"/>
                  </a:lnTo>
                  <a:lnTo>
                    <a:pt x="507463" y="2904"/>
                  </a:lnTo>
                  <a:cubicBezTo>
                    <a:pt x="507373" y="2253"/>
                    <a:pt x="507831" y="1655"/>
                    <a:pt x="508482" y="1567"/>
                  </a:cubicBezTo>
                  <a:cubicBezTo>
                    <a:pt x="508586" y="1552"/>
                    <a:pt x="508693" y="1552"/>
                    <a:pt x="508800" y="1567"/>
                  </a:cubicBezTo>
                  <a:lnTo>
                    <a:pt x="517227" y="1567"/>
                  </a:lnTo>
                  <a:cubicBezTo>
                    <a:pt x="517878" y="1479"/>
                    <a:pt x="518476" y="1935"/>
                    <a:pt x="518565" y="2586"/>
                  </a:cubicBezTo>
                  <a:cubicBezTo>
                    <a:pt x="518580" y="2691"/>
                    <a:pt x="518580" y="2798"/>
                    <a:pt x="518565" y="2904"/>
                  </a:cubicBezTo>
                  <a:lnTo>
                    <a:pt x="518565" y="91187"/>
                  </a:lnTo>
                  <a:cubicBezTo>
                    <a:pt x="518654" y="91837"/>
                    <a:pt x="518196" y="92436"/>
                    <a:pt x="517545" y="92524"/>
                  </a:cubicBezTo>
                  <a:cubicBezTo>
                    <a:pt x="517441" y="92539"/>
                    <a:pt x="517334" y="92539"/>
                    <a:pt x="517227" y="92524"/>
                  </a:cubicBezTo>
                  <a:lnTo>
                    <a:pt x="508667" y="92524"/>
                  </a:lnTo>
                  <a:cubicBezTo>
                    <a:pt x="507706" y="92589"/>
                    <a:pt x="506803" y="92058"/>
                    <a:pt x="506393" y="91187"/>
                  </a:cubicBezTo>
                  <a:lnTo>
                    <a:pt x="465060" y="23236"/>
                  </a:lnTo>
                  <a:lnTo>
                    <a:pt x="464659" y="23236"/>
                  </a:lnTo>
                  <a:lnTo>
                    <a:pt x="464659" y="91187"/>
                  </a:lnTo>
                  <a:cubicBezTo>
                    <a:pt x="464748" y="91837"/>
                    <a:pt x="464290" y="92436"/>
                    <a:pt x="463639" y="92524"/>
                  </a:cubicBezTo>
                  <a:cubicBezTo>
                    <a:pt x="463535" y="92539"/>
                    <a:pt x="463428" y="92539"/>
                    <a:pt x="463321" y="92524"/>
                  </a:cubicBezTo>
                  <a:lnTo>
                    <a:pt x="454894" y="92524"/>
                  </a:lnTo>
                  <a:cubicBezTo>
                    <a:pt x="454243" y="92612"/>
                    <a:pt x="453646" y="92156"/>
                    <a:pt x="453557" y="91505"/>
                  </a:cubicBezTo>
                  <a:cubicBezTo>
                    <a:pt x="453542" y="91400"/>
                    <a:pt x="453542" y="91293"/>
                    <a:pt x="453557" y="91187"/>
                  </a:cubicBezTo>
                  <a:close/>
                  <a:moveTo>
                    <a:pt x="539164" y="79683"/>
                  </a:moveTo>
                  <a:cubicBezTo>
                    <a:pt x="539075" y="79033"/>
                    <a:pt x="539533" y="78434"/>
                    <a:pt x="540184" y="78346"/>
                  </a:cubicBezTo>
                  <a:cubicBezTo>
                    <a:pt x="540288" y="78331"/>
                    <a:pt x="540395" y="78331"/>
                    <a:pt x="540502" y="78346"/>
                  </a:cubicBezTo>
                  <a:lnTo>
                    <a:pt x="550668" y="78346"/>
                  </a:lnTo>
                  <a:cubicBezTo>
                    <a:pt x="551319" y="78258"/>
                    <a:pt x="551916" y="78714"/>
                    <a:pt x="552005" y="79365"/>
                  </a:cubicBezTo>
                  <a:cubicBezTo>
                    <a:pt x="552020" y="79470"/>
                    <a:pt x="552020" y="79577"/>
                    <a:pt x="552005" y="79683"/>
                  </a:cubicBezTo>
                  <a:lnTo>
                    <a:pt x="552005" y="91187"/>
                  </a:lnTo>
                  <a:cubicBezTo>
                    <a:pt x="552094" y="91837"/>
                    <a:pt x="551637" y="92436"/>
                    <a:pt x="550986" y="92524"/>
                  </a:cubicBezTo>
                  <a:cubicBezTo>
                    <a:pt x="550882" y="92539"/>
                    <a:pt x="550775" y="92539"/>
                    <a:pt x="550668" y="92524"/>
                  </a:cubicBezTo>
                  <a:lnTo>
                    <a:pt x="540502" y="92524"/>
                  </a:lnTo>
                  <a:cubicBezTo>
                    <a:pt x="539851" y="92612"/>
                    <a:pt x="539253" y="92156"/>
                    <a:pt x="539164" y="91505"/>
                  </a:cubicBezTo>
                  <a:cubicBezTo>
                    <a:pt x="539149" y="91400"/>
                    <a:pt x="539149" y="91293"/>
                    <a:pt x="539164" y="91187"/>
                  </a:cubicBezTo>
                  <a:close/>
                  <a:moveTo>
                    <a:pt x="601883" y="2904"/>
                  </a:moveTo>
                  <a:cubicBezTo>
                    <a:pt x="601794" y="2253"/>
                    <a:pt x="602252" y="1655"/>
                    <a:pt x="602903" y="1567"/>
                  </a:cubicBezTo>
                  <a:cubicBezTo>
                    <a:pt x="603007" y="1552"/>
                    <a:pt x="603114" y="1552"/>
                    <a:pt x="603221" y="1567"/>
                  </a:cubicBezTo>
                  <a:lnTo>
                    <a:pt x="612465" y="1567"/>
                  </a:lnTo>
                  <a:cubicBezTo>
                    <a:pt x="613116" y="1479"/>
                    <a:pt x="613714" y="1935"/>
                    <a:pt x="613803" y="2586"/>
                  </a:cubicBezTo>
                  <a:cubicBezTo>
                    <a:pt x="613818" y="2691"/>
                    <a:pt x="613818" y="2798"/>
                    <a:pt x="613803" y="2904"/>
                  </a:cubicBezTo>
                  <a:lnTo>
                    <a:pt x="613803" y="80620"/>
                  </a:lnTo>
                  <a:cubicBezTo>
                    <a:pt x="613750" y="81008"/>
                    <a:pt x="614020" y="81368"/>
                    <a:pt x="614406" y="81422"/>
                  </a:cubicBezTo>
                  <a:cubicBezTo>
                    <a:pt x="614472" y="81431"/>
                    <a:pt x="614540" y="81431"/>
                    <a:pt x="614606" y="81422"/>
                  </a:cubicBezTo>
                  <a:lnTo>
                    <a:pt x="657944" y="81422"/>
                  </a:lnTo>
                  <a:cubicBezTo>
                    <a:pt x="658595" y="81334"/>
                    <a:pt x="659193" y="81791"/>
                    <a:pt x="659282" y="82441"/>
                  </a:cubicBezTo>
                  <a:cubicBezTo>
                    <a:pt x="659297" y="82547"/>
                    <a:pt x="659297" y="82654"/>
                    <a:pt x="659282" y="82760"/>
                  </a:cubicBezTo>
                  <a:lnTo>
                    <a:pt x="659282" y="91187"/>
                  </a:lnTo>
                  <a:cubicBezTo>
                    <a:pt x="659371" y="91837"/>
                    <a:pt x="658913" y="92436"/>
                    <a:pt x="658262" y="92524"/>
                  </a:cubicBezTo>
                  <a:cubicBezTo>
                    <a:pt x="658158" y="92539"/>
                    <a:pt x="658051" y="92539"/>
                    <a:pt x="657944" y="92524"/>
                  </a:cubicBezTo>
                  <a:lnTo>
                    <a:pt x="603251" y="92524"/>
                  </a:lnTo>
                  <a:cubicBezTo>
                    <a:pt x="602600" y="92612"/>
                    <a:pt x="602002" y="92156"/>
                    <a:pt x="601913" y="91505"/>
                  </a:cubicBezTo>
                  <a:cubicBezTo>
                    <a:pt x="601898" y="91400"/>
                    <a:pt x="601898" y="91293"/>
                    <a:pt x="601913" y="91187"/>
                  </a:cubicBezTo>
                  <a:close/>
                  <a:moveTo>
                    <a:pt x="703958" y="93996"/>
                  </a:moveTo>
                  <a:cubicBezTo>
                    <a:pt x="697080" y="94218"/>
                    <a:pt x="690294" y="92353"/>
                    <a:pt x="684495" y="88645"/>
                  </a:cubicBezTo>
                  <a:cubicBezTo>
                    <a:pt x="678981" y="84796"/>
                    <a:pt x="674947" y="79181"/>
                    <a:pt x="673056" y="72728"/>
                  </a:cubicBezTo>
                  <a:cubicBezTo>
                    <a:pt x="672605" y="71362"/>
                    <a:pt x="672224" y="69973"/>
                    <a:pt x="671921" y="68566"/>
                  </a:cubicBezTo>
                  <a:cubicBezTo>
                    <a:pt x="671576" y="66911"/>
                    <a:pt x="671329" y="65236"/>
                    <a:pt x="671187" y="63552"/>
                  </a:cubicBezTo>
                  <a:cubicBezTo>
                    <a:pt x="671008" y="61635"/>
                    <a:pt x="670875" y="59339"/>
                    <a:pt x="670785" y="56661"/>
                  </a:cubicBezTo>
                  <a:cubicBezTo>
                    <a:pt x="670696" y="53984"/>
                    <a:pt x="670652" y="50774"/>
                    <a:pt x="670652" y="47031"/>
                  </a:cubicBezTo>
                  <a:cubicBezTo>
                    <a:pt x="670652" y="43285"/>
                    <a:pt x="670696" y="40075"/>
                    <a:pt x="670785" y="37400"/>
                  </a:cubicBezTo>
                  <a:cubicBezTo>
                    <a:pt x="670875" y="34725"/>
                    <a:pt x="671008" y="32429"/>
                    <a:pt x="671187" y="30513"/>
                  </a:cubicBezTo>
                  <a:cubicBezTo>
                    <a:pt x="671329" y="28832"/>
                    <a:pt x="671573" y="27161"/>
                    <a:pt x="671915" y="25510"/>
                  </a:cubicBezTo>
                  <a:cubicBezTo>
                    <a:pt x="672218" y="24104"/>
                    <a:pt x="672599" y="22714"/>
                    <a:pt x="673051" y="21348"/>
                  </a:cubicBezTo>
                  <a:cubicBezTo>
                    <a:pt x="674941" y="14894"/>
                    <a:pt x="678978" y="9279"/>
                    <a:pt x="684495" y="5431"/>
                  </a:cubicBezTo>
                  <a:cubicBezTo>
                    <a:pt x="696536" y="-1703"/>
                    <a:pt x="711511" y="-1703"/>
                    <a:pt x="723553" y="5431"/>
                  </a:cubicBezTo>
                  <a:cubicBezTo>
                    <a:pt x="729067" y="9280"/>
                    <a:pt x="733100" y="14895"/>
                    <a:pt x="734991" y="21348"/>
                  </a:cubicBezTo>
                  <a:cubicBezTo>
                    <a:pt x="735443" y="22714"/>
                    <a:pt x="735823" y="24104"/>
                    <a:pt x="736126" y="25510"/>
                  </a:cubicBezTo>
                  <a:cubicBezTo>
                    <a:pt x="736474" y="27166"/>
                    <a:pt x="736718" y="28841"/>
                    <a:pt x="736864" y="30527"/>
                  </a:cubicBezTo>
                  <a:cubicBezTo>
                    <a:pt x="737042" y="32446"/>
                    <a:pt x="737176" y="34742"/>
                    <a:pt x="737265" y="37415"/>
                  </a:cubicBezTo>
                  <a:cubicBezTo>
                    <a:pt x="737354" y="40088"/>
                    <a:pt x="737399" y="43298"/>
                    <a:pt x="737399" y="47046"/>
                  </a:cubicBezTo>
                  <a:cubicBezTo>
                    <a:pt x="737399" y="50791"/>
                    <a:pt x="737354" y="54001"/>
                    <a:pt x="737265" y="56676"/>
                  </a:cubicBezTo>
                  <a:cubicBezTo>
                    <a:pt x="737176" y="59352"/>
                    <a:pt x="737042" y="61648"/>
                    <a:pt x="736864" y="63567"/>
                  </a:cubicBezTo>
                  <a:cubicBezTo>
                    <a:pt x="736718" y="65253"/>
                    <a:pt x="736474" y="66928"/>
                    <a:pt x="736126" y="68584"/>
                  </a:cubicBezTo>
                  <a:cubicBezTo>
                    <a:pt x="735823" y="69990"/>
                    <a:pt x="735443" y="71380"/>
                    <a:pt x="734991" y="72746"/>
                  </a:cubicBezTo>
                  <a:cubicBezTo>
                    <a:pt x="733100" y="79199"/>
                    <a:pt x="729067" y="84814"/>
                    <a:pt x="723553" y="88663"/>
                  </a:cubicBezTo>
                  <a:cubicBezTo>
                    <a:pt x="717709" y="92376"/>
                    <a:pt x="710878" y="94235"/>
                    <a:pt x="703958" y="93996"/>
                  </a:cubicBezTo>
                  <a:close/>
                  <a:moveTo>
                    <a:pt x="703958" y="82894"/>
                  </a:moveTo>
                  <a:cubicBezTo>
                    <a:pt x="708369" y="83088"/>
                    <a:pt x="712727" y="81870"/>
                    <a:pt x="716398" y="79416"/>
                  </a:cubicBezTo>
                  <a:cubicBezTo>
                    <a:pt x="719739" y="76911"/>
                    <a:pt x="722180" y="73391"/>
                    <a:pt x="723354" y="69384"/>
                  </a:cubicBezTo>
                  <a:cubicBezTo>
                    <a:pt x="723666" y="68398"/>
                    <a:pt x="723913" y="67392"/>
                    <a:pt x="724091" y="66373"/>
                  </a:cubicBezTo>
                  <a:cubicBezTo>
                    <a:pt x="724314" y="65168"/>
                    <a:pt x="724537" y="63674"/>
                    <a:pt x="724760" y="61893"/>
                  </a:cubicBezTo>
                  <a:cubicBezTo>
                    <a:pt x="724983" y="60112"/>
                    <a:pt x="725140" y="58016"/>
                    <a:pt x="725229" y="55606"/>
                  </a:cubicBezTo>
                  <a:cubicBezTo>
                    <a:pt x="725319" y="53199"/>
                    <a:pt x="725363" y="50345"/>
                    <a:pt x="725363" y="47046"/>
                  </a:cubicBezTo>
                  <a:cubicBezTo>
                    <a:pt x="725363" y="43746"/>
                    <a:pt x="725319" y="40892"/>
                    <a:pt x="725229" y="38485"/>
                  </a:cubicBezTo>
                  <a:cubicBezTo>
                    <a:pt x="725140" y="36077"/>
                    <a:pt x="724983" y="33981"/>
                    <a:pt x="724760" y="32198"/>
                  </a:cubicBezTo>
                  <a:cubicBezTo>
                    <a:pt x="724537" y="30415"/>
                    <a:pt x="724314" y="28921"/>
                    <a:pt x="724091" y="27718"/>
                  </a:cubicBezTo>
                  <a:cubicBezTo>
                    <a:pt x="723913" y="26699"/>
                    <a:pt x="723666" y="25693"/>
                    <a:pt x="723354" y="24707"/>
                  </a:cubicBezTo>
                  <a:cubicBezTo>
                    <a:pt x="722180" y="20699"/>
                    <a:pt x="719739" y="17180"/>
                    <a:pt x="716398" y="14675"/>
                  </a:cubicBezTo>
                  <a:cubicBezTo>
                    <a:pt x="712727" y="12221"/>
                    <a:pt x="708369" y="11003"/>
                    <a:pt x="703958" y="11197"/>
                  </a:cubicBezTo>
                  <a:cubicBezTo>
                    <a:pt x="699568" y="10996"/>
                    <a:pt x="695228" y="12215"/>
                    <a:pt x="691584" y="14675"/>
                  </a:cubicBezTo>
                  <a:cubicBezTo>
                    <a:pt x="688276" y="17198"/>
                    <a:pt x="685862" y="20714"/>
                    <a:pt x="684697" y="24707"/>
                  </a:cubicBezTo>
                  <a:cubicBezTo>
                    <a:pt x="684385" y="25693"/>
                    <a:pt x="684138" y="26699"/>
                    <a:pt x="683962" y="27718"/>
                  </a:cubicBezTo>
                  <a:cubicBezTo>
                    <a:pt x="683740" y="28921"/>
                    <a:pt x="683517" y="30415"/>
                    <a:pt x="683294" y="32198"/>
                  </a:cubicBezTo>
                  <a:cubicBezTo>
                    <a:pt x="683071" y="33981"/>
                    <a:pt x="682913" y="36077"/>
                    <a:pt x="682824" y="38485"/>
                  </a:cubicBezTo>
                  <a:cubicBezTo>
                    <a:pt x="682735" y="40892"/>
                    <a:pt x="682690" y="43746"/>
                    <a:pt x="682690" y="47046"/>
                  </a:cubicBezTo>
                  <a:cubicBezTo>
                    <a:pt x="682690" y="50345"/>
                    <a:pt x="682735" y="53199"/>
                    <a:pt x="682824" y="55606"/>
                  </a:cubicBezTo>
                  <a:cubicBezTo>
                    <a:pt x="682913" y="58014"/>
                    <a:pt x="683071" y="60110"/>
                    <a:pt x="683294" y="61893"/>
                  </a:cubicBezTo>
                  <a:cubicBezTo>
                    <a:pt x="683517" y="63677"/>
                    <a:pt x="683740" y="65170"/>
                    <a:pt x="683962" y="66373"/>
                  </a:cubicBezTo>
                  <a:cubicBezTo>
                    <a:pt x="684138" y="67392"/>
                    <a:pt x="684385" y="68398"/>
                    <a:pt x="684697" y="69384"/>
                  </a:cubicBezTo>
                  <a:cubicBezTo>
                    <a:pt x="685862" y="73377"/>
                    <a:pt x="688276" y="76893"/>
                    <a:pt x="691584" y="79416"/>
                  </a:cubicBezTo>
                  <a:cubicBezTo>
                    <a:pt x="695228" y="81876"/>
                    <a:pt x="699568" y="83095"/>
                    <a:pt x="703958" y="82894"/>
                  </a:cubicBezTo>
                  <a:close/>
                  <a:moveTo>
                    <a:pt x="755858" y="72728"/>
                  </a:moveTo>
                  <a:cubicBezTo>
                    <a:pt x="755406" y="71367"/>
                    <a:pt x="755049" y="69976"/>
                    <a:pt x="754788" y="68566"/>
                  </a:cubicBezTo>
                  <a:cubicBezTo>
                    <a:pt x="754520" y="67139"/>
                    <a:pt x="754276" y="65468"/>
                    <a:pt x="754053" y="63552"/>
                  </a:cubicBezTo>
                  <a:cubicBezTo>
                    <a:pt x="753831" y="61635"/>
                    <a:pt x="753676" y="59339"/>
                    <a:pt x="753584" y="56661"/>
                  </a:cubicBezTo>
                  <a:cubicBezTo>
                    <a:pt x="753495" y="53986"/>
                    <a:pt x="753450" y="50776"/>
                    <a:pt x="753450" y="47031"/>
                  </a:cubicBezTo>
                  <a:cubicBezTo>
                    <a:pt x="753450" y="43285"/>
                    <a:pt x="753495" y="40075"/>
                    <a:pt x="753584" y="37400"/>
                  </a:cubicBezTo>
                  <a:cubicBezTo>
                    <a:pt x="753673" y="34725"/>
                    <a:pt x="753831" y="32429"/>
                    <a:pt x="754053" y="30513"/>
                  </a:cubicBezTo>
                  <a:cubicBezTo>
                    <a:pt x="754276" y="28596"/>
                    <a:pt x="754523" y="26925"/>
                    <a:pt x="754788" y="25498"/>
                  </a:cubicBezTo>
                  <a:cubicBezTo>
                    <a:pt x="755049" y="24088"/>
                    <a:pt x="755406" y="22698"/>
                    <a:pt x="755858" y="21337"/>
                  </a:cubicBezTo>
                  <a:cubicBezTo>
                    <a:pt x="757757" y="14874"/>
                    <a:pt x="761818" y="9259"/>
                    <a:pt x="767361" y="5431"/>
                  </a:cubicBezTo>
                  <a:cubicBezTo>
                    <a:pt x="773232" y="1717"/>
                    <a:pt x="780081" y="-147"/>
                    <a:pt x="787024" y="80"/>
                  </a:cubicBezTo>
                  <a:cubicBezTo>
                    <a:pt x="790683" y="33"/>
                    <a:pt x="794331" y="505"/>
                    <a:pt x="797859" y="1483"/>
                  </a:cubicBezTo>
                  <a:cubicBezTo>
                    <a:pt x="800891" y="2339"/>
                    <a:pt x="803777" y="3646"/>
                    <a:pt x="806420" y="5362"/>
                  </a:cubicBezTo>
                  <a:cubicBezTo>
                    <a:pt x="808839" y="6943"/>
                    <a:pt x="811003" y="8882"/>
                    <a:pt x="812840" y="11114"/>
                  </a:cubicBezTo>
                  <a:cubicBezTo>
                    <a:pt x="814600" y="13260"/>
                    <a:pt x="816083" y="15619"/>
                    <a:pt x="817254" y="18135"/>
                  </a:cubicBezTo>
                  <a:cubicBezTo>
                    <a:pt x="817682" y="18669"/>
                    <a:pt x="817593" y="19447"/>
                    <a:pt x="817061" y="19873"/>
                  </a:cubicBezTo>
                  <a:cubicBezTo>
                    <a:pt x="816996" y="19925"/>
                    <a:pt x="816927" y="19970"/>
                    <a:pt x="816853" y="20008"/>
                  </a:cubicBezTo>
                  <a:lnTo>
                    <a:pt x="808827" y="23872"/>
                  </a:lnTo>
                  <a:cubicBezTo>
                    <a:pt x="808034" y="24318"/>
                    <a:pt x="807409" y="24095"/>
                    <a:pt x="806955" y="23203"/>
                  </a:cubicBezTo>
                  <a:cubicBezTo>
                    <a:pt x="805109" y="19530"/>
                    <a:pt x="802344" y="16396"/>
                    <a:pt x="798929" y="14107"/>
                  </a:cubicBezTo>
                  <a:cubicBezTo>
                    <a:pt x="795323" y="12022"/>
                    <a:pt x="791201" y="11001"/>
                    <a:pt x="787039" y="11165"/>
                  </a:cubicBezTo>
                  <a:cubicBezTo>
                    <a:pt x="782566" y="10966"/>
                    <a:pt x="778139" y="12183"/>
                    <a:pt x="774397" y="14643"/>
                  </a:cubicBezTo>
                  <a:cubicBezTo>
                    <a:pt x="771020" y="17129"/>
                    <a:pt x="768553" y="20653"/>
                    <a:pt x="767373" y="24675"/>
                  </a:cubicBezTo>
                  <a:cubicBezTo>
                    <a:pt x="767106" y="25477"/>
                    <a:pt x="766838" y="26458"/>
                    <a:pt x="766571" y="27617"/>
                  </a:cubicBezTo>
                  <a:cubicBezTo>
                    <a:pt x="766270" y="29028"/>
                    <a:pt x="766071" y="30458"/>
                    <a:pt x="765976" y="31898"/>
                  </a:cubicBezTo>
                  <a:cubicBezTo>
                    <a:pt x="765842" y="33592"/>
                    <a:pt x="765732" y="35665"/>
                    <a:pt x="765643" y="38116"/>
                  </a:cubicBezTo>
                  <a:cubicBezTo>
                    <a:pt x="765554" y="40568"/>
                    <a:pt x="765503" y="43544"/>
                    <a:pt x="765489" y="47046"/>
                  </a:cubicBezTo>
                  <a:cubicBezTo>
                    <a:pt x="765489" y="50523"/>
                    <a:pt x="765533" y="53489"/>
                    <a:pt x="765622" y="55942"/>
                  </a:cubicBezTo>
                  <a:cubicBezTo>
                    <a:pt x="765712" y="58395"/>
                    <a:pt x="765822" y="60468"/>
                    <a:pt x="765955" y="62161"/>
                  </a:cubicBezTo>
                  <a:cubicBezTo>
                    <a:pt x="766050" y="63600"/>
                    <a:pt x="766250" y="65030"/>
                    <a:pt x="766550" y="66441"/>
                  </a:cubicBezTo>
                  <a:cubicBezTo>
                    <a:pt x="766817" y="67600"/>
                    <a:pt x="767085" y="68581"/>
                    <a:pt x="767352" y="69384"/>
                  </a:cubicBezTo>
                  <a:cubicBezTo>
                    <a:pt x="768532" y="73406"/>
                    <a:pt x="771003" y="76930"/>
                    <a:pt x="774376" y="79416"/>
                  </a:cubicBezTo>
                  <a:cubicBezTo>
                    <a:pt x="778119" y="81876"/>
                    <a:pt x="782545" y="83093"/>
                    <a:pt x="787018" y="82894"/>
                  </a:cubicBezTo>
                  <a:cubicBezTo>
                    <a:pt x="791319" y="82991"/>
                    <a:pt x="795555" y="81829"/>
                    <a:pt x="799205" y="79550"/>
                  </a:cubicBezTo>
                  <a:cubicBezTo>
                    <a:pt x="802728" y="77261"/>
                    <a:pt x="805335" y="73803"/>
                    <a:pt x="806562" y="69785"/>
                  </a:cubicBezTo>
                  <a:cubicBezTo>
                    <a:pt x="807082" y="67895"/>
                    <a:pt x="807481" y="65974"/>
                    <a:pt x="807751" y="64033"/>
                  </a:cubicBezTo>
                  <a:cubicBezTo>
                    <a:pt x="808141" y="61197"/>
                    <a:pt x="808322" y="58335"/>
                    <a:pt x="808286" y="55472"/>
                  </a:cubicBezTo>
                  <a:cubicBezTo>
                    <a:pt x="808340" y="55084"/>
                    <a:pt x="808069" y="54725"/>
                    <a:pt x="807683" y="54670"/>
                  </a:cubicBezTo>
                  <a:cubicBezTo>
                    <a:pt x="807618" y="54661"/>
                    <a:pt x="807549" y="54661"/>
                    <a:pt x="807484" y="54670"/>
                  </a:cubicBezTo>
                  <a:lnTo>
                    <a:pt x="789827" y="54670"/>
                  </a:lnTo>
                  <a:cubicBezTo>
                    <a:pt x="789176" y="54758"/>
                    <a:pt x="788579" y="54302"/>
                    <a:pt x="788490" y="53651"/>
                  </a:cubicBezTo>
                  <a:cubicBezTo>
                    <a:pt x="788475" y="53545"/>
                    <a:pt x="788475" y="53438"/>
                    <a:pt x="788490" y="53332"/>
                  </a:cubicBezTo>
                  <a:lnTo>
                    <a:pt x="788490" y="45559"/>
                  </a:lnTo>
                  <a:cubicBezTo>
                    <a:pt x="788400" y="44909"/>
                    <a:pt x="788858" y="44310"/>
                    <a:pt x="789509" y="44222"/>
                  </a:cubicBezTo>
                  <a:cubicBezTo>
                    <a:pt x="789613" y="44207"/>
                    <a:pt x="789720" y="44207"/>
                    <a:pt x="789827" y="44222"/>
                  </a:cubicBezTo>
                  <a:lnTo>
                    <a:pt x="818854" y="44222"/>
                  </a:lnTo>
                  <a:cubicBezTo>
                    <a:pt x="819504" y="44134"/>
                    <a:pt x="820102" y="44590"/>
                    <a:pt x="820191" y="45241"/>
                  </a:cubicBezTo>
                  <a:cubicBezTo>
                    <a:pt x="820206" y="45346"/>
                    <a:pt x="820206" y="45453"/>
                    <a:pt x="820191" y="45559"/>
                  </a:cubicBezTo>
                  <a:lnTo>
                    <a:pt x="820191" y="52396"/>
                  </a:lnTo>
                  <a:cubicBezTo>
                    <a:pt x="820209" y="56216"/>
                    <a:pt x="820010" y="60034"/>
                    <a:pt x="819597" y="63831"/>
                  </a:cubicBezTo>
                  <a:cubicBezTo>
                    <a:pt x="819314" y="66751"/>
                    <a:pt x="818755" y="69638"/>
                    <a:pt x="817926" y="72451"/>
                  </a:cubicBezTo>
                  <a:cubicBezTo>
                    <a:pt x="816042" y="78925"/>
                    <a:pt x="812008" y="84563"/>
                    <a:pt x="806488" y="88434"/>
                  </a:cubicBezTo>
                  <a:cubicBezTo>
                    <a:pt x="800727" y="92243"/>
                    <a:pt x="793932" y="94182"/>
                    <a:pt x="787027" y="93987"/>
                  </a:cubicBezTo>
                  <a:cubicBezTo>
                    <a:pt x="780084" y="94214"/>
                    <a:pt x="773235" y="92350"/>
                    <a:pt x="767364" y="88636"/>
                  </a:cubicBezTo>
                  <a:cubicBezTo>
                    <a:pt x="761821" y="84808"/>
                    <a:pt x="757757" y="79192"/>
                    <a:pt x="755858" y="72728"/>
                  </a:cubicBezTo>
                  <a:close/>
                  <a:moveTo>
                    <a:pt x="839459" y="2904"/>
                  </a:moveTo>
                  <a:cubicBezTo>
                    <a:pt x="839370" y="2253"/>
                    <a:pt x="839827" y="1655"/>
                    <a:pt x="840478" y="1567"/>
                  </a:cubicBezTo>
                  <a:cubicBezTo>
                    <a:pt x="840582" y="1552"/>
                    <a:pt x="840689" y="1552"/>
                    <a:pt x="840796" y="1567"/>
                  </a:cubicBezTo>
                  <a:lnTo>
                    <a:pt x="850011" y="1567"/>
                  </a:lnTo>
                  <a:cubicBezTo>
                    <a:pt x="850662" y="1479"/>
                    <a:pt x="851259" y="1935"/>
                    <a:pt x="851349" y="2586"/>
                  </a:cubicBezTo>
                  <a:cubicBezTo>
                    <a:pt x="851363" y="2691"/>
                    <a:pt x="851363" y="2798"/>
                    <a:pt x="851349" y="2904"/>
                  </a:cubicBezTo>
                  <a:lnTo>
                    <a:pt x="851349" y="91187"/>
                  </a:lnTo>
                  <a:cubicBezTo>
                    <a:pt x="851438" y="91837"/>
                    <a:pt x="850980" y="92436"/>
                    <a:pt x="850329" y="92524"/>
                  </a:cubicBezTo>
                  <a:cubicBezTo>
                    <a:pt x="850225" y="92539"/>
                    <a:pt x="850118" y="92539"/>
                    <a:pt x="850011" y="92524"/>
                  </a:cubicBezTo>
                  <a:lnTo>
                    <a:pt x="840796" y="92524"/>
                  </a:lnTo>
                  <a:cubicBezTo>
                    <a:pt x="840145" y="92612"/>
                    <a:pt x="839548" y="92156"/>
                    <a:pt x="839459" y="91505"/>
                  </a:cubicBezTo>
                  <a:cubicBezTo>
                    <a:pt x="839444" y="91400"/>
                    <a:pt x="839444" y="91293"/>
                    <a:pt x="839459" y="91187"/>
                  </a:cubicBezTo>
                  <a:close/>
                  <a:moveTo>
                    <a:pt x="901390" y="93996"/>
                  </a:moveTo>
                  <a:cubicBezTo>
                    <a:pt x="898201" y="93998"/>
                    <a:pt x="895020" y="93684"/>
                    <a:pt x="891893" y="93059"/>
                  </a:cubicBezTo>
                  <a:cubicBezTo>
                    <a:pt x="888891" y="92468"/>
                    <a:pt x="885939" y="91640"/>
                    <a:pt x="883065" y="90583"/>
                  </a:cubicBezTo>
                  <a:cubicBezTo>
                    <a:pt x="880419" y="89614"/>
                    <a:pt x="877866" y="88405"/>
                    <a:pt x="875441" y="86972"/>
                  </a:cubicBezTo>
                  <a:cubicBezTo>
                    <a:pt x="873300" y="85719"/>
                    <a:pt x="871285" y="84264"/>
                    <a:pt x="869421" y="82626"/>
                  </a:cubicBezTo>
                  <a:cubicBezTo>
                    <a:pt x="868833" y="82145"/>
                    <a:pt x="868747" y="81278"/>
                    <a:pt x="869225" y="80689"/>
                  </a:cubicBezTo>
                  <a:cubicBezTo>
                    <a:pt x="869246" y="80665"/>
                    <a:pt x="869267" y="80642"/>
                    <a:pt x="869288" y="80620"/>
                  </a:cubicBezTo>
                  <a:lnTo>
                    <a:pt x="875173" y="73664"/>
                  </a:lnTo>
                  <a:cubicBezTo>
                    <a:pt x="875568" y="73116"/>
                    <a:pt x="876335" y="72993"/>
                    <a:pt x="876882" y="73389"/>
                  </a:cubicBezTo>
                  <a:cubicBezTo>
                    <a:pt x="876942" y="73431"/>
                    <a:pt x="876995" y="73479"/>
                    <a:pt x="877046" y="73530"/>
                  </a:cubicBezTo>
                  <a:cubicBezTo>
                    <a:pt x="880428" y="76108"/>
                    <a:pt x="884111" y="78264"/>
                    <a:pt x="888014" y="79951"/>
                  </a:cubicBezTo>
                  <a:cubicBezTo>
                    <a:pt x="892565" y="81950"/>
                    <a:pt x="897490" y="82953"/>
                    <a:pt x="902460" y="82894"/>
                  </a:cubicBezTo>
                  <a:cubicBezTo>
                    <a:pt x="907734" y="83216"/>
                    <a:pt x="912956" y="81703"/>
                    <a:pt x="917242" y="78613"/>
                  </a:cubicBezTo>
                  <a:cubicBezTo>
                    <a:pt x="920688" y="75920"/>
                    <a:pt x="922649" y="71749"/>
                    <a:pt x="922525" y="67377"/>
                  </a:cubicBezTo>
                  <a:cubicBezTo>
                    <a:pt x="922548" y="65551"/>
                    <a:pt x="922230" y="63736"/>
                    <a:pt x="921588" y="62027"/>
                  </a:cubicBezTo>
                  <a:cubicBezTo>
                    <a:pt x="920919" y="60358"/>
                    <a:pt x="919838" y="58886"/>
                    <a:pt x="918446" y="57746"/>
                  </a:cubicBezTo>
                  <a:cubicBezTo>
                    <a:pt x="916707" y="56348"/>
                    <a:pt x="914737" y="55261"/>
                    <a:pt x="912626" y="54536"/>
                  </a:cubicBezTo>
                  <a:cubicBezTo>
                    <a:pt x="909681" y="53523"/>
                    <a:pt x="906628" y="52850"/>
                    <a:pt x="903531" y="52530"/>
                  </a:cubicBezTo>
                  <a:lnTo>
                    <a:pt x="898983" y="51861"/>
                  </a:lnTo>
                  <a:cubicBezTo>
                    <a:pt x="881148" y="49453"/>
                    <a:pt x="872230" y="41071"/>
                    <a:pt x="872230" y="26714"/>
                  </a:cubicBezTo>
                  <a:cubicBezTo>
                    <a:pt x="872183" y="22955"/>
                    <a:pt x="872890" y="19226"/>
                    <a:pt x="874311" y="15745"/>
                  </a:cubicBezTo>
                  <a:cubicBezTo>
                    <a:pt x="875634" y="12526"/>
                    <a:pt x="877667" y="9645"/>
                    <a:pt x="880256" y="7318"/>
                  </a:cubicBezTo>
                  <a:cubicBezTo>
                    <a:pt x="882982" y="4919"/>
                    <a:pt x="886168" y="3099"/>
                    <a:pt x="889619" y="1968"/>
                  </a:cubicBezTo>
                  <a:cubicBezTo>
                    <a:pt x="893590" y="670"/>
                    <a:pt x="897749" y="38"/>
                    <a:pt x="901925" y="95"/>
                  </a:cubicBezTo>
                  <a:cubicBezTo>
                    <a:pt x="907121" y="71"/>
                    <a:pt x="912287" y="861"/>
                    <a:pt x="917240" y="2435"/>
                  </a:cubicBezTo>
                  <a:cubicBezTo>
                    <a:pt x="921672" y="3779"/>
                    <a:pt x="925857" y="5835"/>
                    <a:pt x="929629" y="8522"/>
                  </a:cubicBezTo>
                  <a:cubicBezTo>
                    <a:pt x="930203" y="8842"/>
                    <a:pt x="930408" y="9566"/>
                    <a:pt x="930087" y="10140"/>
                  </a:cubicBezTo>
                  <a:cubicBezTo>
                    <a:pt x="930036" y="10233"/>
                    <a:pt x="929971" y="10319"/>
                    <a:pt x="929896" y="10395"/>
                  </a:cubicBezTo>
                  <a:lnTo>
                    <a:pt x="925348" y="17752"/>
                  </a:lnTo>
                  <a:cubicBezTo>
                    <a:pt x="924932" y="18339"/>
                    <a:pt x="924121" y="18478"/>
                    <a:pt x="923532" y="18063"/>
                  </a:cubicBezTo>
                  <a:cubicBezTo>
                    <a:pt x="923514" y="18049"/>
                    <a:pt x="923494" y="18034"/>
                    <a:pt x="923476" y="18019"/>
                  </a:cubicBezTo>
                  <a:cubicBezTo>
                    <a:pt x="920081" y="15865"/>
                    <a:pt x="916440" y="14133"/>
                    <a:pt x="912626" y="12862"/>
                  </a:cubicBezTo>
                  <a:cubicBezTo>
                    <a:pt x="909036" y="11731"/>
                    <a:pt x="905290" y="11167"/>
                    <a:pt x="901524" y="11191"/>
                  </a:cubicBezTo>
                  <a:cubicBezTo>
                    <a:pt x="896881" y="10866"/>
                    <a:pt x="892289" y="12324"/>
                    <a:pt x="888683" y="15270"/>
                  </a:cubicBezTo>
                  <a:cubicBezTo>
                    <a:pt x="885734" y="18002"/>
                    <a:pt x="884123" y="21885"/>
                    <a:pt x="884269" y="25902"/>
                  </a:cubicBezTo>
                  <a:cubicBezTo>
                    <a:pt x="884177" y="29535"/>
                    <a:pt x="885755" y="33009"/>
                    <a:pt x="888549" y="35331"/>
                  </a:cubicBezTo>
                  <a:cubicBezTo>
                    <a:pt x="892943" y="38358"/>
                    <a:pt x="898073" y="40139"/>
                    <a:pt x="903397" y="40482"/>
                  </a:cubicBezTo>
                  <a:lnTo>
                    <a:pt x="907811" y="41151"/>
                  </a:lnTo>
                  <a:cubicBezTo>
                    <a:pt x="915156" y="41744"/>
                    <a:pt x="922147" y="44541"/>
                    <a:pt x="927875" y="49177"/>
                  </a:cubicBezTo>
                  <a:cubicBezTo>
                    <a:pt x="932518" y="53730"/>
                    <a:pt x="934959" y="60074"/>
                    <a:pt x="934563" y="66566"/>
                  </a:cubicBezTo>
                  <a:cubicBezTo>
                    <a:pt x="934605" y="70345"/>
                    <a:pt x="933897" y="74095"/>
                    <a:pt x="932482" y="77600"/>
                  </a:cubicBezTo>
                  <a:cubicBezTo>
                    <a:pt x="931106" y="80934"/>
                    <a:pt x="928948" y="83890"/>
                    <a:pt x="926196" y="86220"/>
                  </a:cubicBezTo>
                  <a:cubicBezTo>
                    <a:pt x="923119" y="88775"/>
                    <a:pt x="919576" y="90706"/>
                    <a:pt x="915762" y="91906"/>
                  </a:cubicBezTo>
                  <a:cubicBezTo>
                    <a:pt x="911113" y="93368"/>
                    <a:pt x="906262" y="94074"/>
                    <a:pt x="901390" y="93996"/>
                  </a:cubicBezTo>
                  <a:close/>
                  <a:moveTo>
                    <a:pt x="971348" y="92524"/>
                  </a:moveTo>
                  <a:cubicBezTo>
                    <a:pt x="970697" y="92612"/>
                    <a:pt x="970099" y="92156"/>
                    <a:pt x="970010" y="91505"/>
                  </a:cubicBezTo>
                  <a:cubicBezTo>
                    <a:pt x="969995" y="91400"/>
                    <a:pt x="969995" y="91293"/>
                    <a:pt x="970010" y="91187"/>
                  </a:cubicBezTo>
                  <a:lnTo>
                    <a:pt x="970010" y="13457"/>
                  </a:lnTo>
                  <a:cubicBezTo>
                    <a:pt x="970063" y="13068"/>
                    <a:pt x="969793" y="12709"/>
                    <a:pt x="969407" y="12654"/>
                  </a:cubicBezTo>
                  <a:cubicBezTo>
                    <a:pt x="969341" y="12645"/>
                    <a:pt x="969273" y="12645"/>
                    <a:pt x="969207" y="12654"/>
                  </a:cubicBezTo>
                  <a:lnTo>
                    <a:pt x="944328" y="12654"/>
                  </a:lnTo>
                  <a:cubicBezTo>
                    <a:pt x="943677" y="12742"/>
                    <a:pt x="943079" y="12286"/>
                    <a:pt x="942990" y="11635"/>
                  </a:cubicBezTo>
                  <a:cubicBezTo>
                    <a:pt x="942975" y="11529"/>
                    <a:pt x="942975" y="11422"/>
                    <a:pt x="942990" y="11316"/>
                  </a:cubicBezTo>
                  <a:lnTo>
                    <a:pt x="942990" y="2904"/>
                  </a:lnTo>
                  <a:cubicBezTo>
                    <a:pt x="942901" y="2253"/>
                    <a:pt x="943359" y="1655"/>
                    <a:pt x="944010" y="1567"/>
                  </a:cubicBezTo>
                  <a:cubicBezTo>
                    <a:pt x="944114" y="1552"/>
                    <a:pt x="944221" y="1552"/>
                    <a:pt x="944328" y="1567"/>
                  </a:cubicBezTo>
                  <a:lnTo>
                    <a:pt x="1007597" y="1567"/>
                  </a:lnTo>
                  <a:cubicBezTo>
                    <a:pt x="1008248" y="1479"/>
                    <a:pt x="1008845" y="1935"/>
                    <a:pt x="1008935" y="2586"/>
                  </a:cubicBezTo>
                  <a:cubicBezTo>
                    <a:pt x="1008949" y="2691"/>
                    <a:pt x="1008949" y="2798"/>
                    <a:pt x="1008935" y="2904"/>
                  </a:cubicBezTo>
                  <a:lnTo>
                    <a:pt x="1008935" y="11331"/>
                  </a:lnTo>
                  <a:cubicBezTo>
                    <a:pt x="1009024" y="11982"/>
                    <a:pt x="1008566" y="12581"/>
                    <a:pt x="1007915" y="12669"/>
                  </a:cubicBezTo>
                  <a:cubicBezTo>
                    <a:pt x="1007811" y="12683"/>
                    <a:pt x="1007704" y="12683"/>
                    <a:pt x="1007597" y="12669"/>
                  </a:cubicBezTo>
                  <a:lnTo>
                    <a:pt x="982717" y="12669"/>
                  </a:lnTo>
                  <a:cubicBezTo>
                    <a:pt x="982328" y="12614"/>
                    <a:pt x="981968" y="12885"/>
                    <a:pt x="981915" y="13273"/>
                  </a:cubicBezTo>
                  <a:cubicBezTo>
                    <a:pt x="981906" y="13339"/>
                    <a:pt x="981906" y="13406"/>
                    <a:pt x="981915" y="13471"/>
                  </a:cubicBezTo>
                  <a:lnTo>
                    <a:pt x="981915" y="91187"/>
                  </a:lnTo>
                  <a:cubicBezTo>
                    <a:pt x="982004" y="91837"/>
                    <a:pt x="981546" y="92436"/>
                    <a:pt x="980895" y="92524"/>
                  </a:cubicBezTo>
                  <a:cubicBezTo>
                    <a:pt x="980791" y="92539"/>
                    <a:pt x="980684" y="92539"/>
                    <a:pt x="980577" y="92524"/>
                  </a:cubicBezTo>
                  <a:close/>
                  <a:moveTo>
                    <a:pt x="1023113" y="2904"/>
                  </a:moveTo>
                  <a:cubicBezTo>
                    <a:pt x="1023024" y="2253"/>
                    <a:pt x="1023482" y="1655"/>
                    <a:pt x="1024133" y="1567"/>
                  </a:cubicBezTo>
                  <a:cubicBezTo>
                    <a:pt x="1024237" y="1552"/>
                    <a:pt x="1024344" y="1552"/>
                    <a:pt x="1024451" y="1567"/>
                  </a:cubicBezTo>
                  <a:lnTo>
                    <a:pt x="1033666" y="1567"/>
                  </a:lnTo>
                  <a:cubicBezTo>
                    <a:pt x="1034317" y="1479"/>
                    <a:pt x="1034914" y="1935"/>
                    <a:pt x="1035003" y="2586"/>
                  </a:cubicBezTo>
                  <a:cubicBezTo>
                    <a:pt x="1035018" y="2691"/>
                    <a:pt x="1035018" y="2798"/>
                    <a:pt x="1035003" y="2904"/>
                  </a:cubicBezTo>
                  <a:lnTo>
                    <a:pt x="1035003" y="91187"/>
                  </a:lnTo>
                  <a:cubicBezTo>
                    <a:pt x="1035092" y="91837"/>
                    <a:pt x="1034635" y="92436"/>
                    <a:pt x="1033984" y="92524"/>
                  </a:cubicBezTo>
                  <a:cubicBezTo>
                    <a:pt x="1033880" y="92539"/>
                    <a:pt x="1033773" y="92539"/>
                    <a:pt x="1033666" y="92524"/>
                  </a:cubicBezTo>
                  <a:lnTo>
                    <a:pt x="1024451" y="92524"/>
                  </a:lnTo>
                  <a:cubicBezTo>
                    <a:pt x="1023800" y="92612"/>
                    <a:pt x="1023202" y="92156"/>
                    <a:pt x="1023113" y="91505"/>
                  </a:cubicBezTo>
                  <a:cubicBezTo>
                    <a:pt x="1023098" y="91400"/>
                    <a:pt x="1023098" y="91293"/>
                    <a:pt x="1023113" y="91187"/>
                  </a:cubicBezTo>
                  <a:close/>
                  <a:moveTo>
                    <a:pt x="1056702" y="72594"/>
                  </a:moveTo>
                  <a:cubicBezTo>
                    <a:pt x="1056256" y="71256"/>
                    <a:pt x="1055876" y="69897"/>
                    <a:pt x="1055564" y="68516"/>
                  </a:cubicBezTo>
                  <a:cubicBezTo>
                    <a:pt x="1055213" y="66883"/>
                    <a:pt x="1054969" y="65230"/>
                    <a:pt x="1054830" y="63567"/>
                  </a:cubicBezTo>
                  <a:cubicBezTo>
                    <a:pt x="1054651" y="61650"/>
                    <a:pt x="1054518" y="59354"/>
                    <a:pt x="1054428" y="56676"/>
                  </a:cubicBezTo>
                  <a:cubicBezTo>
                    <a:pt x="1054339" y="53999"/>
                    <a:pt x="1054295" y="50789"/>
                    <a:pt x="1054295" y="47046"/>
                  </a:cubicBezTo>
                  <a:cubicBezTo>
                    <a:pt x="1054295" y="43300"/>
                    <a:pt x="1054339" y="40090"/>
                    <a:pt x="1054428" y="37415"/>
                  </a:cubicBezTo>
                  <a:cubicBezTo>
                    <a:pt x="1054518" y="34739"/>
                    <a:pt x="1054651" y="32444"/>
                    <a:pt x="1054830" y="30527"/>
                  </a:cubicBezTo>
                  <a:cubicBezTo>
                    <a:pt x="1054969" y="28864"/>
                    <a:pt x="1055213" y="27211"/>
                    <a:pt x="1055564" y="25578"/>
                  </a:cubicBezTo>
                  <a:cubicBezTo>
                    <a:pt x="1055876" y="24191"/>
                    <a:pt x="1056256" y="22832"/>
                    <a:pt x="1056702" y="21500"/>
                  </a:cubicBezTo>
                  <a:cubicBezTo>
                    <a:pt x="1058507" y="15006"/>
                    <a:pt x="1062469" y="9321"/>
                    <a:pt x="1067938" y="5383"/>
                  </a:cubicBezTo>
                  <a:cubicBezTo>
                    <a:pt x="1073583" y="1724"/>
                    <a:pt x="1080209" y="-120"/>
                    <a:pt x="1086932" y="98"/>
                  </a:cubicBezTo>
                  <a:cubicBezTo>
                    <a:pt x="1093175" y="-45"/>
                    <a:pt x="1099325" y="1605"/>
                    <a:pt x="1104654" y="4854"/>
                  </a:cubicBezTo>
                  <a:cubicBezTo>
                    <a:pt x="1109764" y="8104"/>
                    <a:pt x="1113756" y="12842"/>
                    <a:pt x="1116092" y="18429"/>
                  </a:cubicBezTo>
                  <a:cubicBezTo>
                    <a:pt x="1116416" y="19058"/>
                    <a:pt x="1116179" y="19830"/>
                    <a:pt x="1115557" y="20168"/>
                  </a:cubicBezTo>
                  <a:lnTo>
                    <a:pt x="1107532" y="24047"/>
                  </a:lnTo>
                  <a:cubicBezTo>
                    <a:pt x="1107008" y="24443"/>
                    <a:pt x="1106262" y="24340"/>
                    <a:pt x="1105867" y="23816"/>
                  </a:cubicBezTo>
                  <a:cubicBezTo>
                    <a:pt x="1105769" y="23686"/>
                    <a:pt x="1105698" y="23537"/>
                    <a:pt x="1105659" y="23379"/>
                  </a:cubicBezTo>
                  <a:cubicBezTo>
                    <a:pt x="1103994" y="19957"/>
                    <a:pt x="1101569" y="16961"/>
                    <a:pt x="1098570" y="14619"/>
                  </a:cubicBezTo>
                  <a:cubicBezTo>
                    <a:pt x="1095184" y="12208"/>
                    <a:pt x="1091085" y="11007"/>
                    <a:pt x="1086932" y="11209"/>
                  </a:cubicBezTo>
                  <a:cubicBezTo>
                    <a:pt x="1082643" y="10998"/>
                    <a:pt x="1078407" y="12221"/>
                    <a:pt x="1074894" y="14687"/>
                  </a:cubicBezTo>
                  <a:cubicBezTo>
                    <a:pt x="1071690" y="17241"/>
                    <a:pt x="1069311" y="20685"/>
                    <a:pt x="1068057" y="24585"/>
                  </a:cubicBezTo>
                  <a:cubicBezTo>
                    <a:pt x="1067790" y="25576"/>
                    <a:pt x="1067546" y="26625"/>
                    <a:pt x="1067323" y="27730"/>
                  </a:cubicBezTo>
                  <a:cubicBezTo>
                    <a:pt x="1067064" y="29106"/>
                    <a:pt x="1066886" y="30496"/>
                    <a:pt x="1066788" y="31892"/>
                  </a:cubicBezTo>
                  <a:cubicBezTo>
                    <a:pt x="1066654" y="33541"/>
                    <a:pt x="1066541" y="35592"/>
                    <a:pt x="1066455" y="38045"/>
                  </a:cubicBezTo>
                  <a:cubicBezTo>
                    <a:pt x="1066369" y="40498"/>
                    <a:pt x="1066324" y="43508"/>
                    <a:pt x="1066321" y="47075"/>
                  </a:cubicBezTo>
                  <a:cubicBezTo>
                    <a:pt x="1066321" y="50642"/>
                    <a:pt x="1066366" y="53651"/>
                    <a:pt x="1066455" y="56103"/>
                  </a:cubicBezTo>
                  <a:cubicBezTo>
                    <a:pt x="1066544" y="58554"/>
                    <a:pt x="1066654" y="60605"/>
                    <a:pt x="1066788" y="62256"/>
                  </a:cubicBezTo>
                  <a:cubicBezTo>
                    <a:pt x="1066892" y="63669"/>
                    <a:pt x="1067070" y="65076"/>
                    <a:pt x="1067323" y="66471"/>
                  </a:cubicBezTo>
                  <a:cubicBezTo>
                    <a:pt x="1067516" y="67508"/>
                    <a:pt x="1067760" y="68535"/>
                    <a:pt x="1068057" y="69547"/>
                  </a:cubicBezTo>
                  <a:cubicBezTo>
                    <a:pt x="1069311" y="73448"/>
                    <a:pt x="1071690" y="76891"/>
                    <a:pt x="1074894" y="79446"/>
                  </a:cubicBezTo>
                  <a:cubicBezTo>
                    <a:pt x="1078407" y="81911"/>
                    <a:pt x="1082643" y="83135"/>
                    <a:pt x="1086932" y="82923"/>
                  </a:cubicBezTo>
                  <a:cubicBezTo>
                    <a:pt x="1091085" y="83125"/>
                    <a:pt x="1095184" y="81922"/>
                    <a:pt x="1098570" y="79511"/>
                  </a:cubicBezTo>
                  <a:cubicBezTo>
                    <a:pt x="1101569" y="77168"/>
                    <a:pt x="1103994" y="74172"/>
                    <a:pt x="1105659" y="70751"/>
                  </a:cubicBezTo>
                  <a:cubicBezTo>
                    <a:pt x="1105814" y="70113"/>
                    <a:pt x="1106456" y="69720"/>
                    <a:pt x="1107095" y="69875"/>
                  </a:cubicBezTo>
                  <a:cubicBezTo>
                    <a:pt x="1107252" y="69913"/>
                    <a:pt x="1107401" y="69984"/>
                    <a:pt x="1107532" y="70082"/>
                  </a:cubicBezTo>
                  <a:lnTo>
                    <a:pt x="1115557" y="73946"/>
                  </a:lnTo>
                  <a:cubicBezTo>
                    <a:pt x="1116179" y="74285"/>
                    <a:pt x="1116416" y="75057"/>
                    <a:pt x="1116092" y="75685"/>
                  </a:cubicBezTo>
                  <a:cubicBezTo>
                    <a:pt x="1113756" y="81273"/>
                    <a:pt x="1109764" y="86011"/>
                    <a:pt x="1104654" y="89261"/>
                  </a:cubicBezTo>
                  <a:cubicBezTo>
                    <a:pt x="1099325" y="92510"/>
                    <a:pt x="1093175" y="94160"/>
                    <a:pt x="1086932" y="94017"/>
                  </a:cubicBezTo>
                  <a:cubicBezTo>
                    <a:pt x="1080209" y="94235"/>
                    <a:pt x="1073583" y="92391"/>
                    <a:pt x="1067938" y="88732"/>
                  </a:cubicBezTo>
                  <a:cubicBezTo>
                    <a:pt x="1062463" y="84794"/>
                    <a:pt x="1058492" y="79107"/>
                    <a:pt x="1056687" y="72609"/>
                  </a:cubicBezTo>
                  <a:close/>
                  <a:moveTo>
                    <a:pt x="1160769" y="93996"/>
                  </a:moveTo>
                  <a:cubicBezTo>
                    <a:pt x="1157579" y="93998"/>
                    <a:pt x="1154399" y="93684"/>
                    <a:pt x="1151272" y="93059"/>
                  </a:cubicBezTo>
                  <a:cubicBezTo>
                    <a:pt x="1148269" y="92468"/>
                    <a:pt x="1145318" y="91640"/>
                    <a:pt x="1142443" y="90583"/>
                  </a:cubicBezTo>
                  <a:cubicBezTo>
                    <a:pt x="1139798" y="89614"/>
                    <a:pt x="1137245" y="88405"/>
                    <a:pt x="1134819" y="86972"/>
                  </a:cubicBezTo>
                  <a:cubicBezTo>
                    <a:pt x="1132673" y="85720"/>
                    <a:pt x="1130652" y="84264"/>
                    <a:pt x="1128785" y="82626"/>
                  </a:cubicBezTo>
                  <a:cubicBezTo>
                    <a:pt x="1128196" y="82145"/>
                    <a:pt x="1128110" y="81278"/>
                    <a:pt x="1128589" y="80689"/>
                  </a:cubicBezTo>
                  <a:cubicBezTo>
                    <a:pt x="1128609" y="80665"/>
                    <a:pt x="1128630" y="80642"/>
                    <a:pt x="1128651" y="80620"/>
                  </a:cubicBezTo>
                  <a:lnTo>
                    <a:pt x="1134537" y="73664"/>
                  </a:lnTo>
                  <a:cubicBezTo>
                    <a:pt x="1134932" y="73116"/>
                    <a:pt x="1135699" y="72993"/>
                    <a:pt x="1136246" y="73389"/>
                  </a:cubicBezTo>
                  <a:cubicBezTo>
                    <a:pt x="1136305" y="73431"/>
                    <a:pt x="1136359" y="73479"/>
                    <a:pt x="1136409" y="73530"/>
                  </a:cubicBezTo>
                  <a:cubicBezTo>
                    <a:pt x="1139792" y="76108"/>
                    <a:pt x="1143475" y="78264"/>
                    <a:pt x="1147378" y="79951"/>
                  </a:cubicBezTo>
                  <a:cubicBezTo>
                    <a:pt x="1151929" y="81950"/>
                    <a:pt x="1156854" y="82953"/>
                    <a:pt x="1161824" y="82894"/>
                  </a:cubicBezTo>
                  <a:cubicBezTo>
                    <a:pt x="1167097" y="83216"/>
                    <a:pt x="1172320" y="81703"/>
                    <a:pt x="1176606" y="78613"/>
                  </a:cubicBezTo>
                  <a:cubicBezTo>
                    <a:pt x="1180051" y="75920"/>
                    <a:pt x="1182013" y="71749"/>
                    <a:pt x="1181888" y="67377"/>
                  </a:cubicBezTo>
                  <a:cubicBezTo>
                    <a:pt x="1181912" y="65551"/>
                    <a:pt x="1181594" y="63736"/>
                    <a:pt x="1180952" y="62027"/>
                  </a:cubicBezTo>
                  <a:cubicBezTo>
                    <a:pt x="1180283" y="60358"/>
                    <a:pt x="1179201" y="58886"/>
                    <a:pt x="1177810" y="57746"/>
                  </a:cubicBezTo>
                  <a:cubicBezTo>
                    <a:pt x="1176071" y="56348"/>
                    <a:pt x="1174100" y="55261"/>
                    <a:pt x="1171990" y="54536"/>
                  </a:cubicBezTo>
                  <a:cubicBezTo>
                    <a:pt x="1169044" y="53523"/>
                    <a:pt x="1165991" y="52850"/>
                    <a:pt x="1162894" y="52530"/>
                  </a:cubicBezTo>
                  <a:lnTo>
                    <a:pt x="1158346" y="51861"/>
                  </a:lnTo>
                  <a:cubicBezTo>
                    <a:pt x="1140511" y="49453"/>
                    <a:pt x="1131594" y="41071"/>
                    <a:pt x="1131594" y="26714"/>
                  </a:cubicBezTo>
                  <a:cubicBezTo>
                    <a:pt x="1131546" y="22955"/>
                    <a:pt x="1132254" y="19226"/>
                    <a:pt x="1133675" y="15745"/>
                  </a:cubicBezTo>
                  <a:cubicBezTo>
                    <a:pt x="1134997" y="12526"/>
                    <a:pt x="1137031" y="9645"/>
                    <a:pt x="1139620" y="7318"/>
                  </a:cubicBezTo>
                  <a:cubicBezTo>
                    <a:pt x="1142345" y="4919"/>
                    <a:pt x="1145532" y="3099"/>
                    <a:pt x="1148983" y="1968"/>
                  </a:cubicBezTo>
                  <a:cubicBezTo>
                    <a:pt x="1152954" y="670"/>
                    <a:pt x="1157113" y="38"/>
                    <a:pt x="1161289" y="95"/>
                  </a:cubicBezTo>
                  <a:cubicBezTo>
                    <a:pt x="1166485" y="71"/>
                    <a:pt x="1171651" y="861"/>
                    <a:pt x="1176603" y="2435"/>
                  </a:cubicBezTo>
                  <a:cubicBezTo>
                    <a:pt x="1181029" y="3780"/>
                    <a:pt x="1185208" y="5836"/>
                    <a:pt x="1188978" y="8522"/>
                  </a:cubicBezTo>
                  <a:cubicBezTo>
                    <a:pt x="1189551" y="8842"/>
                    <a:pt x="1189756" y="9566"/>
                    <a:pt x="1189435" y="10140"/>
                  </a:cubicBezTo>
                  <a:cubicBezTo>
                    <a:pt x="1189385" y="10233"/>
                    <a:pt x="1189319" y="10319"/>
                    <a:pt x="1189245" y="10395"/>
                  </a:cubicBezTo>
                  <a:lnTo>
                    <a:pt x="1184697" y="17752"/>
                  </a:lnTo>
                  <a:cubicBezTo>
                    <a:pt x="1184281" y="18339"/>
                    <a:pt x="1183470" y="18478"/>
                    <a:pt x="1182881" y="18063"/>
                  </a:cubicBezTo>
                  <a:cubicBezTo>
                    <a:pt x="1182863" y="18049"/>
                    <a:pt x="1182842" y="18034"/>
                    <a:pt x="1182825" y="18019"/>
                  </a:cubicBezTo>
                  <a:cubicBezTo>
                    <a:pt x="1179436" y="15866"/>
                    <a:pt x="1175798" y="14134"/>
                    <a:pt x="1171990" y="12862"/>
                  </a:cubicBezTo>
                  <a:cubicBezTo>
                    <a:pt x="1168399" y="11733"/>
                    <a:pt x="1164654" y="11171"/>
                    <a:pt x="1160888" y="11197"/>
                  </a:cubicBezTo>
                  <a:cubicBezTo>
                    <a:pt x="1156245" y="10871"/>
                    <a:pt x="1151652" y="12330"/>
                    <a:pt x="1148047" y="15276"/>
                  </a:cubicBezTo>
                  <a:cubicBezTo>
                    <a:pt x="1145104" y="18012"/>
                    <a:pt x="1143496" y="21895"/>
                    <a:pt x="1143647" y="25911"/>
                  </a:cubicBezTo>
                  <a:cubicBezTo>
                    <a:pt x="1143555" y="29544"/>
                    <a:pt x="1145134" y="33018"/>
                    <a:pt x="1147928" y="35340"/>
                  </a:cubicBezTo>
                  <a:cubicBezTo>
                    <a:pt x="1152315" y="38370"/>
                    <a:pt x="1157440" y="40155"/>
                    <a:pt x="1162760" y="40506"/>
                  </a:cubicBezTo>
                  <a:lnTo>
                    <a:pt x="1167174" y="41175"/>
                  </a:lnTo>
                  <a:cubicBezTo>
                    <a:pt x="1174519" y="41767"/>
                    <a:pt x="1181511" y="44565"/>
                    <a:pt x="1187239" y="49201"/>
                  </a:cubicBezTo>
                  <a:cubicBezTo>
                    <a:pt x="1191882" y="53754"/>
                    <a:pt x="1194322" y="60098"/>
                    <a:pt x="1193927" y="66590"/>
                  </a:cubicBezTo>
                  <a:cubicBezTo>
                    <a:pt x="1193968" y="70369"/>
                    <a:pt x="1193261" y="74119"/>
                    <a:pt x="1191846" y="77623"/>
                  </a:cubicBezTo>
                  <a:cubicBezTo>
                    <a:pt x="1190470" y="80958"/>
                    <a:pt x="1188312" y="83913"/>
                    <a:pt x="1185559" y="86244"/>
                  </a:cubicBezTo>
                  <a:cubicBezTo>
                    <a:pt x="1182483" y="88799"/>
                    <a:pt x="1178939" y="90730"/>
                    <a:pt x="1175126" y="91930"/>
                  </a:cubicBezTo>
                  <a:cubicBezTo>
                    <a:pt x="1170477" y="93384"/>
                    <a:pt x="1165623" y="94081"/>
                    <a:pt x="1160754" y="93996"/>
                  </a:cubicBezTo>
                  <a:close/>
                </a:path>
              </a:pathLst>
            </a:custGeom>
            <a:solidFill>
              <a:schemeClr val="bg2"/>
            </a:solidFill>
            <a:ln w="2965" cap="flat">
              <a:noFill/>
              <a:prstDash val="solid"/>
              <a:miter/>
            </a:ln>
          </p:spPr>
          <p:txBody>
            <a:bodyPr rtlCol="0" anchor="ctr"/>
            <a:lstStyle/>
            <a:p>
              <a:endParaRPr lang="de-DE"/>
            </a:p>
          </p:txBody>
        </p:sp>
      </p:grpSp>
      <p:sp>
        <p:nvSpPr>
          <p:cNvPr id="4" name="Content Placeholder 3">
            <a:extLst>
              <a:ext uri="{FF2B5EF4-FFF2-40B4-BE49-F238E27FC236}">
                <a16:creationId xmlns:a16="http://schemas.microsoft.com/office/drawing/2014/main" id="{7D7732E4-D0D6-47F7-94C8-F92ECD797A7F}"/>
              </a:ext>
            </a:extLst>
          </p:cNvPr>
          <p:cNvSpPr>
            <a:spLocks noGrp="1"/>
          </p:cNvSpPr>
          <p:nvPr>
            <p:ph sz="quarter" idx="17" hasCustomPrompt="1"/>
          </p:nvPr>
        </p:nvSpPr>
        <p:spPr>
          <a:xfrm>
            <a:off x="410152" y="1574799"/>
            <a:ext cx="11376000" cy="4608001"/>
          </a:xfrm>
        </p:spPr>
        <p:txBody>
          <a:bodyPr/>
          <a:lstStyle/>
          <a:p>
            <a:pPr lvl="0"/>
            <a:r>
              <a:rPr lang="en-US"/>
              <a:t>Use ‘INCREASE INDENT’ button to change text styles and bullets</a:t>
            </a:r>
          </a:p>
          <a:p>
            <a:pPr lvl="1"/>
            <a:r>
              <a:rPr lang="en-US"/>
              <a:t>Second level</a:t>
            </a:r>
          </a:p>
          <a:p>
            <a:pPr lvl="2"/>
            <a:r>
              <a:rPr lang="en-US"/>
              <a:t>Third level</a:t>
            </a:r>
          </a:p>
          <a:p>
            <a:pPr lvl="3"/>
            <a:r>
              <a:rPr lang="en-US"/>
              <a:t>Fourth level</a:t>
            </a:r>
          </a:p>
          <a:p>
            <a:pPr lvl="4"/>
            <a:r>
              <a:rPr lang="en-US"/>
              <a:t>Fifth level</a:t>
            </a:r>
            <a:endParaRPr lang="de-CH"/>
          </a:p>
        </p:txBody>
      </p:sp>
    </p:spTree>
    <p:extLst>
      <p:ext uri="{BB962C8B-B14F-4D97-AF65-F5344CB8AC3E}">
        <p14:creationId xmlns:p14="http://schemas.microsoft.com/office/powerpoint/2010/main" val="3623174212"/>
      </p:ext>
    </p:extLst>
  </p:cSld>
  <p:clrMapOvr>
    <a:masterClrMapping/>
  </p:clrMapOvr>
  <p:hf hdr="0" ftr="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benslauf">
    <p:bg>
      <p:bgPr>
        <a:solidFill>
          <a:schemeClr val="bg2"/>
        </a:solidFill>
        <a:effectLst/>
      </p:bgPr>
    </p:bg>
    <p:spTree>
      <p:nvGrpSpPr>
        <p:cNvPr id="1" name=""/>
        <p:cNvGrpSpPr/>
        <p:nvPr/>
      </p:nvGrpSpPr>
      <p:grpSpPr>
        <a:xfrm>
          <a:off x="0" y="0"/>
          <a:ext cx="0" cy="0"/>
          <a:chOff x="0" y="0"/>
          <a:chExt cx="0" cy="0"/>
        </a:xfrm>
      </p:grpSpPr>
      <p:sp>
        <p:nvSpPr>
          <p:cNvPr id="7" name="Rechteck 11">
            <a:extLst>
              <a:ext uri="{FF2B5EF4-FFF2-40B4-BE49-F238E27FC236}">
                <a16:creationId xmlns:a16="http://schemas.microsoft.com/office/drawing/2014/main" id="{3072A859-ED5E-44F0-9DD4-7E48DDABD863}"/>
              </a:ext>
            </a:extLst>
          </p:cNvPr>
          <p:cNvSpPr/>
          <p:nvPr userDrawn="1"/>
        </p:nvSpPr>
        <p:spPr>
          <a:xfrm>
            <a:off x="9565585" y="0"/>
            <a:ext cx="262641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95"/>
          </a:p>
        </p:txBody>
      </p:sp>
      <p:sp>
        <p:nvSpPr>
          <p:cNvPr id="13" name="Textplatzhalter 12">
            <a:extLst>
              <a:ext uri="{FF2B5EF4-FFF2-40B4-BE49-F238E27FC236}">
                <a16:creationId xmlns:a16="http://schemas.microsoft.com/office/drawing/2014/main" id="{047C22BB-2334-439E-917B-8B2441AC6C2A}"/>
              </a:ext>
            </a:extLst>
          </p:cNvPr>
          <p:cNvSpPr>
            <a:spLocks noGrp="1"/>
          </p:cNvSpPr>
          <p:nvPr>
            <p:ph type="body" sz="quarter" idx="20" hasCustomPrompt="1"/>
          </p:nvPr>
        </p:nvSpPr>
        <p:spPr>
          <a:xfrm>
            <a:off x="410400" y="1157514"/>
            <a:ext cx="8892000" cy="431801"/>
          </a:xfrm>
          <a:prstGeom prst="rect">
            <a:avLst/>
          </a:prstGeom>
        </p:spPr>
        <p:txBody>
          <a:bodyPr anchor="t" anchorCtr="0">
            <a:noAutofit/>
          </a:bodyPr>
          <a:lstStyle>
            <a:lvl1pPr>
              <a:defRPr sz="1800" cap="all" baseline="0">
                <a:solidFill>
                  <a:schemeClr val="bg1"/>
                </a:solidFill>
              </a:defRPr>
            </a:lvl1pPr>
          </a:lstStyle>
          <a:p>
            <a:pPr lvl="0"/>
            <a:r>
              <a:rPr lang="de-DE"/>
              <a:t>Mastertextformat bearbeiten</a:t>
            </a:r>
          </a:p>
        </p:txBody>
      </p:sp>
      <p:grpSp>
        <p:nvGrpSpPr>
          <p:cNvPr id="2" name="Grafik 11">
            <a:extLst>
              <a:ext uri="{FF2B5EF4-FFF2-40B4-BE49-F238E27FC236}">
                <a16:creationId xmlns:a16="http://schemas.microsoft.com/office/drawing/2014/main" id="{D73D4FDA-1199-4A8B-AFC8-17C00496E02E}"/>
              </a:ext>
            </a:extLst>
          </p:cNvPr>
          <p:cNvGrpSpPr/>
          <p:nvPr/>
        </p:nvGrpSpPr>
        <p:grpSpPr>
          <a:xfrm>
            <a:off x="9990772" y="481832"/>
            <a:ext cx="1787285" cy="596782"/>
            <a:chOff x="9990772" y="481832"/>
            <a:chExt cx="1787285" cy="596782"/>
          </a:xfrm>
          <a:solidFill>
            <a:schemeClr val="bg2"/>
          </a:solidFill>
        </p:grpSpPr>
        <p:sp>
          <p:nvSpPr>
            <p:cNvPr id="3" name="Freeform: Shape 2">
              <a:extLst>
                <a:ext uri="{FF2B5EF4-FFF2-40B4-BE49-F238E27FC236}">
                  <a16:creationId xmlns:a16="http://schemas.microsoft.com/office/drawing/2014/main" id="{1C7E20AA-39F0-4E80-8438-913B6A4EFE65}"/>
                </a:ext>
              </a:extLst>
            </p:cNvPr>
            <p:cNvSpPr/>
            <p:nvPr/>
          </p:nvSpPr>
          <p:spPr>
            <a:xfrm>
              <a:off x="9990772" y="544329"/>
              <a:ext cx="147751" cy="475361"/>
            </a:xfrm>
            <a:custGeom>
              <a:avLst/>
              <a:gdLst>
                <a:gd name="connsiteX0" fmla="*/ 53103 w 147751"/>
                <a:gd name="connsiteY0" fmla="*/ 235887 h 475361"/>
                <a:gd name="connsiteX1" fmla="*/ 144346 w 147751"/>
                <a:gd name="connsiteY1" fmla="*/ 45533 h 475361"/>
                <a:gd name="connsiteX2" fmla="*/ 117058 w 147751"/>
                <a:gd name="connsiteY2" fmla="*/ 0 h 475361"/>
                <a:gd name="connsiteX3" fmla="*/ 0 w 147751"/>
                <a:gd name="connsiteY3" fmla="*/ 235887 h 475361"/>
                <a:gd name="connsiteX4" fmla="*/ 121870 w 147751"/>
                <a:gd name="connsiteY4" fmla="*/ 475362 h 475361"/>
                <a:gd name="connsiteX5" fmla="*/ 147752 w 147751"/>
                <a:gd name="connsiteY5" fmla="*/ 428779 h 475361"/>
                <a:gd name="connsiteX6" fmla="*/ 53103 w 147751"/>
                <a:gd name="connsiteY6" fmla="*/ 235887 h 475361"/>
                <a:gd name="connsiteX7" fmla="*/ 53103 w 147751"/>
                <a:gd name="connsiteY7" fmla="*/ 235887 h 47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751" h="475361">
                  <a:moveTo>
                    <a:pt x="53103" y="235887"/>
                  </a:moveTo>
                  <a:cubicBezTo>
                    <a:pt x="53103" y="159167"/>
                    <a:pt x="88721" y="90608"/>
                    <a:pt x="144346" y="45533"/>
                  </a:cubicBezTo>
                  <a:lnTo>
                    <a:pt x="117058" y="0"/>
                  </a:lnTo>
                  <a:cubicBezTo>
                    <a:pt x="46014" y="54619"/>
                    <a:pt x="0" y="139913"/>
                    <a:pt x="0" y="235887"/>
                  </a:cubicBezTo>
                  <a:cubicBezTo>
                    <a:pt x="0" y="334006"/>
                    <a:pt x="48106" y="420940"/>
                    <a:pt x="121870" y="475362"/>
                  </a:cubicBezTo>
                  <a:lnTo>
                    <a:pt x="147752" y="428779"/>
                  </a:lnTo>
                  <a:cubicBezTo>
                    <a:pt x="90233" y="383770"/>
                    <a:pt x="53103" y="314122"/>
                    <a:pt x="53103" y="235887"/>
                  </a:cubicBezTo>
                  <a:lnTo>
                    <a:pt x="53103" y="235887"/>
                  </a:lnTo>
                  <a:close/>
                </a:path>
              </a:pathLst>
            </a:custGeom>
            <a:solidFill>
              <a:schemeClr val="bg2"/>
            </a:solidFill>
            <a:ln w="7" cap="flat">
              <a:noFill/>
              <a:prstDash val="solid"/>
              <a:miter/>
            </a:ln>
          </p:spPr>
          <p:txBody>
            <a:bodyPr rtlCol="0" anchor="ctr"/>
            <a:lstStyle/>
            <a:p>
              <a:endParaRPr lang="de-DE"/>
            </a:p>
          </p:txBody>
        </p:sp>
        <p:sp>
          <p:nvSpPr>
            <p:cNvPr id="4" name="Freeform: Shape 3">
              <a:extLst>
                <a:ext uri="{FF2B5EF4-FFF2-40B4-BE49-F238E27FC236}">
                  <a16:creationId xmlns:a16="http://schemas.microsoft.com/office/drawing/2014/main" id="{EA320E88-6AC8-49EF-99AB-DFBCECD034CB}"/>
                </a:ext>
              </a:extLst>
            </p:cNvPr>
            <p:cNvSpPr/>
            <p:nvPr/>
          </p:nvSpPr>
          <p:spPr>
            <a:xfrm>
              <a:off x="10176504" y="815161"/>
              <a:ext cx="412502" cy="263452"/>
            </a:xfrm>
            <a:custGeom>
              <a:avLst/>
              <a:gdLst>
                <a:gd name="connsiteX0" fmla="*/ 114510 w 412502"/>
                <a:gd name="connsiteY0" fmla="*/ 210676 h 263452"/>
                <a:gd name="connsiteX1" fmla="*/ 25948 w 412502"/>
                <a:gd name="connsiteY1" fmla="*/ 194086 h 263452"/>
                <a:gd name="connsiteX2" fmla="*/ 0 w 412502"/>
                <a:gd name="connsiteY2" fmla="*/ 240787 h 263452"/>
                <a:gd name="connsiteX3" fmla="*/ 114510 w 412502"/>
                <a:gd name="connsiteY3" fmla="*/ 263452 h 263452"/>
                <a:gd name="connsiteX4" fmla="*/ 412502 w 412502"/>
                <a:gd name="connsiteY4" fmla="*/ 0 h 263452"/>
                <a:gd name="connsiteX5" fmla="*/ 358838 w 412502"/>
                <a:gd name="connsiteY5" fmla="*/ 0 h 263452"/>
                <a:gd name="connsiteX6" fmla="*/ 114510 w 412502"/>
                <a:gd name="connsiteY6" fmla="*/ 210676 h 263452"/>
                <a:gd name="connsiteX7" fmla="*/ 114510 w 412502"/>
                <a:gd name="connsiteY7" fmla="*/ 210676 h 26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502" h="263452">
                  <a:moveTo>
                    <a:pt x="114510" y="210676"/>
                  </a:moveTo>
                  <a:cubicBezTo>
                    <a:pt x="83269" y="210676"/>
                    <a:pt x="53486" y="204654"/>
                    <a:pt x="25948" y="194086"/>
                  </a:cubicBezTo>
                  <a:lnTo>
                    <a:pt x="0" y="240787"/>
                  </a:lnTo>
                  <a:cubicBezTo>
                    <a:pt x="35314" y="255331"/>
                    <a:pt x="73962" y="263452"/>
                    <a:pt x="114510" y="263452"/>
                  </a:cubicBezTo>
                  <a:cubicBezTo>
                    <a:pt x="268150" y="263452"/>
                    <a:pt x="395010" y="148113"/>
                    <a:pt x="412502" y="0"/>
                  </a:cubicBezTo>
                  <a:lnTo>
                    <a:pt x="358838" y="0"/>
                  </a:lnTo>
                  <a:cubicBezTo>
                    <a:pt x="341676" y="118895"/>
                    <a:pt x="238816" y="210676"/>
                    <a:pt x="114510" y="210676"/>
                  </a:cubicBezTo>
                  <a:lnTo>
                    <a:pt x="114510" y="210676"/>
                  </a:lnTo>
                  <a:close/>
                </a:path>
              </a:pathLst>
            </a:custGeom>
            <a:solidFill>
              <a:schemeClr val="bg2"/>
            </a:solidFill>
            <a:ln w="7" cap="flat">
              <a:noFill/>
              <a:prstDash val="solid"/>
              <a:miter/>
            </a:ln>
          </p:spPr>
          <p:txBody>
            <a:bodyPr rtlCol="0" anchor="ctr"/>
            <a:lstStyle/>
            <a:p>
              <a:endParaRPr lang="de-DE"/>
            </a:p>
          </p:txBody>
        </p:sp>
        <p:sp>
          <p:nvSpPr>
            <p:cNvPr id="5" name="Freeform: Shape 4">
              <a:extLst>
                <a:ext uri="{FF2B5EF4-FFF2-40B4-BE49-F238E27FC236}">
                  <a16:creationId xmlns:a16="http://schemas.microsoft.com/office/drawing/2014/main" id="{8B55B850-D972-4B12-AC0A-6FAEBA556CF9}"/>
                </a:ext>
              </a:extLst>
            </p:cNvPr>
            <p:cNvSpPr/>
            <p:nvPr/>
          </p:nvSpPr>
          <p:spPr>
            <a:xfrm>
              <a:off x="10170999" y="481832"/>
              <a:ext cx="417512" cy="260237"/>
            </a:xfrm>
            <a:custGeom>
              <a:avLst/>
              <a:gdLst>
                <a:gd name="connsiteX0" fmla="*/ 120015 w 417512"/>
                <a:gd name="connsiteY0" fmla="*/ 52782 h 260237"/>
                <a:gd name="connsiteX1" fmla="*/ 363848 w 417512"/>
                <a:gd name="connsiteY1" fmla="*/ 260238 h 260237"/>
                <a:gd name="connsiteX2" fmla="*/ 417512 w 417512"/>
                <a:gd name="connsiteY2" fmla="*/ 260238 h 260237"/>
                <a:gd name="connsiteX3" fmla="*/ 120405 w 417512"/>
                <a:gd name="connsiteY3" fmla="*/ 0 h 260237"/>
                <a:gd name="connsiteX4" fmla="*/ 118616 w 417512"/>
                <a:gd name="connsiteY4" fmla="*/ 0 h 260237"/>
                <a:gd name="connsiteX5" fmla="*/ 0 w 417512"/>
                <a:gd name="connsiteY5" fmla="*/ 25046 h 260237"/>
                <a:gd name="connsiteX6" fmla="*/ 27433 w 417512"/>
                <a:gd name="connsiteY6" fmla="*/ 70829 h 260237"/>
                <a:gd name="connsiteX7" fmla="*/ 120015 w 417512"/>
                <a:gd name="connsiteY7" fmla="*/ 52782 h 260237"/>
                <a:gd name="connsiteX8" fmla="*/ 120015 w 417512"/>
                <a:gd name="connsiteY8" fmla="*/ 52782 h 26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512" h="260237">
                  <a:moveTo>
                    <a:pt x="120015" y="52782"/>
                  </a:moveTo>
                  <a:cubicBezTo>
                    <a:pt x="243192" y="52782"/>
                    <a:pt x="345313" y="142911"/>
                    <a:pt x="363848" y="260238"/>
                  </a:cubicBezTo>
                  <a:lnTo>
                    <a:pt x="417512" y="260238"/>
                  </a:lnTo>
                  <a:cubicBezTo>
                    <a:pt x="398581" y="113824"/>
                    <a:pt x="272751" y="197"/>
                    <a:pt x="120405" y="0"/>
                  </a:cubicBezTo>
                  <a:lnTo>
                    <a:pt x="118616" y="0"/>
                  </a:lnTo>
                  <a:cubicBezTo>
                    <a:pt x="76450" y="197"/>
                    <a:pt x="36403" y="9204"/>
                    <a:pt x="0" y="25046"/>
                  </a:cubicBezTo>
                  <a:lnTo>
                    <a:pt x="27433" y="70829"/>
                  </a:lnTo>
                  <a:cubicBezTo>
                    <a:pt x="56067" y="59283"/>
                    <a:pt x="87262" y="52782"/>
                    <a:pt x="120015" y="52782"/>
                  </a:cubicBezTo>
                  <a:lnTo>
                    <a:pt x="120015" y="52782"/>
                  </a:lnTo>
                  <a:close/>
                </a:path>
              </a:pathLst>
            </a:custGeom>
            <a:solidFill>
              <a:schemeClr val="bg2"/>
            </a:solidFill>
            <a:ln w="7" cap="flat">
              <a:noFill/>
              <a:prstDash val="solid"/>
              <a:miter/>
            </a:ln>
          </p:spPr>
          <p:txBody>
            <a:bodyPr rtlCol="0" anchor="ctr"/>
            <a:lstStyle/>
            <a:p>
              <a:endParaRPr lang="de-DE"/>
            </a:p>
          </p:txBody>
        </p:sp>
        <p:sp>
          <p:nvSpPr>
            <p:cNvPr id="10" name="Freeform: Shape 9">
              <a:extLst>
                <a:ext uri="{FF2B5EF4-FFF2-40B4-BE49-F238E27FC236}">
                  <a16:creationId xmlns:a16="http://schemas.microsoft.com/office/drawing/2014/main" id="{A9DCA313-6ADB-4908-A450-047A9B59ABBD}"/>
                </a:ext>
              </a:extLst>
            </p:cNvPr>
            <p:cNvSpPr/>
            <p:nvPr/>
          </p:nvSpPr>
          <p:spPr>
            <a:xfrm>
              <a:off x="10716638" y="509266"/>
              <a:ext cx="108306" cy="130604"/>
            </a:xfrm>
            <a:custGeom>
              <a:avLst/>
              <a:gdLst>
                <a:gd name="connsiteX0" fmla="*/ 45744 w 108306"/>
                <a:gd name="connsiteY0" fmla="*/ 1909 h 130604"/>
                <a:gd name="connsiteX1" fmla="*/ 48054 w 108306"/>
                <a:gd name="connsiteY1" fmla="*/ 0 h 130604"/>
                <a:gd name="connsiteX2" fmla="*/ 60629 w 108306"/>
                <a:gd name="connsiteY2" fmla="*/ 0 h 130604"/>
                <a:gd name="connsiteX3" fmla="*/ 63137 w 108306"/>
                <a:gd name="connsiteY3" fmla="*/ 1909 h 130604"/>
                <a:gd name="connsiteX4" fmla="*/ 108174 w 108306"/>
                <a:gd name="connsiteY4" fmla="*/ 128682 h 130604"/>
                <a:gd name="connsiteX5" fmla="*/ 106821 w 108306"/>
                <a:gd name="connsiteY5" fmla="*/ 130604 h 130604"/>
                <a:gd name="connsiteX6" fmla="*/ 93296 w 108306"/>
                <a:gd name="connsiteY6" fmla="*/ 130604 h 130604"/>
                <a:gd name="connsiteX7" fmla="*/ 90781 w 108306"/>
                <a:gd name="connsiteY7" fmla="*/ 128682 h 130604"/>
                <a:gd name="connsiteX8" fmla="*/ 80722 w 108306"/>
                <a:gd name="connsiteY8" fmla="*/ 100257 h 130604"/>
                <a:gd name="connsiteX9" fmla="*/ 27566 w 108306"/>
                <a:gd name="connsiteY9" fmla="*/ 100257 h 130604"/>
                <a:gd name="connsiteX10" fmla="*/ 17532 w 108306"/>
                <a:gd name="connsiteY10" fmla="*/ 128682 h 130604"/>
                <a:gd name="connsiteX11" fmla="*/ 15018 w 108306"/>
                <a:gd name="connsiteY11" fmla="*/ 130604 h 130604"/>
                <a:gd name="connsiteX12" fmla="*/ 1473 w 108306"/>
                <a:gd name="connsiteY12" fmla="*/ 130604 h 130604"/>
                <a:gd name="connsiteX13" fmla="*/ 139 w 108306"/>
                <a:gd name="connsiteY13" fmla="*/ 128682 h 130604"/>
                <a:gd name="connsiteX14" fmla="*/ 45744 w 108306"/>
                <a:gd name="connsiteY14" fmla="*/ 1909 h 130604"/>
                <a:gd name="connsiteX15" fmla="*/ 75118 w 108306"/>
                <a:gd name="connsiteY15" fmla="*/ 84513 h 130604"/>
                <a:gd name="connsiteX16" fmla="*/ 54431 w 108306"/>
                <a:gd name="connsiteY16" fmla="*/ 25158 h 130604"/>
                <a:gd name="connsiteX17" fmla="*/ 54048 w 108306"/>
                <a:gd name="connsiteY17" fmla="*/ 25158 h 130604"/>
                <a:gd name="connsiteX18" fmla="*/ 33176 w 108306"/>
                <a:gd name="connsiteY18" fmla="*/ 84513 h 130604"/>
                <a:gd name="connsiteX19" fmla="*/ 75118 w 108306"/>
                <a:gd name="connsiteY19" fmla="*/ 84513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306" h="130604">
                  <a:moveTo>
                    <a:pt x="45744" y="1909"/>
                  </a:moveTo>
                  <a:cubicBezTo>
                    <a:pt x="46120" y="636"/>
                    <a:pt x="46899" y="0"/>
                    <a:pt x="48054" y="0"/>
                  </a:cubicBezTo>
                  <a:lnTo>
                    <a:pt x="60629" y="0"/>
                  </a:lnTo>
                  <a:cubicBezTo>
                    <a:pt x="61903" y="0"/>
                    <a:pt x="62754" y="636"/>
                    <a:pt x="63137" y="1909"/>
                  </a:cubicBezTo>
                  <a:lnTo>
                    <a:pt x="108174" y="128682"/>
                  </a:lnTo>
                  <a:cubicBezTo>
                    <a:pt x="108557" y="129961"/>
                    <a:pt x="108108" y="130604"/>
                    <a:pt x="106821" y="130604"/>
                  </a:cubicBezTo>
                  <a:lnTo>
                    <a:pt x="93296" y="130604"/>
                  </a:lnTo>
                  <a:cubicBezTo>
                    <a:pt x="92002" y="130604"/>
                    <a:pt x="91171" y="129961"/>
                    <a:pt x="90781" y="128682"/>
                  </a:cubicBezTo>
                  <a:lnTo>
                    <a:pt x="80722" y="100257"/>
                  </a:lnTo>
                  <a:lnTo>
                    <a:pt x="27566" y="100257"/>
                  </a:lnTo>
                  <a:lnTo>
                    <a:pt x="17532" y="128682"/>
                  </a:lnTo>
                  <a:cubicBezTo>
                    <a:pt x="17011" y="129961"/>
                    <a:pt x="16179" y="130604"/>
                    <a:pt x="15018" y="130604"/>
                  </a:cubicBezTo>
                  <a:lnTo>
                    <a:pt x="1473" y="130604"/>
                  </a:lnTo>
                  <a:cubicBezTo>
                    <a:pt x="192" y="130604"/>
                    <a:pt x="-257" y="129961"/>
                    <a:pt x="139" y="128682"/>
                  </a:cubicBezTo>
                  <a:lnTo>
                    <a:pt x="45744" y="1909"/>
                  </a:lnTo>
                  <a:close/>
                  <a:moveTo>
                    <a:pt x="75118" y="84513"/>
                  </a:moveTo>
                  <a:lnTo>
                    <a:pt x="54431" y="25158"/>
                  </a:lnTo>
                  <a:lnTo>
                    <a:pt x="54048" y="25158"/>
                  </a:lnTo>
                  <a:lnTo>
                    <a:pt x="33176" y="84513"/>
                  </a:lnTo>
                  <a:lnTo>
                    <a:pt x="75118" y="84513"/>
                  </a:lnTo>
                  <a:close/>
                </a:path>
              </a:pathLst>
            </a:custGeom>
            <a:solidFill>
              <a:schemeClr val="bg2"/>
            </a:solidFill>
            <a:ln w="7" cap="flat">
              <a:noFill/>
              <a:prstDash val="solid"/>
              <a:miter/>
            </a:ln>
          </p:spPr>
          <p:txBody>
            <a:bodyPr rtlCol="0" anchor="ctr"/>
            <a:lstStyle/>
            <a:p>
              <a:endParaRPr lang="de-DE"/>
            </a:p>
          </p:txBody>
        </p:sp>
        <p:sp>
          <p:nvSpPr>
            <p:cNvPr id="12" name="Freeform: Shape 11">
              <a:extLst>
                <a:ext uri="{FF2B5EF4-FFF2-40B4-BE49-F238E27FC236}">
                  <a16:creationId xmlns:a16="http://schemas.microsoft.com/office/drawing/2014/main" id="{A0F739A0-0E8F-400D-86F0-6111341DE585}"/>
                </a:ext>
              </a:extLst>
            </p:cNvPr>
            <p:cNvSpPr/>
            <p:nvPr/>
          </p:nvSpPr>
          <p:spPr>
            <a:xfrm>
              <a:off x="10847618" y="509259"/>
              <a:ext cx="93313" cy="130610"/>
            </a:xfrm>
            <a:custGeom>
              <a:avLst/>
              <a:gdLst>
                <a:gd name="connsiteX0" fmla="*/ 76186 w 93313"/>
                <a:gd name="connsiteY0" fmla="*/ 130611 h 130610"/>
                <a:gd name="connsiteX1" fmla="*/ 73645 w 93313"/>
                <a:gd name="connsiteY1" fmla="*/ 128682 h 130610"/>
                <a:gd name="connsiteX2" fmla="*/ 47446 w 93313"/>
                <a:gd name="connsiteY2" fmla="*/ 75296 h 130610"/>
                <a:gd name="connsiteX3" fmla="*/ 18555 w 93313"/>
                <a:gd name="connsiteY3" fmla="*/ 75296 h 130610"/>
                <a:gd name="connsiteX4" fmla="*/ 17393 w 93313"/>
                <a:gd name="connsiteY4" fmla="*/ 76444 h 130610"/>
                <a:gd name="connsiteX5" fmla="*/ 17393 w 93313"/>
                <a:gd name="connsiteY5" fmla="*/ 128682 h 130610"/>
                <a:gd name="connsiteX6" fmla="*/ 15446 w 93313"/>
                <a:gd name="connsiteY6" fmla="*/ 130611 h 130610"/>
                <a:gd name="connsiteX7" fmla="*/ 1954 w 93313"/>
                <a:gd name="connsiteY7" fmla="*/ 130611 h 130610"/>
                <a:gd name="connsiteX8" fmla="*/ 0 w 93313"/>
                <a:gd name="connsiteY8" fmla="*/ 128682 h 130610"/>
                <a:gd name="connsiteX9" fmla="*/ 0 w 93313"/>
                <a:gd name="connsiteY9" fmla="*/ 1922 h 130610"/>
                <a:gd name="connsiteX10" fmla="*/ 1934 w 93313"/>
                <a:gd name="connsiteY10" fmla="*/ 0 h 130610"/>
                <a:gd name="connsiteX11" fmla="*/ 49592 w 93313"/>
                <a:gd name="connsiteY11" fmla="*/ 0 h 130610"/>
                <a:gd name="connsiteX12" fmla="*/ 66430 w 93313"/>
                <a:gd name="connsiteY12" fmla="*/ 2690 h 130610"/>
                <a:gd name="connsiteX13" fmla="*/ 79414 w 93313"/>
                <a:gd name="connsiteY13" fmla="*/ 10273 h 130610"/>
                <a:gd name="connsiteX14" fmla="*/ 87837 w 93313"/>
                <a:gd name="connsiteY14" fmla="*/ 22186 h 130610"/>
                <a:gd name="connsiteX15" fmla="*/ 90846 w 93313"/>
                <a:gd name="connsiteY15" fmla="*/ 37642 h 130610"/>
                <a:gd name="connsiteX16" fmla="*/ 83876 w 93313"/>
                <a:gd name="connsiteY16" fmla="*/ 60123 h 130610"/>
                <a:gd name="connsiteX17" fmla="*/ 64945 w 93313"/>
                <a:gd name="connsiteY17" fmla="*/ 73184 h 130610"/>
                <a:gd name="connsiteX18" fmla="*/ 92972 w 93313"/>
                <a:gd name="connsiteY18" fmla="*/ 128308 h 130610"/>
                <a:gd name="connsiteX19" fmla="*/ 93157 w 93313"/>
                <a:gd name="connsiteY19" fmla="*/ 129935 h 130610"/>
                <a:gd name="connsiteX20" fmla="*/ 91810 w 93313"/>
                <a:gd name="connsiteY20" fmla="*/ 130611 h 130610"/>
                <a:gd name="connsiteX21" fmla="*/ 76186 w 93313"/>
                <a:gd name="connsiteY21" fmla="*/ 130611 h 130610"/>
                <a:gd name="connsiteX22" fmla="*/ 49176 w 93313"/>
                <a:gd name="connsiteY22" fmla="*/ 59355 h 130610"/>
                <a:gd name="connsiteX23" fmla="*/ 67097 w 93313"/>
                <a:gd name="connsiteY23" fmla="*/ 53681 h 130610"/>
                <a:gd name="connsiteX24" fmla="*/ 73447 w 93313"/>
                <a:gd name="connsiteY24" fmla="*/ 37642 h 130610"/>
                <a:gd name="connsiteX25" fmla="*/ 67097 w 93313"/>
                <a:gd name="connsiteY25" fmla="*/ 21615 h 130610"/>
                <a:gd name="connsiteX26" fmla="*/ 49176 w 93313"/>
                <a:gd name="connsiteY26" fmla="*/ 15948 h 130610"/>
                <a:gd name="connsiteX27" fmla="*/ 18555 w 93313"/>
                <a:gd name="connsiteY27" fmla="*/ 15948 h 130610"/>
                <a:gd name="connsiteX28" fmla="*/ 17393 w 93313"/>
                <a:gd name="connsiteY28" fmla="*/ 17102 h 130610"/>
                <a:gd name="connsiteX29" fmla="*/ 17393 w 93313"/>
                <a:gd name="connsiteY29" fmla="*/ 58194 h 130610"/>
                <a:gd name="connsiteX30" fmla="*/ 18555 w 93313"/>
                <a:gd name="connsiteY30" fmla="*/ 59355 h 130610"/>
                <a:gd name="connsiteX31" fmla="*/ 49176 w 93313"/>
                <a:gd name="connsiteY31" fmla="*/ 59355 h 13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3313" h="130610">
                  <a:moveTo>
                    <a:pt x="76186" y="130611"/>
                  </a:moveTo>
                  <a:cubicBezTo>
                    <a:pt x="75018" y="130611"/>
                    <a:pt x="74160" y="129968"/>
                    <a:pt x="73645" y="128682"/>
                  </a:cubicBezTo>
                  <a:lnTo>
                    <a:pt x="47446" y="75296"/>
                  </a:lnTo>
                  <a:lnTo>
                    <a:pt x="18555" y="75296"/>
                  </a:lnTo>
                  <a:cubicBezTo>
                    <a:pt x="17776" y="75296"/>
                    <a:pt x="17393" y="75690"/>
                    <a:pt x="17393" y="76444"/>
                  </a:cubicBezTo>
                  <a:lnTo>
                    <a:pt x="17393" y="128682"/>
                  </a:lnTo>
                  <a:cubicBezTo>
                    <a:pt x="17393" y="129968"/>
                    <a:pt x="16740" y="130611"/>
                    <a:pt x="15446" y="130611"/>
                  </a:cubicBezTo>
                  <a:lnTo>
                    <a:pt x="1954" y="130611"/>
                  </a:lnTo>
                  <a:cubicBezTo>
                    <a:pt x="653" y="130611"/>
                    <a:pt x="0" y="129968"/>
                    <a:pt x="0" y="128682"/>
                  </a:cubicBezTo>
                  <a:lnTo>
                    <a:pt x="0" y="1922"/>
                  </a:lnTo>
                  <a:cubicBezTo>
                    <a:pt x="0" y="643"/>
                    <a:pt x="640" y="0"/>
                    <a:pt x="1934" y="0"/>
                  </a:cubicBezTo>
                  <a:lnTo>
                    <a:pt x="49592" y="0"/>
                  </a:lnTo>
                  <a:cubicBezTo>
                    <a:pt x="55777" y="0"/>
                    <a:pt x="61394" y="905"/>
                    <a:pt x="66430" y="2690"/>
                  </a:cubicBezTo>
                  <a:cubicBezTo>
                    <a:pt x="71473" y="4481"/>
                    <a:pt x="75797" y="7013"/>
                    <a:pt x="79414" y="10273"/>
                  </a:cubicBezTo>
                  <a:cubicBezTo>
                    <a:pt x="83025" y="13547"/>
                    <a:pt x="85843" y="17515"/>
                    <a:pt x="87837" y="22186"/>
                  </a:cubicBezTo>
                  <a:cubicBezTo>
                    <a:pt x="89843" y="26863"/>
                    <a:pt x="90846" y="32013"/>
                    <a:pt x="90846" y="37642"/>
                  </a:cubicBezTo>
                  <a:cubicBezTo>
                    <a:pt x="90846" y="46478"/>
                    <a:pt x="88516" y="53970"/>
                    <a:pt x="83876" y="60123"/>
                  </a:cubicBezTo>
                  <a:cubicBezTo>
                    <a:pt x="79242" y="66263"/>
                    <a:pt x="72939" y="70619"/>
                    <a:pt x="64945" y="73184"/>
                  </a:cubicBezTo>
                  <a:lnTo>
                    <a:pt x="92972" y="128308"/>
                  </a:lnTo>
                  <a:cubicBezTo>
                    <a:pt x="93355" y="128951"/>
                    <a:pt x="93414" y="129496"/>
                    <a:pt x="93157" y="129935"/>
                  </a:cubicBezTo>
                  <a:cubicBezTo>
                    <a:pt x="92893" y="130394"/>
                    <a:pt x="92457" y="130611"/>
                    <a:pt x="91810" y="130611"/>
                  </a:cubicBezTo>
                  <a:lnTo>
                    <a:pt x="76186" y="130611"/>
                  </a:lnTo>
                  <a:close/>
                  <a:moveTo>
                    <a:pt x="49176" y="59355"/>
                  </a:moveTo>
                  <a:cubicBezTo>
                    <a:pt x="56879" y="59355"/>
                    <a:pt x="62846" y="57460"/>
                    <a:pt x="67097" y="53681"/>
                  </a:cubicBezTo>
                  <a:cubicBezTo>
                    <a:pt x="71328" y="49909"/>
                    <a:pt x="73447" y="44563"/>
                    <a:pt x="73447" y="37642"/>
                  </a:cubicBezTo>
                  <a:cubicBezTo>
                    <a:pt x="73447" y="30727"/>
                    <a:pt x="71328" y="25374"/>
                    <a:pt x="67097" y="21615"/>
                  </a:cubicBezTo>
                  <a:cubicBezTo>
                    <a:pt x="62846" y="17830"/>
                    <a:pt x="56879" y="15948"/>
                    <a:pt x="49176" y="15948"/>
                  </a:cubicBezTo>
                  <a:lnTo>
                    <a:pt x="18555" y="15948"/>
                  </a:lnTo>
                  <a:cubicBezTo>
                    <a:pt x="17776" y="15948"/>
                    <a:pt x="17393" y="16335"/>
                    <a:pt x="17393" y="17102"/>
                  </a:cubicBezTo>
                  <a:lnTo>
                    <a:pt x="17393" y="58194"/>
                  </a:lnTo>
                  <a:cubicBezTo>
                    <a:pt x="17393" y="58962"/>
                    <a:pt x="17776" y="59355"/>
                    <a:pt x="18555" y="59355"/>
                  </a:cubicBezTo>
                  <a:lnTo>
                    <a:pt x="49176" y="59355"/>
                  </a:lnTo>
                  <a:close/>
                </a:path>
              </a:pathLst>
            </a:custGeom>
            <a:solidFill>
              <a:schemeClr val="bg2"/>
            </a:solidFill>
            <a:ln w="7" cap="flat">
              <a:noFill/>
              <a:prstDash val="solid"/>
              <a:miter/>
            </a:ln>
          </p:spPr>
          <p:txBody>
            <a:bodyPr rtlCol="0" anchor="ctr"/>
            <a:lstStyle/>
            <a:p>
              <a:endParaRPr lang="de-DE"/>
            </a:p>
          </p:txBody>
        </p:sp>
        <p:sp>
          <p:nvSpPr>
            <p:cNvPr id="15" name="Freeform: Shape 14">
              <a:extLst>
                <a:ext uri="{FF2B5EF4-FFF2-40B4-BE49-F238E27FC236}">
                  <a16:creationId xmlns:a16="http://schemas.microsoft.com/office/drawing/2014/main" id="{4E9BE260-D869-4C3B-B9A5-E2CD78700321}"/>
                </a:ext>
              </a:extLst>
            </p:cNvPr>
            <p:cNvSpPr/>
            <p:nvPr/>
          </p:nvSpPr>
          <p:spPr>
            <a:xfrm>
              <a:off x="10968788" y="509266"/>
              <a:ext cx="93929" cy="130604"/>
            </a:xfrm>
            <a:custGeom>
              <a:avLst/>
              <a:gdLst>
                <a:gd name="connsiteX0" fmla="*/ 0 w 93929"/>
                <a:gd name="connsiteY0" fmla="*/ 1909 h 130604"/>
                <a:gd name="connsiteX1" fmla="*/ 1941 w 93929"/>
                <a:gd name="connsiteY1" fmla="*/ 0 h 130604"/>
                <a:gd name="connsiteX2" fmla="*/ 14304 w 93929"/>
                <a:gd name="connsiteY2" fmla="*/ 0 h 130604"/>
                <a:gd name="connsiteX3" fmla="*/ 17598 w 93929"/>
                <a:gd name="connsiteY3" fmla="*/ 1909 h 130604"/>
                <a:gd name="connsiteX4" fmla="*/ 77123 w 93929"/>
                <a:gd name="connsiteY4" fmla="*/ 99877 h 130604"/>
                <a:gd name="connsiteX5" fmla="*/ 77896 w 93929"/>
                <a:gd name="connsiteY5" fmla="*/ 99877 h 130604"/>
                <a:gd name="connsiteX6" fmla="*/ 77896 w 93929"/>
                <a:gd name="connsiteY6" fmla="*/ 1909 h 130604"/>
                <a:gd name="connsiteX7" fmla="*/ 79823 w 93929"/>
                <a:gd name="connsiteY7" fmla="*/ 0 h 130604"/>
                <a:gd name="connsiteX8" fmla="*/ 92008 w 93929"/>
                <a:gd name="connsiteY8" fmla="*/ 0 h 130604"/>
                <a:gd name="connsiteX9" fmla="*/ 93929 w 93929"/>
                <a:gd name="connsiteY9" fmla="*/ 1909 h 130604"/>
                <a:gd name="connsiteX10" fmla="*/ 93929 w 93929"/>
                <a:gd name="connsiteY10" fmla="*/ 128682 h 130604"/>
                <a:gd name="connsiteX11" fmla="*/ 92008 w 93929"/>
                <a:gd name="connsiteY11" fmla="*/ 130604 h 130604"/>
                <a:gd name="connsiteX12" fmla="*/ 79625 w 93929"/>
                <a:gd name="connsiteY12" fmla="*/ 130604 h 130604"/>
                <a:gd name="connsiteX13" fmla="*/ 76351 w 93929"/>
                <a:gd name="connsiteY13" fmla="*/ 128682 h 130604"/>
                <a:gd name="connsiteX14" fmla="*/ 16634 w 93929"/>
                <a:gd name="connsiteY14" fmla="*/ 31108 h 130604"/>
                <a:gd name="connsiteX15" fmla="*/ 16046 w 93929"/>
                <a:gd name="connsiteY15" fmla="*/ 31108 h 130604"/>
                <a:gd name="connsiteX16" fmla="*/ 16046 w 93929"/>
                <a:gd name="connsiteY16" fmla="*/ 128682 h 130604"/>
                <a:gd name="connsiteX17" fmla="*/ 14112 w 93929"/>
                <a:gd name="connsiteY17" fmla="*/ 130604 h 130604"/>
                <a:gd name="connsiteX18" fmla="*/ 1941 w 93929"/>
                <a:gd name="connsiteY18" fmla="*/ 130604 h 130604"/>
                <a:gd name="connsiteX19" fmla="*/ 0 w 93929"/>
                <a:gd name="connsiteY19" fmla="*/ 128682 h 130604"/>
                <a:gd name="connsiteX20" fmla="*/ 0 w 93929"/>
                <a:gd name="connsiteY20"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29" h="130604">
                  <a:moveTo>
                    <a:pt x="0" y="1909"/>
                  </a:moveTo>
                  <a:cubicBezTo>
                    <a:pt x="0" y="636"/>
                    <a:pt x="647" y="0"/>
                    <a:pt x="1941" y="0"/>
                  </a:cubicBezTo>
                  <a:lnTo>
                    <a:pt x="14304" y="0"/>
                  </a:lnTo>
                  <a:cubicBezTo>
                    <a:pt x="15848" y="0"/>
                    <a:pt x="16951" y="636"/>
                    <a:pt x="17598" y="1909"/>
                  </a:cubicBezTo>
                  <a:lnTo>
                    <a:pt x="77123" y="99877"/>
                  </a:lnTo>
                  <a:lnTo>
                    <a:pt x="77896" y="99877"/>
                  </a:lnTo>
                  <a:lnTo>
                    <a:pt x="77896" y="1909"/>
                  </a:lnTo>
                  <a:cubicBezTo>
                    <a:pt x="77896" y="636"/>
                    <a:pt x="78536" y="0"/>
                    <a:pt x="79823" y="0"/>
                  </a:cubicBezTo>
                  <a:lnTo>
                    <a:pt x="92008" y="0"/>
                  </a:lnTo>
                  <a:cubicBezTo>
                    <a:pt x="93282" y="0"/>
                    <a:pt x="93929" y="636"/>
                    <a:pt x="93929" y="1909"/>
                  </a:cubicBezTo>
                  <a:lnTo>
                    <a:pt x="93929" y="128682"/>
                  </a:lnTo>
                  <a:cubicBezTo>
                    <a:pt x="93929" y="129961"/>
                    <a:pt x="93282" y="130604"/>
                    <a:pt x="92008" y="130604"/>
                  </a:cubicBezTo>
                  <a:lnTo>
                    <a:pt x="79625" y="130604"/>
                  </a:lnTo>
                  <a:cubicBezTo>
                    <a:pt x="78081" y="130604"/>
                    <a:pt x="76985" y="129961"/>
                    <a:pt x="76351" y="128682"/>
                  </a:cubicBezTo>
                  <a:lnTo>
                    <a:pt x="16634" y="31108"/>
                  </a:lnTo>
                  <a:lnTo>
                    <a:pt x="16046" y="31108"/>
                  </a:lnTo>
                  <a:lnTo>
                    <a:pt x="16046" y="128682"/>
                  </a:lnTo>
                  <a:cubicBezTo>
                    <a:pt x="16046" y="129961"/>
                    <a:pt x="15400" y="130604"/>
                    <a:pt x="14112" y="130604"/>
                  </a:cubicBezTo>
                  <a:lnTo>
                    <a:pt x="1941" y="130604"/>
                  </a:lnTo>
                  <a:cubicBezTo>
                    <a:pt x="647" y="130604"/>
                    <a:pt x="0" y="129961"/>
                    <a:pt x="0" y="128682"/>
                  </a:cubicBezTo>
                  <a:lnTo>
                    <a:pt x="0" y="1909"/>
                  </a:lnTo>
                  <a:close/>
                </a:path>
              </a:pathLst>
            </a:custGeom>
            <a:solidFill>
              <a:schemeClr val="bg2"/>
            </a:solidFill>
            <a:ln w="7" cap="flat">
              <a:noFill/>
              <a:prstDash val="solid"/>
              <a:miter/>
            </a:ln>
          </p:spPr>
          <p:txBody>
            <a:bodyPr rtlCol="0" anchor="ctr"/>
            <a:lstStyle/>
            <a:p>
              <a:endParaRPr lang="de-DE"/>
            </a:p>
          </p:txBody>
        </p:sp>
        <p:sp>
          <p:nvSpPr>
            <p:cNvPr id="16" name="Freeform: Shape 15">
              <a:extLst>
                <a:ext uri="{FF2B5EF4-FFF2-40B4-BE49-F238E27FC236}">
                  <a16:creationId xmlns:a16="http://schemas.microsoft.com/office/drawing/2014/main" id="{8C3B4C9F-CB96-44F1-9133-18A6D7F876C6}"/>
                </a:ext>
              </a:extLst>
            </p:cNvPr>
            <p:cNvSpPr/>
            <p:nvPr/>
          </p:nvSpPr>
          <p:spPr>
            <a:xfrm>
              <a:off x="11097134" y="509266"/>
              <a:ext cx="83103" cy="130604"/>
            </a:xfrm>
            <a:custGeom>
              <a:avLst/>
              <a:gdLst>
                <a:gd name="connsiteX0" fmla="*/ 0 w 83103"/>
                <a:gd name="connsiteY0" fmla="*/ 1909 h 130604"/>
                <a:gd name="connsiteX1" fmla="*/ 1947 w 83103"/>
                <a:gd name="connsiteY1" fmla="*/ 0 h 130604"/>
                <a:gd name="connsiteX2" fmla="*/ 81183 w 83103"/>
                <a:gd name="connsiteY2" fmla="*/ 0 h 130604"/>
                <a:gd name="connsiteX3" fmla="*/ 83104 w 83103"/>
                <a:gd name="connsiteY3" fmla="*/ 1909 h 130604"/>
                <a:gd name="connsiteX4" fmla="*/ 83104 w 83103"/>
                <a:gd name="connsiteY4" fmla="*/ 14012 h 130604"/>
                <a:gd name="connsiteX5" fmla="*/ 81183 w 83103"/>
                <a:gd name="connsiteY5" fmla="*/ 15941 h 130604"/>
                <a:gd name="connsiteX6" fmla="*/ 18555 w 83103"/>
                <a:gd name="connsiteY6" fmla="*/ 15941 h 130604"/>
                <a:gd name="connsiteX7" fmla="*/ 17406 w 83103"/>
                <a:gd name="connsiteY7" fmla="*/ 17096 h 130604"/>
                <a:gd name="connsiteX8" fmla="*/ 17406 w 83103"/>
                <a:gd name="connsiteY8" fmla="*/ 55505 h 130604"/>
                <a:gd name="connsiteX9" fmla="*/ 18555 w 83103"/>
                <a:gd name="connsiteY9" fmla="*/ 56646 h 130604"/>
                <a:gd name="connsiteX10" fmla="*/ 71698 w 83103"/>
                <a:gd name="connsiteY10" fmla="*/ 56646 h 130604"/>
                <a:gd name="connsiteX11" fmla="*/ 73645 w 83103"/>
                <a:gd name="connsiteY11" fmla="*/ 58575 h 130604"/>
                <a:gd name="connsiteX12" fmla="*/ 73645 w 83103"/>
                <a:gd name="connsiteY12" fmla="*/ 70678 h 130604"/>
                <a:gd name="connsiteX13" fmla="*/ 71698 w 83103"/>
                <a:gd name="connsiteY13" fmla="*/ 72600 h 130604"/>
                <a:gd name="connsiteX14" fmla="*/ 18555 w 83103"/>
                <a:gd name="connsiteY14" fmla="*/ 72600 h 130604"/>
                <a:gd name="connsiteX15" fmla="*/ 17406 w 83103"/>
                <a:gd name="connsiteY15" fmla="*/ 73748 h 130604"/>
                <a:gd name="connsiteX16" fmla="*/ 17406 w 83103"/>
                <a:gd name="connsiteY16" fmla="*/ 113509 h 130604"/>
                <a:gd name="connsiteX17" fmla="*/ 18555 w 83103"/>
                <a:gd name="connsiteY17" fmla="*/ 114670 h 130604"/>
                <a:gd name="connsiteX18" fmla="*/ 81183 w 83103"/>
                <a:gd name="connsiteY18" fmla="*/ 114670 h 130604"/>
                <a:gd name="connsiteX19" fmla="*/ 83104 w 83103"/>
                <a:gd name="connsiteY19" fmla="*/ 116599 h 130604"/>
                <a:gd name="connsiteX20" fmla="*/ 83104 w 83103"/>
                <a:gd name="connsiteY20" fmla="*/ 128682 h 130604"/>
                <a:gd name="connsiteX21" fmla="*/ 81183 w 83103"/>
                <a:gd name="connsiteY21" fmla="*/ 130604 h 130604"/>
                <a:gd name="connsiteX22" fmla="*/ 1947 w 83103"/>
                <a:gd name="connsiteY22" fmla="*/ 130604 h 130604"/>
                <a:gd name="connsiteX23" fmla="*/ 0 w 83103"/>
                <a:gd name="connsiteY23" fmla="*/ 128682 h 130604"/>
                <a:gd name="connsiteX24" fmla="*/ 0 w 83103"/>
                <a:gd name="connsiteY24"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09"/>
                  </a:moveTo>
                  <a:cubicBezTo>
                    <a:pt x="0" y="636"/>
                    <a:pt x="653" y="0"/>
                    <a:pt x="1947" y="0"/>
                  </a:cubicBezTo>
                  <a:lnTo>
                    <a:pt x="81183" y="0"/>
                  </a:lnTo>
                  <a:cubicBezTo>
                    <a:pt x="82463" y="0"/>
                    <a:pt x="83104" y="636"/>
                    <a:pt x="83104" y="1909"/>
                  </a:cubicBezTo>
                  <a:lnTo>
                    <a:pt x="83104" y="14012"/>
                  </a:lnTo>
                  <a:cubicBezTo>
                    <a:pt x="83104" y="15298"/>
                    <a:pt x="82463" y="15941"/>
                    <a:pt x="81183" y="15941"/>
                  </a:cubicBezTo>
                  <a:lnTo>
                    <a:pt x="18555" y="15941"/>
                  </a:lnTo>
                  <a:cubicBezTo>
                    <a:pt x="17782" y="15941"/>
                    <a:pt x="17406" y="16328"/>
                    <a:pt x="17406" y="17096"/>
                  </a:cubicBezTo>
                  <a:lnTo>
                    <a:pt x="17406" y="55505"/>
                  </a:lnTo>
                  <a:cubicBezTo>
                    <a:pt x="17406" y="56272"/>
                    <a:pt x="17782" y="56646"/>
                    <a:pt x="18555" y="56646"/>
                  </a:cubicBezTo>
                  <a:lnTo>
                    <a:pt x="71698" y="56646"/>
                  </a:lnTo>
                  <a:cubicBezTo>
                    <a:pt x="72991" y="56646"/>
                    <a:pt x="73645" y="57289"/>
                    <a:pt x="73645" y="58575"/>
                  </a:cubicBezTo>
                  <a:lnTo>
                    <a:pt x="73645" y="70678"/>
                  </a:lnTo>
                  <a:cubicBezTo>
                    <a:pt x="73645" y="71964"/>
                    <a:pt x="72991" y="72600"/>
                    <a:pt x="71698" y="72600"/>
                  </a:cubicBezTo>
                  <a:lnTo>
                    <a:pt x="18555" y="72600"/>
                  </a:lnTo>
                  <a:cubicBezTo>
                    <a:pt x="17782" y="72600"/>
                    <a:pt x="17406" y="72981"/>
                    <a:pt x="17406" y="73748"/>
                  </a:cubicBezTo>
                  <a:lnTo>
                    <a:pt x="17406" y="113509"/>
                  </a:lnTo>
                  <a:cubicBezTo>
                    <a:pt x="17406" y="114283"/>
                    <a:pt x="17782" y="114670"/>
                    <a:pt x="18555" y="114670"/>
                  </a:cubicBezTo>
                  <a:lnTo>
                    <a:pt x="81183" y="114670"/>
                  </a:lnTo>
                  <a:cubicBezTo>
                    <a:pt x="82463" y="114670"/>
                    <a:pt x="83104" y="115313"/>
                    <a:pt x="83104" y="116599"/>
                  </a:cubicBezTo>
                  <a:lnTo>
                    <a:pt x="83104" y="128682"/>
                  </a:lnTo>
                  <a:cubicBezTo>
                    <a:pt x="83104" y="129961"/>
                    <a:pt x="82463" y="130604"/>
                    <a:pt x="81183" y="130604"/>
                  </a:cubicBezTo>
                  <a:lnTo>
                    <a:pt x="1947" y="130604"/>
                  </a:lnTo>
                  <a:cubicBezTo>
                    <a:pt x="653" y="130604"/>
                    <a:pt x="0" y="129961"/>
                    <a:pt x="0" y="128682"/>
                  </a:cubicBezTo>
                  <a:lnTo>
                    <a:pt x="0" y="1909"/>
                  </a:lnTo>
                  <a:close/>
                </a:path>
              </a:pathLst>
            </a:custGeom>
            <a:solidFill>
              <a:schemeClr val="bg2"/>
            </a:solidFill>
            <a:ln w="7" cap="flat">
              <a:noFill/>
              <a:prstDash val="solid"/>
              <a:miter/>
            </a:ln>
          </p:spPr>
          <p:txBody>
            <a:bodyPr rtlCol="0" anchor="ctr"/>
            <a:lstStyle/>
            <a:p>
              <a:endParaRPr lang="de-DE"/>
            </a:p>
          </p:txBody>
        </p:sp>
        <p:sp>
          <p:nvSpPr>
            <p:cNvPr id="18" name="Freeform: Shape 17">
              <a:extLst>
                <a:ext uri="{FF2B5EF4-FFF2-40B4-BE49-F238E27FC236}">
                  <a16:creationId xmlns:a16="http://schemas.microsoft.com/office/drawing/2014/main" id="{96CC36B8-4AB7-47C5-BCA0-170255B26E04}"/>
                </a:ext>
              </a:extLst>
            </p:cNvPr>
            <p:cNvSpPr/>
            <p:nvPr/>
          </p:nvSpPr>
          <p:spPr>
            <a:xfrm>
              <a:off x="11203241" y="507147"/>
              <a:ext cx="89457" cy="134835"/>
            </a:xfrm>
            <a:custGeom>
              <a:avLst/>
              <a:gdLst>
                <a:gd name="connsiteX0" fmla="*/ 3485 w 89457"/>
                <a:gd name="connsiteY0" fmla="*/ 104102 h 134835"/>
                <a:gd name="connsiteX1" fmla="*/ 1835 w 89457"/>
                <a:gd name="connsiteY1" fmla="*/ 98250 h 134835"/>
                <a:gd name="connsiteX2" fmla="*/ 779 w 89457"/>
                <a:gd name="connsiteY2" fmla="*/ 91146 h 134835"/>
                <a:gd name="connsiteX3" fmla="*/ 178 w 89457"/>
                <a:gd name="connsiteY3" fmla="*/ 81246 h 134835"/>
                <a:gd name="connsiteX4" fmla="*/ 0 w 89457"/>
                <a:gd name="connsiteY4" fmla="*/ 67424 h 134835"/>
                <a:gd name="connsiteX5" fmla="*/ 178 w 89457"/>
                <a:gd name="connsiteY5" fmla="*/ 53589 h 134835"/>
                <a:gd name="connsiteX6" fmla="*/ 779 w 89457"/>
                <a:gd name="connsiteY6" fmla="*/ 43690 h 134835"/>
                <a:gd name="connsiteX7" fmla="*/ 1835 w 89457"/>
                <a:gd name="connsiteY7" fmla="*/ 36579 h 134835"/>
                <a:gd name="connsiteX8" fmla="*/ 3485 w 89457"/>
                <a:gd name="connsiteY8" fmla="*/ 30734 h 134835"/>
                <a:gd name="connsiteX9" fmla="*/ 19717 w 89457"/>
                <a:gd name="connsiteY9" fmla="*/ 7583 h 134835"/>
                <a:gd name="connsiteX10" fmla="*/ 47143 w 89457"/>
                <a:gd name="connsiteY10" fmla="*/ 0 h 134835"/>
                <a:gd name="connsiteX11" fmla="*/ 72760 w 89457"/>
                <a:gd name="connsiteY11" fmla="*/ 6829 h 134835"/>
                <a:gd name="connsiteX12" fmla="*/ 89289 w 89457"/>
                <a:gd name="connsiteY12" fmla="*/ 26306 h 134835"/>
                <a:gd name="connsiteX13" fmla="*/ 88516 w 89457"/>
                <a:gd name="connsiteY13" fmla="*/ 28805 h 134835"/>
                <a:gd name="connsiteX14" fmla="*/ 76912 w 89457"/>
                <a:gd name="connsiteY14" fmla="*/ 34381 h 134835"/>
                <a:gd name="connsiteX15" fmla="*/ 74206 w 89457"/>
                <a:gd name="connsiteY15" fmla="*/ 33410 h 134835"/>
                <a:gd name="connsiteX16" fmla="*/ 63988 w 89457"/>
                <a:gd name="connsiteY16" fmla="*/ 20841 h 134835"/>
                <a:gd name="connsiteX17" fmla="*/ 47143 w 89457"/>
                <a:gd name="connsiteY17" fmla="*/ 15948 h 134835"/>
                <a:gd name="connsiteX18" fmla="*/ 29769 w 89457"/>
                <a:gd name="connsiteY18" fmla="*/ 20946 h 134835"/>
                <a:gd name="connsiteX19" fmla="*/ 19915 w 89457"/>
                <a:gd name="connsiteY19" fmla="*/ 35142 h 134835"/>
                <a:gd name="connsiteX20" fmla="*/ 18852 w 89457"/>
                <a:gd name="connsiteY20" fmla="*/ 39662 h 134835"/>
                <a:gd name="connsiteX21" fmla="*/ 18066 w 89457"/>
                <a:gd name="connsiteY21" fmla="*/ 45619 h 134835"/>
                <a:gd name="connsiteX22" fmla="*/ 17591 w 89457"/>
                <a:gd name="connsiteY22" fmla="*/ 54455 h 134835"/>
                <a:gd name="connsiteX23" fmla="*/ 17400 w 89457"/>
                <a:gd name="connsiteY23" fmla="*/ 67424 h 134835"/>
                <a:gd name="connsiteX24" fmla="*/ 17591 w 89457"/>
                <a:gd name="connsiteY24" fmla="*/ 80380 h 134835"/>
                <a:gd name="connsiteX25" fmla="*/ 18066 w 89457"/>
                <a:gd name="connsiteY25" fmla="*/ 89217 h 134835"/>
                <a:gd name="connsiteX26" fmla="*/ 18852 w 89457"/>
                <a:gd name="connsiteY26" fmla="*/ 95272 h 134835"/>
                <a:gd name="connsiteX27" fmla="*/ 19915 w 89457"/>
                <a:gd name="connsiteY27" fmla="*/ 99693 h 134835"/>
                <a:gd name="connsiteX28" fmla="*/ 29769 w 89457"/>
                <a:gd name="connsiteY28" fmla="*/ 113902 h 134835"/>
                <a:gd name="connsiteX29" fmla="*/ 47143 w 89457"/>
                <a:gd name="connsiteY29" fmla="*/ 118901 h 134835"/>
                <a:gd name="connsiteX30" fmla="*/ 63988 w 89457"/>
                <a:gd name="connsiteY30" fmla="*/ 114001 h 134835"/>
                <a:gd name="connsiteX31" fmla="*/ 74206 w 89457"/>
                <a:gd name="connsiteY31" fmla="*/ 101412 h 134835"/>
                <a:gd name="connsiteX32" fmla="*/ 76912 w 89457"/>
                <a:gd name="connsiteY32" fmla="*/ 100461 h 134835"/>
                <a:gd name="connsiteX33" fmla="*/ 88516 w 89457"/>
                <a:gd name="connsiteY33" fmla="*/ 106030 h 134835"/>
                <a:gd name="connsiteX34" fmla="*/ 89289 w 89457"/>
                <a:gd name="connsiteY34" fmla="*/ 108530 h 134835"/>
                <a:gd name="connsiteX35" fmla="*/ 72760 w 89457"/>
                <a:gd name="connsiteY35" fmla="*/ 128013 h 134835"/>
                <a:gd name="connsiteX36" fmla="*/ 47143 w 89457"/>
                <a:gd name="connsiteY36" fmla="*/ 134836 h 134835"/>
                <a:gd name="connsiteX37" fmla="*/ 19717 w 89457"/>
                <a:gd name="connsiteY37" fmla="*/ 127246 h 134835"/>
                <a:gd name="connsiteX38" fmla="*/ 3485 w 89457"/>
                <a:gd name="connsiteY38" fmla="*/ 104102 h 134835"/>
                <a:gd name="connsiteX39" fmla="*/ 3485 w 89457"/>
                <a:gd name="connsiteY39" fmla="*/ 104102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9457" h="134835">
                  <a:moveTo>
                    <a:pt x="3485" y="104102"/>
                  </a:moveTo>
                  <a:cubicBezTo>
                    <a:pt x="2825" y="102180"/>
                    <a:pt x="2284" y="100238"/>
                    <a:pt x="1835" y="98250"/>
                  </a:cubicBezTo>
                  <a:cubicBezTo>
                    <a:pt x="1373" y="96275"/>
                    <a:pt x="1036" y="93894"/>
                    <a:pt x="779" y="91146"/>
                  </a:cubicBezTo>
                  <a:cubicBezTo>
                    <a:pt x="521" y="88390"/>
                    <a:pt x="323" y="85091"/>
                    <a:pt x="178" y="81246"/>
                  </a:cubicBezTo>
                  <a:cubicBezTo>
                    <a:pt x="59" y="77415"/>
                    <a:pt x="0" y="72804"/>
                    <a:pt x="0" y="67424"/>
                  </a:cubicBezTo>
                  <a:cubicBezTo>
                    <a:pt x="0" y="62039"/>
                    <a:pt x="59" y="57427"/>
                    <a:pt x="178" y="53589"/>
                  </a:cubicBezTo>
                  <a:cubicBezTo>
                    <a:pt x="323" y="49745"/>
                    <a:pt x="515" y="46452"/>
                    <a:pt x="779" y="43690"/>
                  </a:cubicBezTo>
                  <a:cubicBezTo>
                    <a:pt x="1036" y="40941"/>
                    <a:pt x="1373" y="38580"/>
                    <a:pt x="1835" y="36579"/>
                  </a:cubicBezTo>
                  <a:cubicBezTo>
                    <a:pt x="2284" y="34598"/>
                    <a:pt x="2825" y="32643"/>
                    <a:pt x="3485" y="30734"/>
                  </a:cubicBezTo>
                  <a:cubicBezTo>
                    <a:pt x="6819" y="20362"/>
                    <a:pt x="12244" y="12641"/>
                    <a:pt x="19717" y="7583"/>
                  </a:cubicBezTo>
                  <a:cubicBezTo>
                    <a:pt x="27189" y="2532"/>
                    <a:pt x="36344" y="0"/>
                    <a:pt x="47143" y="0"/>
                  </a:cubicBezTo>
                  <a:cubicBezTo>
                    <a:pt x="56945" y="0"/>
                    <a:pt x="65493" y="2270"/>
                    <a:pt x="72760" y="6829"/>
                  </a:cubicBezTo>
                  <a:cubicBezTo>
                    <a:pt x="80054" y="11362"/>
                    <a:pt x="85553" y="17856"/>
                    <a:pt x="89289" y="26306"/>
                  </a:cubicBezTo>
                  <a:cubicBezTo>
                    <a:pt x="89665" y="27460"/>
                    <a:pt x="89414" y="28307"/>
                    <a:pt x="88516" y="28805"/>
                  </a:cubicBezTo>
                  <a:lnTo>
                    <a:pt x="76912" y="34381"/>
                  </a:lnTo>
                  <a:cubicBezTo>
                    <a:pt x="75638" y="35024"/>
                    <a:pt x="74727" y="34696"/>
                    <a:pt x="74206" y="33410"/>
                  </a:cubicBezTo>
                  <a:cubicBezTo>
                    <a:pt x="71625" y="28307"/>
                    <a:pt x="68232" y="24115"/>
                    <a:pt x="63988" y="20841"/>
                  </a:cubicBezTo>
                  <a:cubicBezTo>
                    <a:pt x="59730" y="17574"/>
                    <a:pt x="54120" y="15948"/>
                    <a:pt x="47143" y="15948"/>
                  </a:cubicBezTo>
                  <a:cubicBezTo>
                    <a:pt x="39941" y="15948"/>
                    <a:pt x="34146" y="17607"/>
                    <a:pt x="29769" y="20946"/>
                  </a:cubicBezTo>
                  <a:cubicBezTo>
                    <a:pt x="25380" y="24272"/>
                    <a:pt x="22106" y="29002"/>
                    <a:pt x="19915" y="35142"/>
                  </a:cubicBezTo>
                  <a:cubicBezTo>
                    <a:pt x="19518" y="36553"/>
                    <a:pt x="19169" y="38068"/>
                    <a:pt x="18852" y="39662"/>
                  </a:cubicBezTo>
                  <a:cubicBezTo>
                    <a:pt x="18528" y="41263"/>
                    <a:pt x="18271" y="43250"/>
                    <a:pt x="18066" y="45619"/>
                  </a:cubicBezTo>
                  <a:cubicBezTo>
                    <a:pt x="17895" y="47987"/>
                    <a:pt x="17710" y="50932"/>
                    <a:pt x="17591" y="54455"/>
                  </a:cubicBezTo>
                  <a:cubicBezTo>
                    <a:pt x="17452" y="57978"/>
                    <a:pt x="17400" y="62288"/>
                    <a:pt x="17400" y="67424"/>
                  </a:cubicBezTo>
                  <a:cubicBezTo>
                    <a:pt x="17400" y="72541"/>
                    <a:pt x="17452" y="76864"/>
                    <a:pt x="17591" y="80380"/>
                  </a:cubicBezTo>
                  <a:cubicBezTo>
                    <a:pt x="17710" y="83910"/>
                    <a:pt x="17895" y="86849"/>
                    <a:pt x="18066" y="89217"/>
                  </a:cubicBezTo>
                  <a:cubicBezTo>
                    <a:pt x="18271" y="91585"/>
                    <a:pt x="18528" y="93612"/>
                    <a:pt x="18852" y="95272"/>
                  </a:cubicBezTo>
                  <a:cubicBezTo>
                    <a:pt x="19169" y="96938"/>
                    <a:pt x="19518" y="98408"/>
                    <a:pt x="19915" y="99693"/>
                  </a:cubicBezTo>
                  <a:cubicBezTo>
                    <a:pt x="22106" y="105833"/>
                    <a:pt x="25373" y="110576"/>
                    <a:pt x="29769" y="113902"/>
                  </a:cubicBezTo>
                  <a:cubicBezTo>
                    <a:pt x="34146" y="117241"/>
                    <a:pt x="39941" y="118901"/>
                    <a:pt x="47143" y="118901"/>
                  </a:cubicBezTo>
                  <a:cubicBezTo>
                    <a:pt x="54120" y="118901"/>
                    <a:pt x="59730" y="117268"/>
                    <a:pt x="63988" y="114001"/>
                  </a:cubicBezTo>
                  <a:cubicBezTo>
                    <a:pt x="68232" y="110734"/>
                    <a:pt x="71625" y="106542"/>
                    <a:pt x="74206" y="101412"/>
                  </a:cubicBezTo>
                  <a:cubicBezTo>
                    <a:pt x="74727" y="100146"/>
                    <a:pt x="75638" y="99824"/>
                    <a:pt x="76912" y="100461"/>
                  </a:cubicBezTo>
                  <a:lnTo>
                    <a:pt x="88516" y="106030"/>
                  </a:lnTo>
                  <a:cubicBezTo>
                    <a:pt x="89414" y="106542"/>
                    <a:pt x="89665" y="107369"/>
                    <a:pt x="89289" y="108530"/>
                  </a:cubicBezTo>
                  <a:cubicBezTo>
                    <a:pt x="85553" y="116979"/>
                    <a:pt x="80048" y="123480"/>
                    <a:pt x="72760" y="128013"/>
                  </a:cubicBezTo>
                  <a:cubicBezTo>
                    <a:pt x="65493" y="132566"/>
                    <a:pt x="56945" y="134836"/>
                    <a:pt x="47143" y="134836"/>
                  </a:cubicBezTo>
                  <a:cubicBezTo>
                    <a:pt x="36344" y="134836"/>
                    <a:pt x="27189" y="132303"/>
                    <a:pt x="19717" y="127246"/>
                  </a:cubicBezTo>
                  <a:cubicBezTo>
                    <a:pt x="12244" y="122194"/>
                    <a:pt x="6819" y="114486"/>
                    <a:pt x="3485" y="104102"/>
                  </a:cubicBezTo>
                  <a:lnTo>
                    <a:pt x="3485" y="104102"/>
                  </a:lnTo>
                  <a:close/>
                </a:path>
              </a:pathLst>
            </a:custGeom>
            <a:solidFill>
              <a:schemeClr val="bg2"/>
            </a:solidFill>
            <a:ln w="7" cap="flat">
              <a:noFill/>
              <a:prstDash val="solid"/>
              <a:miter/>
            </a:ln>
          </p:spPr>
          <p:txBody>
            <a:bodyPr rtlCol="0" anchor="ctr"/>
            <a:lstStyle/>
            <a:p>
              <a:endParaRPr lang="de-DE"/>
            </a:p>
          </p:txBody>
        </p:sp>
        <p:sp>
          <p:nvSpPr>
            <p:cNvPr id="19" name="Freeform: Shape 18">
              <a:extLst>
                <a:ext uri="{FF2B5EF4-FFF2-40B4-BE49-F238E27FC236}">
                  <a16:creationId xmlns:a16="http://schemas.microsoft.com/office/drawing/2014/main" id="{E95C43CC-E3AD-4A4A-8775-328462B8C0B6}"/>
                </a:ext>
              </a:extLst>
            </p:cNvPr>
            <p:cNvSpPr/>
            <p:nvPr/>
          </p:nvSpPr>
          <p:spPr>
            <a:xfrm>
              <a:off x="11319197" y="509266"/>
              <a:ext cx="97302" cy="130604"/>
            </a:xfrm>
            <a:custGeom>
              <a:avLst/>
              <a:gdLst>
                <a:gd name="connsiteX0" fmla="*/ 0 w 97302"/>
                <a:gd name="connsiteY0" fmla="*/ 1909 h 130604"/>
                <a:gd name="connsiteX1" fmla="*/ 1947 w 97302"/>
                <a:gd name="connsiteY1" fmla="*/ 0 h 130604"/>
                <a:gd name="connsiteX2" fmla="*/ 15439 w 97302"/>
                <a:gd name="connsiteY2" fmla="*/ 0 h 130604"/>
                <a:gd name="connsiteX3" fmla="*/ 17413 w 97302"/>
                <a:gd name="connsiteY3" fmla="*/ 1909 h 130604"/>
                <a:gd name="connsiteX4" fmla="*/ 17413 w 97302"/>
                <a:gd name="connsiteY4" fmla="*/ 69911 h 130604"/>
                <a:gd name="connsiteX5" fmla="*/ 73051 w 97302"/>
                <a:gd name="connsiteY5" fmla="*/ 1725 h 130604"/>
                <a:gd name="connsiteX6" fmla="*/ 76153 w 97302"/>
                <a:gd name="connsiteY6" fmla="*/ 0 h 130604"/>
                <a:gd name="connsiteX7" fmla="*/ 92002 w 97302"/>
                <a:gd name="connsiteY7" fmla="*/ 0 h 130604"/>
                <a:gd name="connsiteX8" fmla="*/ 93256 w 97302"/>
                <a:gd name="connsiteY8" fmla="*/ 669 h 130604"/>
                <a:gd name="connsiteX9" fmla="*/ 92774 w 97302"/>
                <a:gd name="connsiteY9" fmla="*/ 2296 h 130604"/>
                <a:gd name="connsiteX10" fmla="*/ 51796 w 97302"/>
                <a:gd name="connsiteY10" fmla="*/ 51280 h 130604"/>
                <a:gd name="connsiteX11" fmla="*/ 96833 w 97302"/>
                <a:gd name="connsiteY11" fmla="*/ 128485 h 130604"/>
                <a:gd name="connsiteX12" fmla="*/ 95678 w 97302"/>
                <a:gd name="connsiteY12" fmla="*/ 130604 h 130604"/>
                <a:gd name="connsiteX13" fmla="*/ 80206 w 97302"/>
                <a:gd name="connsiteY13" fmla="*/ 130604 h 130604"/>
                <a:gd name="connsiteX14" fmla="*/ 77500 w 97302"/>
                <a:gd name="connsiteY14" fmla="*/ 128872 h 130604"/>
                <a:gd name="connsiteX15" fmla="*/ 40714 w 97302"/>
                <a:gd name="connsiteY15" fmla="*/ 64531 h 130604"/>
                <a:gd name="connsiteX16" fmla="*/ 17413 w 97302"/>
                <a:gd name="connsiteY16" fmla="*/ 92582 h 130604"/>
                <a:gd name="connsiteX17" fmla="*/ 17413 w 97302"/>
                <a:gd name="connsiteY17" fmla="*/ 128682 h 130604"/>
                <a:gd name="connsiteX18" fmla="*/ 15439 w 97302"/>
                <a:gd name="connsiteY18" fmla="*/ 130604 h 130604"/>
                <a:gd name="connsiteX19" fmla="*/ 1947 w 97302"/>
                <a:gd name="connsiteY19" fmla="*/ 130604 h 130604"/>
                <a:gd name="connsiteX20" fmla="*/ 0 w 97302"/>
                <a:gd name="connsiteY20" fmla="*/ 128682 h 130604"/>
                <a:gd name="connsiteX21" fmla="*/ 0 w 97302"/>
                <a:gd name="connsiteY21"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302" h="130604">
                  <a:moveTo>
                    <a:pt x="0" y="1909"/>
                  </a:moveTo>
                  <a:cubicBezTo>
                    <a:pt x="0" y="636"/>
                    <a:pt x="653" y="0"/>
                    <a:pt x="1947" y="0"/>
                  </a:cubicBezTo>
                  <a:lnTo>
                    <a:pt x="15439" y="0"/>
                  </a:lnTo>
                  <a:cubicBezTo>
                    <a:pt x="16753" y="0"/>
                    <a:pt x="17413" y="636"/>
                    <a:pt x="17413" y="1909"/>
                  </a:cubicBezTo>
                  <a:lnTo>
                    <a:pt x="17413" y="69911"/>
                  </a:lnTo>
                  <a:lnTo>
                    <a:pt x="73051" y="1725"/>
                  </a:lnTo>
                  <a:cubicBezTo>
                    <a:pt x="73823" y="571"/>
                    <a:pt x="74859" y="0"/>
                    <a:pt x="76153" y="0"/>
                  </a:cubicBezTo>
                  <a:lnTo>
                    <a:pt x="92002" y="0"/>
                  </a:lnTo>
                  <a:cubicBezTo>
                    <a:pt x="92642" y="0"/>
                    <a:pt x="93058" y="223"/>
                    <a:pt x="93256" y="669"/>
                  </a:cubicBezTo>
                  <a:cubicBezTo>
                    <a:pt x="93454" y="1122"/>
                    <a:pt x="93276" y="1666"/>
                    <a:pt x="92774" y="2296"/>
                  </a:cubicBezTo>
                  <a:lnTo>
                    <a:pt x="51796" y="51280"/>
                  </a:lnTo>
                  <a:lnTo>
                    <a:pt x="96833" y="128485"/>
                  </a:lnTo>
                  <a:cubicBezTo>
                    <a:pt x="97724" y="129909"/>
                    <a:pt x="97348" y="130604"/>
                    <a:pt x="95678" y="130604"/>
                  </a:cubicBezTo>
                  <a:lnTo>
                    <a:pt x="80206" y="130604"/>
                  </a:lnTo>
                  <a:cubicBezTo>
                    <a:pt x="79057" y="130604"/>
                    <a:pt x="78140" y="130034"/>
                    <a:pt x="77500" y="128872"/>
                  </a:cubicBezTo>
                  <a:lnTo>
                    <a:pt x="40714" y="64531"/>
                  </a:lnTo>
                  <a:lnTo>
                    <a:pt x="17413" y="92582"/>
                  </a:lnTo>
                  <a:lnTo>
                    <a:pt x="17413" y="128682"/>
                  </a:lnTo>
                  <a:cubicBezTo>
                    <a:pt x="17413" y="129961"/>
                    <a:pt x="16753" y="130604"/>
                    <a:pt x="15439" y="130604"/>
                  </a:cubicBezTo>
                  <a:lnTo>
                    <a:pt x="1947" y="130604"/>
                  </a:lnTo>
                  <a:cubicBezTo>
                    <a:pt x="653" y="130604"/>
                    <a:pt x="0" y="129961"/>
                    <a:pt x="0" y="128682"/>
                  </a:cubicBezTo>
                  <a:lnTo>
                    <a:pt x="0" y="1909"/>
                  </a:lnTo>
                  <a:close/>
                </a:path>
              </a:pathLst>
            </a:custGeom>
            <a:solidFill>
              <a:schemeClr val="bg2"/>
            </a:solidFill>
            <a:ln w="7" cap="flat">
              <a:noFill/>
              <a:prstDash val="solid"/>
              <a:miter/>
            </a:ln>
          </p:spPr>
          <p:txBody>
            <a:bodyPr rtlCol="0" anchor="ctr"/>
            <a:lstStyle/>
            <a:p>
              <a:endParaRPr lang="de-DE"/>
            </a:p>
          </p:txBody>
        </p:sp>
        <p:sp>
          <p:nvSpPr>
            <p:cNvPr id="20" name="Freeform: Shape 19">
              <a:extLst>
                <a:ext uri="{FF2B5EF4-FFF2-40B4-BE49-F238E27FC236}">
                  <a16:creationId xmlns:a16="http://schemas.microsoft.com/office/drawing/2014/main" id="{19140B16-0E1F-4A6C-B649-5E50BAF9FE82}"/>
                </a:ext>
              </a:extLst>
            </p:cNvPr>
            <p:cNvSpPr/>
            <p:nvPr/>
          </p:nvSpPr>
          <p:spPr>
            <a:xfrm>
              <a:off x="11440183" y="509266"/>
              <a:ext cx="83123" cy="130604"/>
            </a:xfrm>
            <a:custGeom>
              <a:avLst/>
              <a:gdLst>
                <a:gd name="connsiteX0" fmla="*/ 0 w 83123"/>
                <a:gd name="connsiteY0" fmla="*/ 1909 h 130604"/>
                <a:gd name="connsiteX1" fmla="*/ 1947 w 83123"/>
                <a:gd name="connsiteY1" fmla="*/ 0 h 130604"/>
                <a:gd name="connsiteX2" fmla="*/ 81190 w 83123"/>
                <a:gd name="connsiteY2" fmla="*/ 0 h 130604"/>
                <a:gd name="connsiteX3" fmla="*/ 83124 w 83123"/>
                <a:gd name="connsiteY3" fmla="*/ 1909 h 130604"/>
                <a:gd name="connsiteX4" fmla="*/ 83124 w 83123"/>
                <a:gd name="connsiteY4" fmla="*/ 14012 h 130604"/>
                <a:gd name="connsiteX5" fmla="*/ 81190 w 83123"/>
                <a:gd name="connsiteY5" fmla="*/ 15941 h 130604"/>
                <a:gd name="connsiteX6" fmla="*/ 18555 w 83123"/>
                <a:gd name="connsiteY6" fmla="*/ 15941 h 130604"/>
                <a:gd name="connsiteX7" fmla="*/ 17406 w 83123"/>
                <a:gd name="connsiteY7" fmla="*/ 17096 h 130604"/>
                <a:gd name="connsiteX8" fmla="*/ 17406 w 83123"/>
                <a:gd name="connsiteY8" fmla="*/ 55505 h 130604"/>
                <a:gd name="connsiteX9" fmla="*/ 18555 w 83123"/>
                <a:gd name="connsiteY9" fmla="*/ 56646 h 130604"/>
                <a:gd name="connsiteX10" fmla="*/ 71704 w 83123"/>
                <a:gd name="connsiteY10" fmla="*/ 56646 h 130604"/>
                <a:gd name="connsiteX11" fmla="*/ 73658 w 83123"/>
                <a:gd name="connsiteY11" fmla="*/ 58575 h 130604"/>
                <a:gd name="connsiteX12" fmla="*/ 73658 w 83123"/>
                <a:gd name="connsiteY12" fmla="*/ 70678 h 130604"/>
                <a:gd name="connsiteX13" fmla="*/ 71704 w 83123"/>
                <a:gd name="connsiteY13" fmla="*/ 72600 h 130604"/>
                <a:gd name="connsiteX14" fmla="*/ 18555 w 83123"/>
                <a:gd name="connsiteY14" fmla="*/ 72600 h 130604"/>
                <a:gd name="connsiteX15" fmla="*/ 17406 w 83123"/>
                <a:gd name="connsiteY15" fmla="*/ 73748 h 130604"/>
                <a:gd name="connsiteX16" fmla="*/ 17406 w 83123"/>
                <a:gd name="connsiteY16" fmla="*/ 113509 h 130604"/>
                <a:gd name="connsiteX17" fmla="*/ 18555 w 83123"/>
                <a:gd name="connsiteY17" fmla="*/ 114670 h 130604"/>
                <a:gd name="connsiteX18" fmla="*/ 81190 w 83123"/>
                <a:gd name="connsiteY18" fmla="*/ 114670 h 130604"/>
                <a:gd name="connsiteX19" fmla="*/ 83124 w 83123"/>
                <a:gd name="connsiteY19" fmla="*/ 116599 h 130604"/>
                <a:gd name="connsiteX20" fmla="*/ 83124 w 83123"/>
                <a:gd name="connsiteY20" fmla="*/ 128682 h 130604"/>
                <a:gd name="connsiteX21" fmla="*/ 81190 w 83123"/>
                <a:gd name="connsiteY21" fmla="*/ 130604 h 130604"/>
                <a:gd name="connsiteX22" fmla="*/ 1954 w 83123"/>
                <a:gd name="connsiteY22" fmla="*/ 130604 h 130604"/>
                <a:gd name="connsiteX23" fmla="*/ 0 w 83123"/>
                <a:gd name="connsiteY23" fmla="*/ 128682 h 130604"/>
                <a:gd name="connsiteX24" fmla="*/ 0 w 83123"/>
                <a:gd name="connsiteY24"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23" h="130604">
                  <a:moveTo>
                    <a:pt x="0" y="1909"/>
                  </a:moveTo>
                  <a:cubicBezTo>
                    <a:pt x="0" y="636"/>
                    <a:pt x="660" y="0"/>
                    <a:pt x="1947" y="0"/>
                  </a:cubicBezTo>
                  <a:lnTo>
                    <a:pt x="81190" y="0"/>
                  </a:lnTo>
                  <a:cubicBezTo>
                    <a:pt x="82483" y="0"/>
                    <a:pt x="83124" y="636"/>
                    <a:pt x="83124" y="1909"/>
                  </a:cubicBezTo>
                  <a:lnTo>
                    <a:pt x="83124" y="14012"/>
                  </a:lnTo>
                  <a:cubicBezTo>
                    <a:pt x="83124" y="15298"/>
                    <a:pt x="82483" y="15941"/>
                    <a:pt x="81190" y="15941"/>
                  </a:cubicBezTo>
                  <a:lnTo>
                    <a:pt x="18555" y="15941"/>
                  </a:lnTo>
                  <a:cubicBezTo>
                    <a:pt x="17782" y="15941"/>
                    <a:pt x="17406" y="16328"/>
                    <a:pt x="17406" y="17096"/>
                  </a:cubicBezTo>
                  <a:lnTo>
                    <a:pt x="17406" y="55505"/>
                  </a:lnTo>
                  <a:cubicBezTo>
                    <a:pt x="17406" y="56272"/>
                    <a:pt x="17782" y="56646"/>
                    <a:pt x="18555" y="56646"/>
                  </a:cubicBezTo>
                  <a:lnTo>
                    <a:pt x="71704" y="56646"/>
                  </a:lnTo>
                  <a:cubicBezTo>
                    <a:pt x="73005" y="56646"/>
                    <a:pt x="73658" y="57289"/>
                    <a:pt x="73658" y="58575"/>
                  </a:cubicBezTo>
                  <a:lnTo>
                    <a:pt x="73658" y="70678"/>
                  </a:lnTo>
                  <a:cubicBezTo>
                    <a:pt x="73658" y="71964"/>
                    <a:pt x="72998" y="72600"/>
                    <a:pt x="71704" y="72600"/>
                  </a:cubicBezTo>
                  <a:lnTo>
                    <a:pt x="18555" y="72600"/>
                  </a:lnTo>
                  <a:cubicBezTo>
                    <a:pt x="17782" y="72600"/>
                    <a:pt x="17406" y="72981"/>
                    <a:pt x="17406" y="73748"/>
                  </a:cubicBezTo>
                  <a:lnTo>
                    <a:pt x="17406" y="113509"/>
                  </a:lnTo>
                  <a:cubicBezTo>
                    <a:pt x="17406" y="114283"/>
                    <a:pt x="17782" y="114670"/>
                    <a:pt x="18555" y="114670"/>
                  </a:cubicBezTo>
                  <a:lnTo>
                    <a:pt x="81190" y="114670"/>
                  </a:lnTo>
                  <a:cubicBezTo>
                    <a:pt x="82483" y="114670"/>
                    <a:pt x="83124" y="115313"/>
                    <a:pt x="83124" y="116599"/>
                  </a:cubicBezTo>
                  <a:lnTo>
                    <a:pt x="83124" y="128682"/>
                  </a:lnTo>
                  <a:cubicBezTo>
                    <a:pt x="83124" y="129961"/>
                    <a:pt x="82483" y="130604"/>
                    <a:pt x="81190" y="130604"/>
                  </a:cubicBezTo>
                  <a:lnTo>
                    <a:pt x="1954" y="130604"/>
                  </a:lnTo>
                  <a:cubicBezTo>
                    <a:pt x="660" y="130604"/>
                    <a:pt x="0" y="129961"/>
                    <a:pt x="0" y="128682"/>
                  </a:cubicBezTo>
                  <a:lnTo>
                    <a:pt x="0" y="1909"/>
                  </a:lnTo>
                  <a:close/>
                </a:path>
              </a:pathLst>
            </a:custGeom>
            <a:solidFill>
              <a:schemeClr val="bg2"/>
            </a:solidFill>
            <a:ln w="7" cap="flat">
              <a:noFill/>
              <a:prstDash val="solid"/>
              <a:miter/>
            </a:ln>
          </p:spPr>
          <p:txBody>
            <a:bodyPr rtlCol="0" anchor="ctr"/>
            <a:lstStyle/>
            <a:p>
              <a:endParaRPr lang="de-DE"/>
            </a:p>
          </p:txBody>
        </p:sp>
        <p:sp>
          <p:nvSpPr>
            <p:cNvPr id="21" name="Freeform: Shape 20">
              <a:extLst>
                <a:ext uri="{FF2B5EF4-FFF2-40B4-BE49-F238E27FC236}">
                  <a16:creationId xmlns:a16="http://schemas.microsoft.com/office/drawing/2014/main" id="{CCE7A376-872B-4B4C-9A40-72AB0817621D}"/>
                </a:ext>
              </a:extLst>
            </p:cNvPr>
            <p:cNvSpPr/>
            <p:nvPr/>
          </p:nvSpPr>
          <p:spPr>
            <a:xfrm>
              <a:off x="10721255" y="713389"/>
              <a:ext cx="94851" cy="134835"/>
            </a:xfrm>
            <a:custGeom>
              <a:avLst/>
              <a:gdLst>
                <a:gd name="connsiteX0" fmla="*/ 46917 w 94851"/>
                <a:gd name="connsiteY0" fmla="*/ 134836 h 134835"/>
                <a:gd name="connsiteX1" fmla="*/ 33194 w 94851"/>
                <a:gd name="connsiteY1" fmla="*/ 133484 h 134835"/>
                <a:gd name="connsiteX2" fmla="*/ 20434 w 94851"/>
                <a:gd name="connsiteY2" fmla="*/ 129929 h 134835"/>
                <a:gd name="connsiteX3" fmla="*/ 9437 w 94851"/>
                <a:gd name="connsiteY3" fmla="*/ 124753 h 134835"/>
                <a:gd name="connsiteX4" fmla="*/ 724 w 94851"/>
                <a:gd name="connsiteY4" fmla="*/ 118508 h 134835"/>
                <a:gd name="connsiteX5" fmla="*/ 539 w 94851"/>
                <a:gd name="connsiteY5" fmla="*/ 115628 h 134835"/>
                <a:gd name="connsiteX6" fmla="*/ 9048 w 94851"/>
                <a:gd name="connsiteY6" fmla="*/ 105643 h 134835"/>
                <a:gd name="connsiteX7" fmla="*/ 11748 w 94851"/>
                <a:gd name="connsiteY7" fmla="*/ 105446 h 134835"/>
                <a:gd name="connsiteX8" fmla="*/ 27596 w 94851"/>
                <a:gd name="connsiteY8" fmla="*/ 114670 h 134835"/>
                <a:gd name="connsiteX9" fmla="*/ 48468 w 94851"/>
                <a:gd name="connsiteY9" fmla="*/ 118888 h 134835"/>
                <a:gd name="connsiteX10" fmla="*/ 69828 w 94851"/>
                <a:gd name="connsiteY10" fmla="*/ 112748 h 134835"/>
                <a:gd name="connsiteX11" fmla="*/ 77458 w 94851"/>
                <a:gd name="connsiteY11" fmla="*/ 96610 h 134835"/>
                <a:gd name="connsiteX12" fmla="*/ 76105 w 94851"/>
                <a:gd name="connsiteY12" fmla="*/ 88928 h 134835"/>
                <a:gd name="connsiteX13" fmla="*/ 71564 w 94851"/>
                <a:gd name="connsiteY13" fmla="*/ 82781 h 134835"/>
                <a:gd name="connsiteX14" fmla="*/ 63168 w 94851"/>
                <a:gd name="connsiteY14" fmla="*/ 78163 h 134835"/>
                <a:gd name="connsiteX15" fmla="*/ 50012 w 94851"/>
                <a:gd name="connsiteY15" fmla="*/ 75303 h 134835"/>
                <a:gd name="connsiteX16" fmla="*/ 43438 w 94851"/>
                <a:gd name="connsiteY16" fmla="*/ 74326 h 134835"/>
                <a:gd name="connsiteX17" fmla="*/ 4790 w 94851"/>
                <a:gd name="connsiteY17" fmla="*/ 38219 h 134835"/>
                <a:gd name="connsiteX18" fmla="*/ 7781 w 94851"/>
                <a:gd name="connsiteY18" fmla="*/ 22462 h 134835"/>
                <a:gd name="connsiteX19" fmla="*/ 16388 w 94851"/>
                <a:gd name="connsiteY19" fmla="*/ 10371 h 134835"/>
                <a:gd name="connsiteX20" fmla="*/ 29906 w 94851"/>
                <a:gd name="connsiteY20" fmla="*/ 2683 h 134835"/>
                <a:gd name="connsiteX21" fmla="*/ 47689 w 94851"/>
                <a:gd name="connsiteY21" fmla="*/ 0 h 134835"/>
                <a:gd name="connsiteX22" fmla="*/ 69828 w 94851"/>
                <a:gd name="connsiteY22" fmla="*/ 3352 h 134835"/>
                <a:gd name="connsiteX23" fmla="*/ 87703 w 94851"/>
                <a:gd name="connsiteY23" fmla="*/ 12097 h 134835"/>
                <a:gd name="connsiteX24" fmla="*/ 88086 w 94851"/>
                <a:gd name="connsiteY24" fmla="*/ 14786 h 134835"/>
                <a:gd name="connsiteX25" fmla="*/ 81518 w 94851"/>
                <a:gd name="connsiteY25" fmla="*/ 25348 h 134835"/>
                <a:gd name="connsiteX26" fmla="*/ 78811 w 94851"/>
                <a:gd name="connsiteY26" fmla="*/ 25729 h 134835"/>
                <a:gd name="connsiteX27" fmla="*/ 63168 w 94851"/>
                <a:gd name="connsiteY27" fmla="*/ 18329 h 134835"/>
                <a:gd name="connsiteX28" fmla="*/ 47115 w 94851"/>
                <a:gd name="connsiteY28" fmla="*/ 15941 h 134835"/>
                <a:gd name="connsiteX29" fmla="*/ 28553 w 94851"/>
                <a:gd name="connsiteY29" fmla="*/ 21793 h 134835"/>
                <a:gd name="connsiteX30" fmla="*/ 22177 w 94851"/>
                <a:gd name="connsiteY30" fmla="*/ 37064 h 134835"/>
                <a:gd name="connsiteX31" fmla="*/ 28362 w 94851"/>
                <a:gd name="connsiteY31" fmla="*/ 50611 h 134835"/>
                <a:gd name="connsiteX32" fmla="*/ 49821 w 94851"/>
                <a:gd name="connsiteY32" fmla="*/ 58004 h 134835"/>
                <a:gd name="connsiteX33" fmla="*/ 56197 w 94851"/>
                <a:gd name="connsiteY33" fmla="*/ 58968 h 134835"/>
                <a:gd name="connsiteX34" fmla="*/ 85201 w 94851"/>
                <a:gd name="connsiteY34" fmla="*/ 70488 h 134835"/>
                <a:gd name="connsiteX35" fmla="*/ 94851 w 94851"/>
                <a:gd name="connsiteY35" fmla="*/ 95469 h 134835"/>
                <a:gd name="connsiteX36" fmla="*/ 91855 w 94851"/>
                <a:gd name="connsiteY36" fmla="*/ 111311 h 134835"/>
                <a:gd name="connsiteX37" fmla="*/ 82772 w 94851"/>
                <a:gd name="connsiteY37" fmla="*/ 123697 h 134835"/>
                <a:gd name="connsiteX38" fmla="*/ 67702 w 94851"/>
                <a:gd name="connsiteY38" fmla="*/ 131851 h 134835"/>
                <a:gd name="connsiteX39" fmla="*/ 46917 w 94851"/>
                <a:gd name="connsiteY39" fmla="*/ 134836 h 134835"/>
                <a:gd name="connsiteX40" fmla="*/ 46917 w 94851"/>
                <a:gd name="connsiteY40" fmla="*/ 134836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4851" h="134835">
                  <a:moveTo>
                    <a:pt x="46917" y="134836"/>
                  </a:moveTo>
                  <a:cubicBezTo>
                    <a:pt x="42283" y="134836"/>
                    <a:pt x="37715" y="134376"/>
                    <a:pt x="33194" y="133484"/>
                  </a:cubicBezTo>
                  <a:cubicBezTo>
                    <a:pt x="28692" y="132592"/>
                    <a:pt x="24434" y="131405"/>
                    <a:pt x="20434" y="129929"/>
                  </a:cubicBezTo>
                  <a:cubicBezTo>
                    <a:pt x="16461" y="128466"/>
                    <a:pt x="12777" y="126734"/>
                    <a:pt x="9437" y="124753"/>
                  </a:cubicBezTo>
                  <a:cubicBezTo>
                    <a:pt x="6071" y="122772"/>
                    <a:pt x="3173" y="120685"/>
                    <a:pt x="724" y="118508"/>
                  </a:cubicBezTo>
                  <a:cubicBezTo>
                    <a:pt x="-180" y="117615"/>
                    <a:pt x="-233" y="116644"/>
                    <a:pt x="539" y="115628"/>
                  </a:cubicBezTo>
                  <a:lnTo>
                    <a:pt x="9048" y="105643"/>
                  </a:lnTo>
                  <a:cubicBezTo>
                    <a:pt x="9820" y="104738"/>
                    <a:pt x="10711" y="104672"/>
                    <a:pt x="11748" y="105446"/>
                  </a:cubicBezTo>
                  <a:cubicBezTo>
                    <a:pt x="15998" y="108786"/>
                    <a:pt x="21279" y="111856"/>
                    <a:pt x="27596" y="114670"/>
                  </a:cubicBezTo>
                  <a:cubicBezTo>
                    <a:pt x="33900" y="117491"/>
                    <a:pt x="40864" y="118888"/>
                    <a:pt x="48468" y="118888"/>
                  </a:cubicBezTo>
                  <a:cubicBezTo>
                    <a:pt x="57616" y="118888"/>
                    <a:pt x="64732" y="116848"/>
                    <a:pt x="69828" y="112748"/>
                  </a:cubicBezTo>
                  <a:cubicBezTo>
                    <a:pt x="74917" y="108654"/>
                    <a:pt x="77458" y="103275"/>
                    <a:pt x="77458" y="96610"/>
                  </a:cubicBezTo>
                  <a:cubicBezTo>
                    <a:pt x="77458" y="93796"/>
                    <a:pt x="77016" y="91237"/>
                    <a:pt x="76105" y="88928"/>
                  </a:cubicBezTo>
                  <a:cubicBezTo>
                    <a:pt x="75201" y="86626"/>
                    <a:pt x="73689" y="84572"/>
                    <a:pt x="71564" y="82781"/>
                  </a:cubicBezTo>
                  <a:cubicBezTo>
                    <a:pt x="69432" y="80984"/>
                    <a:pt x="66640" y="79449"/>
                    <a:pt x="63168" y="78163"/>
                  </a:cubicBezTo>
                  <a:cubicBezTo>
                    <a:pt x="59676" y="76897"/>
                    <a:pt x="55293" y="75933"/>
                    <a:pt x="50012" y="75303"/>
                  </a:cubicBezTo>
                  <a:lnTo>
                    <a:pt x="43438" y="74326"/>
                  </a:lnTo>
                  <a:cubicBezTo>
                    <a:pt x="17682" y="70868"/>
                    <a:pt x="4790" y="58831"/>
                    <a:pt x="4790" y="38219"/>
                  </a:cubicBezTo>
                  <a:cubicBezTo>
                    <a:pt x="4790" y="32446"/>
                    <a:pt x="5787" y="27198"/>
                    <a:pt x="7781" y="22462"/>
                  </a:cubicBezTo>
                  <a:cubicBezTo>
                    <a:pt x="9781" y="17732"/>
                    <a:pt x="12652" y="13697"/>
                    <a:pt x="16388" y="10371"/>
                  </a:cubicBezTo>
                  <a:cubicBezTo>
                    <a:pt x="20111" y="7039"/>
                    <a:pt x="24626" y="4487"/>
                    <a:pt x="29906" y="2683"/>
                  </a:cubicBezTo>
                  <a:cubicBezTo>
                    <a:pt x="35194" y="899"/>
                    <a:pt x="41128" y="0"/>
                    <a:pt x="47689" y="0"/>
                  </a:cubicBezTo>
                  <a:cubicBezTo>
                    <a:pt x="55418" y="0"/>
                    <a:pt x="62805" y="1122"/>
                    <a:pt x="69828" y="3352"/>
                  </a:cubicBezTo>
                  <a:cubicBezTo>
                    <a:pt x="76851" y="5596"/>
                    <a:pt x="82805" y="8522"/>
                    <a:pt x="87703" y="12097"/>
                  </a:cubicBezTo>
                  <a:cubicBezTo>
                    <a:pt x="88732" y="12858"/>
                    <a:pt x="88864" y="13756"/>
                    <a:pt x="88086" y="14786"/>
                  </a:cubicBezTo>
                  <a:lnTo>
                    <a:pt x="81518" y="25348"/>
                  </a:lnTo>
                  <a:cubicBezTo>
                    <a:pt x="80752" y="26247"/>
                    <a:pt x="79841" y="26371"/>
                    <a:pt x="78811" y="25729"/>
                  </a:cubicBezTo>
                  <a:cubicBezTo>
                    <a:pt x="73405" y="22403"/>
                    <a:pt x="68171" y="19936"/>
                    <a:pt x="63168" y="18329"/>
                  </a:cubicBezTo>
                  <a:cubicBezTo>
                    <a:pt x="58138" y="16741"/>
                    <a:pt x="52785" y="15941"/>
                    <a:pt x="47115" y="15941"/>
                  </a:cubicBezTo>
                  <a:cubicBezTo>
                    <a:pt x="39002" y="15941"/>
                    <a:pt x="32811" y="17889"/>
                    <a:pt x="28553" y="21793"/>
                  </a:cubicBezTo>
                  <a:cubicBezTo>
                    <a:pt x="24309" y="25702"/>
                    <a:pt x="22177" y="30806"/>
                    <a:pt x="22177" y="37064"/>
                  </a:cubicBezTo>
                  <a:cubicBezTo>
                    <a:pt x="22177" y="42568"/>
                    <a:pt x="24230" y="47082"/>
                    <a:pt x="28362" y="50611"/>
                  </a:cubicBezTo>
                  <a:cubicBezTo>
                    <a:pt x="32481" y="54134"/>
                    <a:pt x="39636" y="56587"/>
                    <a:pt x="49821" y="58004"/>
                  </a:cubicBezTo>
                  <a:lnTo>
                    <a:pt x="56197" y="58968"/>
                  </a:lnTo>
                  <a:cubicBezTo>
                    <a:pt x="69082" y="60759"/>
                    <a:pt x="78752" y="64597"/>
                    <a:pt x="85201" y="70488"/>
                  </a:cubicBezTo>
                  <a:cubicBezTo>
                    <a:pt x="91630" y="76385"/>
                    <a:pt x="94851" y="84704"/>
                    <a:pt x="94851" y="95469"/>
                  </a:cubicBezTo>
                  <a:cubicBezTo>
                    <a:pt x="94851" y="101215"/>
                    <a:pt x="93855" y="106503"/>
                    <a:pt x="91855" y="111311"/>
                  </a:cubicBezTo>
                  <a:cubicBezTo>
                    <a:pt x="89861" y="116113"/>
                    <a:pt x="86838" y="120233"/>
                    <a:pt x="82772" y="123697"/>
                  </a:cubicBezTo>
                  <a:cubicBezTo>
                    <a:pt x="78719" y="127147"/>
                    <a:pt x="73689" y="129876"/>
                    <a:pt x="67702" y="131851"/>
                  </a:cubicBezTo>
                  <a:cubicBezTo>
                    <a:pt x="61715" y="133838"/>
                    <a:pt x="54771" y="134836"/>
                    <a:pt x="46917" y="134836"/>
                  </a:cubicBezTo>
                  <a:lnTo>
                    <a:pt x="46917" y="134836"/>
                  </a:lnTo>
                  <a:close/>
                </a:path>
              </a:pathLst>
            </a:custGeom>
            <a:solidFill>
              <a:schemeClr val="bg2"/>
            </a:solidFill>
            <a:ln w="7" cap="flat">
              <a:noFill/>
              <a:prstDash val="solid"/>
              <a:miter/>
            </a:ln>
          </p:spPr>
          <p:txBody>
            <a:bodyPr rtlCol="0" anchor="ctr"/>
            <a:lstStyle/>
            <a:p>
              <a:endParaRPr lang="de-DE"/>
            </a:p>
          </p:txBody>
        </p:sp>
        <p:sp>
          <p:nvSpPr>
            <p:cNvPr id="22" name="Freeform: Shape 21">
              <a:extLst>
                <a:ext uri="{FF2B5EF4-FFF2-40B4-BE49-F238E27FC236}">
                  <a16:creationId xmlns:a16="http://schemas.microsoft.com/office/drawing/2014/main" id="{9750984D-9B82-4CEA-9782-E97B4EFD8A85}"/>
                </a:ext>
              </a:extLst>
            </p:cNvPr>
            <p:cNvSpPr/>
            <p:nvPr/>
          </p:nvSpPr>
          <p:spPr>
            <a:xfrm>
              <a:off x="10844516" y="715501"/>
              <a:ext cx="17386" cy="130604"/>
            </a:xfrm>
            <a:custGeom>
              <a:avLst/>
              <a:gdLst>
                <a:gd name="connsiteX0" fmla="*/ 0 w 17386"/>
                <a:gd name="connsiteY0" fmla="*/ 1916 h 130604"/>
                <a:gd name="connsiteX1" fmla="*/ 1954 w 17386"/>
                <a:gd name="connsiteY1" fmla="*/ 0 h 130604"/>
                <a:gd name="connsiteX2" fmla="*/ 15439 w 17386"/>
                <a:gd name="connsiteY2" fmla="*/ 0 h 130604"/>
                <a:gd name="connsiteX3" fmla="*/ 17386 w 17386"/>
                <a:gd name="connsiteY3" fmla="*/ 1916 h 130604"/>
                <a:gd name="connsiteX4" fmla="*/ 17386 w 17386"/>
                <a:gd name="connsiteY4" fmla="*/ 128682 h 130604"/>
                <a:gd name="connsiteX5" fmla="*/ 15439 w 17386"/>
                <a:gd name="connsiteY5" fmla="*/ 130604 h 130604"/>
                <a:gd name="connsiteX6" fmla="*/ 1954 w 17386"/>
                <a:gd name="connsiteY6" fmla="*/ 130604 h 130604"/>
                <a:gd name="connsiteX7" fmla="*/ 0 w 17386"/>
                <a:gd name="connsiteY7" fmla="*/ 128682 h 130604"/>
                <a:gd name="connsiteX8" fmla="*/ 0 w 17386"/>
                <a:gd name="connsiteY8"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6" h="130604">
                  <a:moveTo>
                    <a:pt x="0" y="1916"/>
                  </a:moveTo>
                  <a:cubicBezTo>
                    <a:pt x="0" y="636"/>
                    <a:pt x="653" y="0"/>
                    <a:pt x="1954" y="0"/>
                  </a:cubicBezTo>
                  <a:lnTo>
                    <a:pt x="15439" y="0"/>
                  </a:lnTo>
                  <a:cubicBezTo>
                    <a:pt x="16740" y="0"/>
                    <a:pt x="17386" y="636"/>
                    <a:pt x="17386" y="1916"/>
                  </a:cubicBezTo>
                  <a:lnTo>
                    <a:pt x="17386" y="128682"/>
                  </a:lnTo>
                  <a:cubicBezTo>
                    <a:pt x="17386" y="129961"/>
                    <a:pt x="16740" y="130604"/>
                    <a:pt x="15439" y="130604"/>
                  </a:cubicBezTo>
                  <a:lnTo>
                    <a:pt x="1954"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23" name="Freeform: Shape 22">
              <a:extLst>
                <a:ext uri="{FF2B5EF4-FFF2-40B4-BE49-F238E27FC236}">
                  <a16:creationId xmlns:a16="http://schemas.microsoft.com/office/drawing/2014/main" id="{8CA0EC7E-AD43-4AA8-8A89-69D44EE69DE6}"/>
                </a:ext>
              </a:extLst>
            </p:cNvPr>
            <p:cNvSpPr/>
            <p:nvPr/>
          </p:nvSpPr>
          <p:spPr>
            <a:xfrm>
              <a:off x="10896114" y="715501"/>
              <a:ext cx="90641" cy="130604"/>
            </a:xfrm>
            <a:custGeom>
              <a:avLst/>
              <a:gdLst>
                <a:gd name="connsiteX0" fmla="*/ 0 w 90641"/>
                <a:gd name="connsiteY0" fmla="*/ 1916 h 130604"/>
                <a:gd name="connsiteX1" fmla="*/ 1941 w 90641"/>
                <a:gd name="connsiteY1" fmla="*/ 0 h 130604"/>
                <a:gd name="connsiteX2" fmla="*/ 48516 w 90641"/>
                <a:gd name="connsiteY2" fmla="*/ 0 h 130604"/>
                <a:gd name="connsiteX3" fmla="*/ 78272 w 90641"/>
                <a:gd name="connsiteY3" fmla="*/ 9315 h 130604"/>
                <a:gd name="connsiteX4" fmla="*/ 88134 w 90641"/>
                <a:gd name="connsiteY4" fmla="*/ 34375 h 130604"/>
                <a:gd name="connsiteX5" fmla="*/ 83203 w 90641"/>
                <a:gd name="connsiteY5" fmla="*/ 52815 h 130604"/>
                <a:gd name="connsiteX6" fmla="*/ 70549 w 90641"/>
                <a:gd name="connsiteY6" fmla="*/ 62806 h 130604"/>
                <a:gd name="connsiteX7" fmla="*/ 70549 w 90641"/>
                <a:gd name="connsiteY7" fmla="*/ 63193 h 130604"/>
                <a:gd name="connsiteX8" fmla="*/ 77401 w 90641"/>
                <a:gd name="connsiteY8" fmla="*/ 66552 h 130604"/>
                <a:gd name="connsiteX9" fmla="*/ 83876 w 90641"/>
                <a:gd name="connsiteY9" fmla="*/ 72699 h 130604"/>
                <a:gd name="connsiteX10" fmla="*/ 88721 w 90641"/>
                <a:gd name="connsiteY10" fmla="*/ 81633 h 130604"/>
                <a:gd name="connsiteX11" fmla="*/ 90642 w 90641"/>
                <a:gd name="connsiteY11" fmla="*/ 93356 h 130604"/>
                <a:gd name="connsiteX12" fmla="*/ 79500 w 90641"/>
                <a:gd name="connsiteY12" fmla="*/ 121204 h 130604"/>
                <a:gd name="connsiteX13" fmla="*/ 47644 w 90641"/>
                <a:gd name="connsiteY13" fmla="*/ 130604 h 130604"/>
                <a:gd name="connsiteX14" fmla="*/ 1941 w 90641"/>
                <a:gd name="connsiteY14" fmla="*/ 130604 h 130604"/>
                <a:gd name="connsiteX15" fmla="*/ 0 w 90641"/>
                <a:gd name="connsiteY15" fmla="*/ 128682 h 130604"/>
                <a:gd name="connsiteX16" fmla="*/ 0 w 90641"/>
                <a:gd name="connsiteY16" fmla="*/ 1916 h 130604"/>
                <a:gd name="connsiteX17" fmla="*/ 48212 w 90641"/>
                <a:gd name="connsiteY17" fmla="*/ 56462 h 130604"/>
                <a:gd name="connsiteX18" fmla="*/ 65150 w 90641"/>
                <a:gd name="connsiteY18" fmla="*/ 50900 h 130604"/>
                <a:gd name="connsiteX19" fmla="*/ 71130 w 90641"/>
                <a:gd name="connsiteY19" fmla="*/ 36113 h 130604"/>
                <a:gd name="connsiteX20" fmla="*/ 65150 w 90641"/>
                <a:gd name="connsiteY20" fmla="*/ 21123 h 130604"/>
                <a:gd name="connsiteX21" fmla="*/ 48212 w 90641"/>
                <a:gd name="connsiteY21" fmla="*/ 15554 h 130604"/>
                <a:gd name="connsiteX22" fmla="*/ 18555 w 90641"/>
                <a:gd name="connsiteY22" fmla="*/ 15554 h 130604"/>
                <a:gd name="connsiteX23" fmla="*/ 17393 w 90641"/>
                <a:gd name="connsiteY23" fmla="*/ 16708 h 130604"/>
                <a:gd name="connsiteX24" fmla="*/ 17393 w 90641"/>
                <a:gd name="connsiteY24" fmla="*/ 55308 h 130604"/>
                <a:gd name="connsiteX25" fmla="*/ 18555 w 90641"/>
                <a:gd name="connsiteY25" fmla="*/ 56462 h 130604"/>
                <a:gd name="connsiteX26" fmla="*/ 48212 w 90641"/>
                <a:gd name="connsiteY26" fmla="*/ 56462 h 130604"/>
                <a:gd name="connsiteX27" fmla="*/ 17393 w 90641"/>
                <a:gd name="connsiteY27" fmla="*/ 113902 h 130604"/>
                <a:gd name="connsiteX28" fmla="*/ 18555 w 90641"/>
                <a:gd name="connsiteY28" fmla="*/ 115050 h 130604"/>
                <a:gd name="connsiteX29" fmla="*/ 49182 w 90641"/>
                <a:gd name="connsiteY29" fmla="*/ 115050 h 130604"/>
                <a:gd name="connsiteX30" fmla="*/ 67090 w 90641"/>
                <a:gd name="connsiteY30" fmla="*/ 109199 h 130604"/>
                <a:gd name="connsiteX31" fmla="*/ 73255 w 90641"/>
                <a:gd name="connsiteY31" fmla="*/ 93540 h 130604"/>
                <a:gd name="connsiteX32" fmla="*/ 67090 w 90641"/>
                <a:gd name="connsiteY32" fmla="*/ 77881 h 130604"/>
                <a:gd name="connsiteX33" fmla="*/ 49182 w 90641"/>
                <a:gd name="connsiteY33" fmla="*/ 72029 h 130604"/>
                <a:gd name="connsiteX34" fmla="*/ 18555 w 90641"/>
                <a:gd name="connsiteY34" fmla="*/ 72029 h 130604"/>
                <a:gd name="connsiteX35" fmla="*/ 17393 w 90641"/>
                <a:gd name="connsiteY35" fmla="*/ 73191 h 130604"/>
                <a:gd name="connsiteX36" fmla="*/ 17393 w 90641"/>
                <a:gd name="connsiteY36" fmla="*/ 113902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0641" h="130604">
                  <a:moveTo>
                    <a:pt x="0" y="1916"/>
                  </a:moveTo>
                  <a:cubicBezTo>
                    <a:pt x="0" y="636"/>
                    <a:pt x="647" y="0"/>
                    <a:pt x="1941" y="0"/>
                  </a:cubicBezTo>
                  <a:lnTo>
                    <a:pt x="48516" y="0"/>
                  </a:lnTo>
                  <a:cubicBezTo>
                    <a:pt x="61783" y="0"/>
                    <a:pt x="71704" y="3109"/>
                    <a:pt x="78272" y="9315"/>
                  </a:cubicBezTo>
                  <a:cubicBezTo>
                    <a:pt x="84840" y="15528"/>
                    <a:pt x="88134" y="23879"/>
                    <a:pt x="88134" y="34375"/>
                  </a:cubicBezTo>
                  <a:cubicBezTo>
                    <a:pt x="88134" y="42057"/>
                    <a:pt x="86497" y="48210"/>
                    <a:pt x="83203" y="52815"/>
                  </a:cubicBezTo>
                  <a:cubicBezTo>
                    <a:pt x="79916" y="57420"/>
                    <a:pt x="75691" y="60759"/>
                    <a:pt x="70549" y="62806"/>
                  </a:cubicBezTo>
                  <a:lnTo>
                    <a:pt x="70549" y="63193"/>
                  </a:lnTo>
                  <a:cubicBezTo>
                    <a:pt x="72734" y="63829"/>
                    <a:pt x="75024" y="64945"/>
                    <a:pt x="77401" y="66552"/>
                  </a:cubicBezTo>
                  <a:cubicBezTo>
                    <a:pt x="79784" y="68159"/>
                    <a:pt x="81955" y="70199"/>
                    <a:pt x="83876" y="72699"/>
                  </a:cubicBezTo>
                  <a:cubicBezTo>
                    <a:pt x="85817" y="75198"/>
                    <a:pt x="87427" y="78183"/>
                    <a:pt x="88721" y="81633"/>
                  </a:cubicBezTo>
                  <a:cubicBezTo>
                    <a:pt x="90002" y="85091"/>
                    <a:pt x="90642" y="89000"/>
                    <a:pt x="90642" y="93356"/>
                  </a:cubicBezTo>
                  <a:cubicBezTo>
                    <a:pt x="90648" y="105650"/>
                    <a:pt x="86932" y="114919"/>
                    <a:pt x="79500" y="121204"/>
                  </a:cubicBezTo>
                  <a:cubicBezTo>
                    <a:pt x="72080" y="127469"/>
                    <a:pt x="61460" y="130604"/>
                    <a:pt x="47644" y="130604"/>
                  </a:cubicBezTo>
                  <a:lnTo>
                    <a:pt x="1941" y="130604"/>
                  </a:lnTo>
                  <a:cubicBezTo>
                    <a:pt x="647" y="130604"/>
                    <a:pt x="0" y="129961"/>
                    <a:pt x="0" y="128682"/>
                  </a:cubicBezTo>
                  <a:lnTo>
                    <a:pt x="0" y="1916"/>
                  </a:lnTo>
                  <a:close/>
                  <a:moveTo>
                    <a:pt x="48212" y="56462"/>
                  </a:moveTo>
                  <a:cubicBezTo>
                    <a:pt x="55526" y="56462"/>
                    <a:pt x="61163" y="54606"/>
                    <a:pt x="65150" y="50900"/>
                  </a:cubicBezTo>
                  <a:cubicBezTo>
                    <a:pt x="69143" y="47187"/>
                    <a:pt x="71130" y="42253"/>
                    <a:pt x="71130" y="36113"/>
                  </a:cubicBezTo>
                  <a:cubicBezTo>
                    <a:pt x="71130" y="29829"/>
                    <a:pt x="69143" y="24836"/>
                    <a:pt x="65150" y="21123"/>
                  </a:cubicBezTo>
                  <a:cubicBezTo>
                    <a:pt x="61163" y="17404"/>
                    <a:pt x="55526" y="15554"/>
                    <a:pt x="48212" y="15554"/>
                  </a:cubicBezTo>
                  <a:lnTo>
                    <a:pt x="18555" y="15554"/>
                  </a:lnTo>
                  <a:cubicBezTo>
                    <a:pt x="17782" y="15554"/>
                    <a:pt x="17393" y="15934"/>
                    <a:pt x="17393" y="16708"/>
                  </a:cubicBezTo>
                  <a:lnTo>
                    <a:pt x="17393" y="55308"/>
                  </a:lnTo>
                  <a:cubicBezTo>
                    <a:pt x="17393" y="56075"/>
                    <a:pt x="17782" y="56462"/>
                    <a:pt x="18555" y="56462"/>
                  </a:cubicBezTo>
                  <a:lnTo>
                    <a:pt x="48212" y="56462"/>
                  </a:lnTo>
                  <a:close/>
                  <a:moveTo>
                    <a:pt x="17393" y="113902"/>
                  </a:moveTo>
                  <a:cubicBezTo>
                    <a:pt x="17393" y="114670"/>
                    <a:pt x="17782" y="115050"/>
                    <a:pt x="18555" y="115050"/>
                  </a:cubicBezTo>
                  <a:lnTo>
                    <a:pt x="49182" y="115050"/>
                  </a:lnTo>
                  <a:cubicBezTo>
                    <a:pt x="57011" y="115050"/>
                    <a:pt x="62978" y="113102"/>
                    <a:pt x="67090" y="109199"/>
                  </a:cubicBezTo>
                  <a:cubicBezTo>
                    <a:pt x="71196" y="105289"/>
                    <a:pt x="73255" y="100067"/>
                    <a:pt x="73255" y="93540"/>
                  </a:cubicBezTo>
                  <a:cubicBezTo>
                    <a:pt x="73255" y="87006"/>
                    <a:pt x="71196" y="81784"/>
                    <a:pt x="67090" y="77881"/>
                  </a:cubicBezTo>
                  <a:cubicBezTo>
                    <a:pt x="62978" y="73984"/>
                    <a:pt x="57011" y="72029"/>
                    <a:pt x="49182" y="72029"/>
                  </a:cubicBezTo>
                  <a:lnTo>
                    <a:pt x="18555" y="72029"/>
                  </a:lnTo>
                  <a:cubicBezTo>
                    <a:pt x="17782" y="72029"/>
                    <a:pt x="17393" y="72417"/>
                    <a:pt x="17393" y="73191"/>
                  </a:cubicBezTo>
                  <a:lnTo>
                    <a:pt x="17393" y="113902"/>
                  </a:lnTo>
                  <a:close/>
                </a:path>
              </a:pathLst>
            </a:custGeom>
            <a:solidFill>
              <a:schemeClr val="bg2"/>
            </a:solidFill>
            <a:ln w="7" cap="flat">
              <a:noFill/>
              <a:prstDash val="solid"/>
              <a:miter/>
            </a:ln>
          </p:spPr>
          <p:txBody>
            <a:bodyPr rtlCol="0" anchor="ctr"/>
            <a:lstStyle/>
            <a:p>
              <a:endParaRPr lang="de-DE"/>
            </a:p>
          </p:txBody>
        </p:sp>
        <p:sp>
          <p:nvSpPr>
            <p:cNvPr id="24" name="Freeform: Shape 23">
              <a:extLst>
                <a:ext uri="{FF2B5EF4-FFF2-40B4-BE49-F238E27FC236}">
                  <a16:creationId xmlns:a16="http://schemas.microsoft.com/office/drawing/2014/main" id="{CD3294E7-9E2F-4422-A59D-77B5E894D980}"/>
                </a:ext>
              </a:extLst>
            </p:cNvPr>
            <p:cNvSpPr/>
            <p:nvPr/>
          </p:nvSpPr>
          <p:spPr>
            <a:xfrm>
              <a:off x="11014789" y="715501"/>
              <a:ext cx="83103" cy="130604"/>
            </a:xfrm>
            <a:custGeom>
              <a:avLst/>
              <a:gdLst>
                <a:gd name="connsiteX0" fmla="*/ 0 w 83103"/>
                <a:gd name="connsiteY0" fmla="*/ 1916 h 130604"/>
                <a:gd name="connsiteX1" fmla="*/ 1941 w 83103"/>
                <a:gd name="connsiteY1" fmla="*/ 0 h 130604"/>
                <a:gd name="connsiteX2" fmla="*/ 81170 w 83103"/>
                <a:gd name="connsiteY2" fmla="*/ 0 h 130604"/>
                <a:gd name="connsiteX3" fmla="*/ 83104 w 83103"/>
                <a:gd name="connsiteY3" fmla="*/ 1916 h 130604"/>
                <a:gd name="connsiteX4" fmla="*/ 83104 w 83103"/>
                <a:gd name="connsiteY4" fmla="*/ 14012 h 130604"/>
                <a:gd name="connsiteX5" fmla="*/ 81170 w 83103"/>
                <a:gd name="connsiteY5" fmla="*/ 15934 h 130604"/>
                <a:gd name="connsiteX6" fmla="*/ 18555 w 83103"/>
                <a:gd name="connsiteY6" fmla="*/ 15934 h 130604"/>
                <a:gd name="connsiteX7" fmla="*/ 17400 w 83103"/>
                <a:gd name="connsiteY7" fmla="*/ 17089 h 130604"/>
                <a:gd name="connsiteX8" fmla="*/ 17400 w 83103"/>
                <a:gd name="connsiteY8" fmla="*/ 55511 h 130604"/>
                <a:gd name="connsiteX9" fmla="*/ 18555 w 83103"/>
                <a:gd name="connsiteY9" fmla="*/ 56653 h 130604"/>
                <a:gd name="connsiteX10" fmla="*/ 71704 w 83103"/>
                <a:gd name="connsiteY10" fmla="*/ 56653 h 130604"/>
                <a:gd name="connsiteX11" fmla="*/ 73645 w 83103"/>
                <a:gd name="connsiteY11" fmla="*/ 58575 h 130604"/>
                <a:gd name="connsiteX12" fmla="*/ 73645 w 83103"/>
                <a:gd name="connsiteY12" fmla="*/ 70685 h 130604"/>
                <a:gd name="connsiteX13" fmla="*/ 71704 w 83103"/>
                <a:gd name="connsiteY13" fmla="*/ 72607 h 130604"/>
                <a:gd name="connsiteX14" fmla="*/ 18555 w 83103"/>
                <a:gd name="connsiteY14" fmla="*/ 72607 h 130604"/>
                <a:gd name="connsiteX15" fmla="*/ 17400 w 83103"/>
                <a:gd name="connsiteY15" fmla="*/ 73755 h 130604"/>
                <a:gd name="connsiteX16" fmla="*/ 17400 w 83103"/>
                <a:gd name="connsiteY16" fmla="*/ 113515 h 130604"/>
                <a:gd name="connsiteX17" fmla="*/ 18555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7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41" y="0"/>
                  </a:cubicBezTo>
                  <a:lnTo>
                    <a:pt x="81170" y="0"/>
                  </a:lnTo>
                  <a:cubicBezTo>
                    <a:pt x="82463" y="0"/>
                    <a:pt x="83104" y="636"/>
                    <a:pt x="83104" y="1916"/>
                  </a:cubicBezTo>
                  <a:lnTo>
                    <a:pt x="83104" y="14012"/>
                  </a:lnTo>
                  <a:cubicBezTo>
                    <a:pt x="83104" y="15292"/>
                    <a:pt x="82463" y="15934"/>
                    <a:pt x="81170" y="15934"/>
                  </a:cubicBezTo>
                  <a:lnTo>
                    <a:pt x="18555" y="15934"/>
                  </a:lnTo>
                  <a:cubicBezTo>
                    <a:pt x="17776" y="15934"/>
                    <a:pt x="17400" y="16321"/>
                    <a:pt x="17400" y="17089"/>
                  </a:cubicBezTo>
                  <a:lnTo>
                    <a:pt x="17400" y="55511"/>
                  </a:lnTo>
                  <a:cubicBezTo>
                    <a:pt x="17400" y="56279"/>
                    <a:pt x="17776" y="56653"/>
                    <a:pt x="18555" y="56653"/>
                  </a:cubicBezTo>
                  <a:lnTo>
                    <a:pt x="71704" y="56653"/>
                  </a:lnTo>
                  <a:cubicBezTo>
                    <a:pt x="72985" y="56653"/>
                    <a:pt x="73645" y="57296"/>
                    <a:pt x="73645" y="58575"/>
                  </a:cubicBezTo>
                  <a:lnTo>
                    <a:pt x="73645" y="70685"/>
                  </a:lnTo>
                  <a:cubicBezTo>
                    <a:pt x="73645" y="71970"/>
                    <a:pt x="72985" y="72607"/>
                    <a:pt x="71704" y="72607"/>
                  </a:cubicBezTo>
                  <a:lnTo>
                    <a:pt x="18555" y="72607"/>
                  </a:lnTo>
                  <a:cubicBezTo>
                    <a:pt x="17776" y="72607"/>
                    <a:pt x="17400" y="72987"/>
                    <a:pt x="17400" y="73755"/>
                  </a:cubicBezTo>
                  <a:lnTo>
                    <a:pt x="17400" y="113515"/>
                  </a:lnTo>
                  <a:cubicBezTo>
                    <a:pt x="17400" y="114283"/>
                    <a:pt x="17776" y="114670"/>
                    <a:pt x="18555" y="114670"/>
                  </a:cubicBezTo>
                  <a:lnTo>
                    <a:pt x="81170" y="114670"/>
                  </a:lnTo>
                  <a:cubicBezTo>
                    <a:pt x="82463" y="114670"/>
                    <a:pt x="83104" y="115306"/>
                    <a:pt x="83104" y="116592"/>
                  </a:cubicBezTo>
                  <a:lnTo>
                    <a:pt x="83104" y="128682"/>
                  </a:lnTo>
                  <a:cubicBezTo>
                    <a:pt x="83104" y="129961"/>
                    <a:pt x="82463" y="130604"/>
                    <a:pt x="81170" y="130604"/>
                  </a:cubicBezTo>
                  <a:lnTo>
                    <a:pt x="1947"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25" name="Freeform: Shape 24">
              <a:extLst>
                <a:ext uri="{FF2B5EF4-FFF2-40B4-BE49-F238E27FC236}">
                  <a16:creationId xmlns:a16="http://schemas.microsoft.com/office/drawing/2014/main" id="{10855552-50F9-4DB8-BE4A-1F66013DD3F1}"/>
                </a:ext>
              </a:extLst>
            </p:cNvPr>
            <p:cNvSpPr/>
            <p:nvPr/>
          </p:nvSpPr>
          <p:spPr>
            <a:xfrm>
              <a:off x="11113543" y="715494"/>
              <a:ext cx="95486" cy="130617"/>
            </a:xfrm>
            <a:custGeom>
              <a:avLst/>
              <a:gdLst>
                <a:gd name="connsiteX0" fmla="*/ 40991 w 95486"/>
                <a:gd name="connsiteY0" fmla="*/ 130617 h 130617"/>
                <a:gd name="connsiteX1" fmla="*/ 39044 w 95486"/>
                <a:gd name="connsiteY1" fmla="*/ 128689 h 130617"/>
                <a:gd name="connsiteX2" fmla="*/ 39044 w 95486"/>
                <a:gd name="connsiteY2" fmla="*/ 17102 h 130617"/>
                <a:gd name="connsiteX3" fmla="*/ 37882 w 95486"/>
                <a:gd name="connsiteY3" fmla="*/ 15941 h 130617"/>
                <a:gd name="connsiteX4" fmla="*/ 1927 w 95486"/>
                <a:gd name="connsiteY4" fmla="*/ 15941 h 130617"/>
                <a:gd name="connsiteX5" fmla="*/ 0 w 95486"/>
                <a:gd name="connsiteY5" fmla="*/ 14025 h 130617"/>
                <a:gd name="connsiteX6" fmla="*/ 0 w 95486"/>
                <a:gd name="connsiteY6" fmla="*/ 1922 h 130617"/>
                <a:gd name="connsiteX7" fmla="*/ 1927 w 95486"/>
                <a:gd name="connsiteY7" fmla="*/ 0 h 130617"/>
                <a:gd name="connsiteX8" fmla="*/ 93540 w 95486"/>
                <a:gd name="connsiteY8" fmla="*/ 0 h 130617"/>
                <a:gd name="connsiteX9" fmla="*/ 95487 w 95486"/>
                <a:gd name="connsiteY9" fmla="*/ 1922 h 130617"/>
                <a:gd name="connsiteX10" fmla="*/ 95487 w 95486"/>
                <a:gd name="connsiteY10" fmla="*/ 14025 h 130617"/>
                <a:gd name="connsiteX11" fmla="*/ 93540 w 95486"/>
                <a:gd name="connsiteY11" fmla="*/ 15941 h 130617"/>
                <a:gd name="connsiteX12" fmla="*/ 57598 w 95486"/>
                <a:gd name="connsiteY12" fmla="*/ 15941 h 130617"/>
                <a:gd name="connsiteX13" fmla="*/ 56450 w 95486"/>
                <a:gd name="connsiteY13" fmla="*/ 17102 h 130617"/>
                <a:gd name="connsiteX14" fmla="*/ 56450 w 95486"/>
                <a:gd name="connsiteY14" fmla="*/ 128689 h 130617"/>
                <a:gd name="connsiteX15" fmla="*/ 54476 w 95486"/>
                <a:gd name="connsiteY15" fmla="*/ 130617 h 130617"/>
                <a:gd name="connsiteX16" fmla="*/ 40991 w 95486"/>
                <a:gd name="connsiteY16" fmla="*/ 130617 h 130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486" h="130617">
                  <a:moveTo>
                    <a:pt x="40991" y="130617"/>
                  </a:moveTo>
                  <a:cubicBezTo>
                    <a:pt x="39697" y="130617"/>
                    <a:pt x="39044" y="129968"/>
                    <a:pt x="39044" y="128689"/>
                  </a:cubicBezTo>
                  <a:lnTo>
                    <a:pt x="39044" y="17102"/>
                  </a:lnTo>
                  <a:cubicBezTo>
                    <a:pt x="39044" y="16335"/>
                    <a:pt x="38667" y="15941"/>
                    <a:pt x="37882" y="15941"/>
                  </a:cubicBezTo>
                  <a:lnTo>
                    <a:pt x="1927" y="15941"/>
                  </a:lnTo>
                  <a:cubicBezTo>
                    <a:pt x="640" y="15941"/>
                    <a:pt x="0" y="15298"/>
                    <a:pt x="0" y="14025"/>
                  </a:cubicBezTo>
                  <a:lnTo>
                    <a:pt x="0" y="1922"/>
                  </a:lnTo>
                  <a:cubicBezTo>
                    <a:pt x="0" y="643"/>
                    <a:pt x="640" y="0"/>
                    <a:pt x="1927" y="0"/>
                  </a:cubicBezTo>
                  <a:lnTo>
                    <a:pt x="93540" y="0"/>
                  </a:lnTo>
                  <a:cubicBezTo>
                    <a:pt x="94833" y="0"/>
                    <a:pt x="95487" y="643"/>
                    <a:pt x="95487" y="1922"/>
                  </a:cubicBezTo>
                  <a:lnTo>
                    <a:pt x="95487" y="14025"/>
                  </a:lnTo>
                  <a:cubicBezTo>
                    <a:pt x="95487" y="15298"/>
                    <a:pt x="94833" y="15941"/>
                    <a:pt x="93540" y="15941"/>
                  </a:cubicBezTo>
                  <a:lnTo>
                    <a:pt x="57598" y="15941"/>
                  </a:lnTo>
                  <a:cubicBezTo>
                    <a:pt x="56826" y="15941"/>
                    <a:pt x="56450" y="16335"/>
                    <a:pt x="56450" y="17102"/>
                  </a:cubicBezTo>
                  <a:lnTo>
                    <a:pt x="56450" y="128689"/>
                  </a:lnTo>
                  <a:cubicBezTo>
                    <a:pt x="56450" y="129968"/>
                    <a:pt x="55790" y="130617"/>
                    <a:pt x="54476" y="130617"/>
                  </a:cubicBezTo>
                  <a:lnTo>
                    <a:pt x="40991" y="130617"/>
                  </a:lnTo>
                  <a:close/>
                </a:path>
              </a:pathLst>
            </a:custGeom>
            <a:solidFill>
              <a:schemeClr val="bg2"/>
            </a:solidFill>
            <a:ln w="7" cap="flat">
              <a:noFill/>
              <a:prstDash val="solid"/>
              <a:miter/>
            </a:ln>
          </p:spPr>
          <p:txBody>
            <a:bodyPr rtlCol="0" anchor="ctr"/>
            <a:lstStyle/>
            <a:p>
              <a:endParaRPr lang="de-DE"/>
            </a:p>
          </p:txBody>
        </p:sp>
        <p:sp>
          <p:nvSpPr>
            <p:cNvPr id="26" name="Freeform: Shape 25">
              <a:extLst>
                <a:ext uri="{FF2B5EF4-FFF2-40B4-BE49-F238E27FC236}">
                  <a16:creationId xmlns:a16="http://schemas.microsoft.com/office/drawing/2014/main" id="{FED262B4-96A6-4155-8650-87D3DDFFF84E}"/>
                </a:ext>
              </a:extLst>
            </p:cNvPr>
            <p:cNvSpPr/>
            <p:nvPr/>
          </p:nvSpPr>
          <p:spPr>
            <a:xfrm>
              <a:off x="11231242" y="715501"/>
              <a:ext cx="93929" cy="130604"/>
            </a:xfrm>
            <a:custGeom>
              <a:avLst/>
              <a:gdLst>
                <a:gd name="connsiteX0" fmla="*/ 0 w 93929"/>
                <a:gd name="connsiteY0" fmla="*/ 1916 h 130604"/>
                <a:gd name="connsiteX1" fmla="*/ 1947 w 93929"/>
                <a:gd name="connsiteY1" fmla="*/ 0 h 130604"/>
                <a:gd name="connsiteX2" fmla="*/ 15439 w 93929"/>
                <a:gd name="connsiteY2" fmla="*/ 0 h 130604"/>
                <a:gd name="connsiteX3" fmla="*/ 17406 w 93929"/>
                <a:gd name="connsiteY3" fmla="*/ 1916 h 130604"/>
                <a:gd name="connsiteX4" fmla="*/ 17406 w 93929"/>
                <a:gd name="connsiteY4" fmla="*/ 55511 h 130604"/>
                <a:gd name="connsiteX5" fmla="*/ 18548 w 93929"/>
                <a:gd name="connsiteY5" fmla="*/ 56653 h 130604"/>
                <a:gd name="connsiteX6" fmla="*/ 75381 w 93929"/>
                <a:gd name="connsiteY6" fmla="*/ 56653 h 130604"/>
                <a:gd name="connsiteX7" fmla="*/ 76536 w 93929"/>
                <a:gd name="connsiteY7" fmla="*/ 55511 h 130604"/>
                <a:gd name="connsiteX8" fmla="*/ 76536 w 93929"/>
                <a:gd name="connsiteY8" fmla="*/ 1916 h 130604"/>
                <a:gd name="connsiteX9" fmla="*/ 78496 w 93929"/>
                <a:gd name="connsiteY9" fmla="*/ 0 h 130604"/>
                <a:gd name="connsiteX10" fmla="*/ 91982 w 93929"/>
                <a:gd name="connsiteY10" fmla="*/ 0 h 130604"/>
                <a:gd name="connsiteX11" fmla="*/ 93929 w 93929"/>
                <a:gd name="connsiteY11" fmla="*/ 1916 h 130604"/>
                <a:gd name="connsiteX12" fmla="*/ 93929 w 93929"/>
                <a:gd name="connsiteY12" fmla="*/ 128682 h 130604"/>
                <a:gd name="connsiteX13" fmla="*/ 91982 w 93929"/>
                <a:gd name="connsiteY13" fmla="*/ 130604 h 130604"/>
                <a:gd name="connsiteX14" fmla="*/ 78496 w 93929"/>
                <a:gd name="connsiteY14" fmla="*/ 130604 h 130604"/>
                <a:gd name="connsiteX15" fmla="*/ 76536 w 93929"/>
                <a:gd name="connsiteY15" fmla="*/ 128682 h 130604"/>
                <a:gd name="connsiteX16" fmla="*/ 76536 w 93929"/>
                <a:gd name="connsiteY16" fmla="*/ 73755 h 130604"/>
                <a:gd name="connsiteX17" fmla="*/ 75381 w 93929"/>
                <a:gd name="connsiteY17" fmla="*/ 72607 h 130604"/>
                <a:gd name="connsiteX18" fmla="*/ 18548 w 93929"/>
                <a:gd name="connsiteY18" fmla="*/ 72607 h 130604"/>
                <a:gd name="connsiteX19" fmla="*/ 17406 w 93929"/>
                <a:gd name="connsiteY19" fmla="*/ 73755 h 130604"/>
                <a:gd name="connsiteX20" fmla="*/ 17406 w 93929"/>
                <a:gd name="connsiteY20" fmla="*/ 128682 h 130604"/>
                <a:gd name="connsiteX21" fmla="*/ 15439 w 93929"/>
                <a:gd name="connsiteY21" fmla="*/ 130604 h 130604"/>
                <a:gd name="connsiteX22" fmla="*/ 1947 w 93929"/>
                <a:gd name="connsiteY22" fmla="*/ 130604 h 130604"/>
                <a:gd name="connsiteX23" fmla="*/ 0 w 93929"/>
                <a:gd name="connsiteY23" fmla="*/ 128682 h 130604"/>
                <a:gd name="connsiteX24" fmla="*/ 0 w 93929"/>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3929" h="130604">
                  <a:moveTo>
                    <a:pt x="0" y="1916"/>
                  </a:moveTo>
                  <a:cubicBezTo>
                    <a:pt x="0" y="636"/>
                    <a:pt x="653" y="0"/>
                    <a:pt x="1947" y="0"/>
                  </a:cubicBezTo>
                  <a:lnTo>
                    <a:pt x="15439" y="0"/>
                  </a:lnTo>
                  <a:cubicBezTo>
                    <a:pt x="16746" y="0"/>
                    <a:pt x="17406" y="636"/>
                    <a:pt x="17406" y="1916"/>
                  </a:cubicBezTo>
                  <a:lnTo>
                    <a:pt x="17406" y="55511"/>
                  </a:lnTo>
                  <a:cubicBezTo>
                    <a:pt x="17406" y="56279"/>
                    <a:pt x="17776" y="56653"/>
                    <a:pt x="18548" y="56653"/>
                  </a:cubicBezTo>
                  <a:lnTo>
                    <a:pt x="75381" y="56653"/>
                  </a:lnTo>
                  <a:cubicBezTo>
                    <a:pt x="76160" y="56653"/>
                    <a:pt x="76536" y="56279"/>
                    <a:pt x="76536" y="55511"/>
                  </a:cubicBezTo>
                  <a:lnTo>
                    <a:pt x="76536" y="1916"/>
                  </a:lnTo>
                  <a:cubicBezTo>
                    <a:pt x="76536" y="636"/>
                    <a:pt x="77189" y="0"/>
                    <a:pt x="78496" y="0"/>
                  </a:cubicBezTo>
                  <a:lnTo>
                    <a:pt x="91982" y="0"/>
                  </a:lnTo>
                  <a:cubicBezTo>
                    <a:pt x="93276" y="0"/>
                    <a:pt x="93929" y="636"/>
                    <a:pt x="93929" y="1916"/>
                  </a:cubicBezTo>
                  <a:lnTo>
                    <a:pt x="93929" y="128682"/>
                  </a:lnTo>
                  <a:cubicBezTo>
                    <a:pt x="93929" y="129961"/>
                    <a:pt x="93276" y="130604"/>
                    <a:pt x="91982" y="130604"/>
                  </a:cubicBezTo>
                  <a:lnTo>
                    <a:pt x="78496" y="130604"/>
                  </a:lnTo>
                  <a:cubicBezTo>
                    <a:pt x="77189" y="130604"/>
                    <a:pt x="76536" y="129961"/>
                    <a:pt x="76536" y="128682"/>
                  </a:cubicBezTo>
                  <a:lnTo>
                    <a:pt x="76536" y="73755"/>
                  </a:lnTo>
                  <a:cubicBezTo>
                    <a:pt x="76536" y="72987"/>
                    <a:pt x="76160" y="72607"/>
                    <a:pt x="75381" y="72607"/>
                  </a:cubicBezTo>
                  <a:lnTo>
                    <a:pt x="18548" y="72607"/>
                  </a:lnTo>
                  <a:cubicBezTo>
                    <a:pt x="17776" y="72607"/>
                    <a:pt x="17406" y="72987"/>
                    <a:pt x="17406" y="73755"/>
                  </a:cubicBezTo>
                  <a:lnTo>
                    <a:pt x="17406" y="128682"/>
                  </a:lnTo>
                  <a:cubicBezTo>
                    <a:pt x="17406" y="129961"/>
                    <a:pt x="16746" y="130604"/>
                    <a:pt x="15439" y="130604"/>
                  </a:cubicBezTo>
                  <a:lnTo>
                    <a:pt x="1947"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27" name="Freeform: Shape 26">
              <a:extLst>
                <a:ext uri="{FF2B5EF4-FFF2-40B4-BE49-F238E27FC236}">
                  <a16:creationId xmlns:a16="http://schemas.microsoft.com/office/drawing/2014/main" id="{9E59EBD5-3A94-43EC-ABB0-2C7F98626657}"/>
                </a:ext>
              </a:extLst>
            </p:cNvPr>
            <p:cNvSpPr/>
            <p:nvPr/>
          </p:nvSpPr>
          <p:spPr>
            <a:xfrm>
              <a:off x="10728362" y="921730"/>
              <a:ext cx="92582" cy="130604"/>
            </a:xfrm>
            <a:custGeom>
              <a:avLst/>
              <a:gdLst>
                <a:gd name="connsiteX0" fmla="*/ 0 w 92582"/>
                <a:gd name="connsiteY0" fmla="*/ 1916 h 130604"/>
                <a:gd name="connsiteX1" fmla="*/ 1941 w 92582"/>
                <a:gd name="connsiteY1" fmla="*/ 0 h 130604"/>
                <a:gd name="connsiteX2" fmla="*/ 46186 w 92582"/>
                <a:gd name="connsiteY2" fmla="*/ 0 h 130604"/>
                <a:gd name="connsiteX3" fmla="*/ 89104 w 92582"/>
                <a:gd name="connsiteY3" fmla="*/ 27841 h 130604"/>
                <a:gd name="connsiteX4" fmla="*/ 90549 w 92582"/>
                <a:gd name="connsiteY4" fmla="*/ 33410 h 130604"/>
                <a:gd name="connsiteX5" fmla="*/ 91705 w 92582"/>
                <a:gd name="connsiteY5" fmla="*/ 40515 h 130604"/>
                <a:gd name="connsiteX6" fmla="*/ 92378 w 92582"/>
                <a:gd name="connsiteY6" fmla="*/ 50703 h 130604"/>
                <a:gd name="connsiteX7" fmla="*/ 92582 w 92582"/>
                <a:gd name="connsiteY7" fmla="*/ 65305 h 130604"/>
                <a:gd name="connsiteX8" fmla="*/ 92378 w 92582"/>
                <a:gd name="connsiteY8" fmla="*/ 79908 h 130604"/>
                <a:gd name="connsiteX9" fmla="*/ 91705 w 92582"/>
                <a:gd name="connsiteY9" fmla="*/ 90083 h 130604"/>
                <a:gd name="connsiteX10" fmla="*/ 90549 w 92582"/>
                <a:gd name="connsiteY10" fmla="*/ 97194 h 130604"/>
                <a:gd name="connsiteX11" fmla="*/ 89104 w 92582"/>
                <a:gd name="connsiteY11" fmla="*/ 102763 h 130604"/>
                <a:gd name="connsiteX12" fmla="*/ 46186 w 92582"/>
                <a:gd name="connsiteY12" fmla="*/ 130604 h 130604"/>
                <a:gd name="connsiteX13" fmla="*/ 1941 w 92582"/>
                <a:gd name="connsiteY13" fmla="*/ 130604 h 130604"/>
                <a:gd name="connsiteX14" fmla="*/ 0 w 92582"/>
                <a:gd name="connsiteY14" fmla="*/ 128682 h 130604"/>
                <a:gd name="connsiteX15" fmla="*/ 0 w 92582"/>
                <a:gd name="connsiteY15" fmla="*/ 1916 h 130604"/>
                <a:gd name="connsiteX16" fmla="*/ 17380 w 92582"/>
                <a:gd name="connsiteY16" fmla="*/ 113509 h 130604"/>
                <a:gd name="connsiteX17" fmla="*/ 18548 w 92582"/>
                <a:gd name="connsiteY17" fmla="*/ 114670 h 130604"/>
                <a:gd name="connsiteX18" fmla="*/ 42634 w 92582"/>
                <a:gd name="connsiteY18" fmla="*/ 114670 h 130604"/>
                <a:gd name="connsiteX19" fmla="*/ 61895 w 92582"/>
                <a:gd name="connsiteY19" fmla="*/ 110530 h 130604"/>
                <a:gd name="connsiteX20" fmla="*/ 72490 w 92582"/>
                <a:gd name="connsiteY20" fmla="*/ 96813 h 130604"/>
                <a:gd name="connsiteX21" fmla="*/ 73638 w 92582"/>
                <a:gd name="connsiteY21" fmla="*/ 92772 h 130604"/>
                <a:gd name="connsiteX22" fmla="*/ 74510 w 92582"/>
                <a:gd name="connsiteY22" fmla="*/ 86914 h 130604"/>
                <a:gd name="connsiteX23" fmla="*/ 74991 w 92582"/>
                <a:gd name="connsiteY23" fmla="*/ 78183 h 130604"/>
                <a:gd name="connsiteX24" fmla="*/ 75183 w 92582"/>
                <a:gd name="connsiteY24" fmla="*/ 65305 h 130604"/>
                <a:gd name="connsiteX25" fmla="*/ 74991 w 92582"/>
                <a:gd name="connsiteY25" fmla="*/ 52428 h 130604"/>
                <a:gd name="connsiteX26" fmla="*/ 74510 w 92582"/>
                <a:gd name="connsiteY26" fmla="*/ 43690 h 130604"/>
                <a:gd name="connsiteX27" fmla="*/ 73638 w 92582"/>
                <a:gd name="connsiteY27" fmla="*/ 37832 h 130604"/>
                <a:gd name="connsiteX28" fmla="*/ 72490 w 92582"/>
                <a:gd name="connsiteY28" fmla="*/ 33791 h 130604"/>
                <a:gd name="connsiteX29" fmla="*/ 61895 w 92582"/>
                <a:gd name="connsiteY29" fmla="*/ 20067 h 130604"/>
                <a:gd name="connsiteX30" fmla="*/ 42634 w 92582"/>
                <a:gd name="connsiteY30" fmla="*/ 15934 h 130604"/>
                <a:gd name="connsiteX31" fmla="*/ 18548 w 92582"/>
                <a:gd name="connsiteY31" fmla="*/ 15934 h 130604"/>
                <a:gd name="connsiteX32" fmla="*/ 17380 w 92582"/>
                <a:gd name="connsiteY32" fmla="*/ 17089 h 130604"/>
                <a:gd name="connsiteX33" fmla="*/ 17380 w 92582"/>
                <a:gd name="connsiteY33" fmla="*/ 1135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2582" h="130604">
                  <a:moveTo>
                    <a:pt x="0" y="1916"/>
                  </a:moveTo>
                  <a:cubicBezTo>
                    <a:pt x="0" y="636"/>
                    <a:pt x="647" y="0"/>
                    <a:pt x="1941" y="0"/>
                  </a:cubicBezTo>
                  <a:lnTo>
                    <a:pt x="46186" y="0"/>
                  </a:lnTo>
                  <a:cubicBezTo>
                    <a:pt x="68734" y="0"/>
                    <a:pt x="83044" y="9269"/>
                    <a:pt x="89104" y="27841"/>
                  </a:cubicBezTo>
                  <a:cubicBezTo>
                    <a:pt x="89606" y="29645"/>
                    <a:pt x="90094" y="31488"/>
                    <a:pt x="90549" y="33410"/>
                  </a:cubicBezTo>
                  <a:cubicBezTo>
                    <a:pt x="91005" y="35332"/>
                    <a:pt x="91388" y="37707"/>
                    <a:pt x="91705" y="40515"/>
                  </a:cubicBezTo>
                  <a:cubicBezTo>
                    <a:pt x="92028" y="43342"/>
                    <a:pt x="92252" y="46734"/>
                    <a:pt x="92378" y="50703"/>
                  </a:cubicBezTo>
                  <a:cubicBezTo>
                    <a:pt x="92516" y="54665"/>
                    <a:pt x="92582" y="59539"/>
                    <a:pt x="92582" y="65305"/>
                  </a:cubicBezTo>
                  <a:cubicBezTo>
                    <a:pt x="92582" y="71072"/>
                    <a:pt x="92516" y="75939"/>
                    <a:pt x="92378" y="79908"/>
                  </a:cubicBezTo>
                  <a:cubicBezTo>
                    <a:pt x="92252" y="83870"/>
                    <a:pt x="92028" y="87269"/>
                    <a:pt x="91705" y="90083"/>
                  </a:cubicBezTo>
                  <a:cubicBezTo>
                    <a:pt x="91388" y="92897"/>
                    <a:pt x="91005" y="95265"/>
                    <a:pt x="90549" y="97194"/>
                  </a:cubicBezTo>
                  <a:cubicBezTo>
                    <a:pt x="90094" y="99116"/>
                    <a:pt x="89606" y="100959"/>
                    <a:pt x="89104" y="102763"/>
                  </a:cubicBezTo>
                  <a:cubicBezTo>
                    <a:pt x="83044" y="121335"/>
                    <a:pt x="68734" y="130604"/>
                    <a:pt x="46186" y="130604"/>
                  </a:cubicBezTo>
                  <a:lnTo>
                    <a:pt x="1941" y="130604"/>
                  </a:lnTo>
                  <a:cubicBezTo>
                    <a:pt x="647" y="130604"/>
                    <a:pt x="0" y="129961"/>
                    <a:pt x="0" y="128682"/>
                  </a:cubicBezTo>
                  <a:lnTo>
                    <a:pt x="0" y="1916"/>
                  </a:lnTo>
                  <a:close/>
                  <a:moveTo>
                    <a:pt x="17380" y="113509"/>
                  </a:moveTo>
                  <a:cubicBezTo>
                    <a:pt x="17380" y="114276"/>
                    <a:pt x="17776" y="114670"/>
                    <a:pt x="18548" y="114670"/>
                  </a:cubicBezTo>
                  <a:lnTo>
                    <a:pt x="42634" y="114670"/>
                  </a:lnTo>
                  <a:cubicBezTo>
                    <a:pt x="50595" y="114670"/>
                    <a:pt x="57024" y="113292"/>
                    <a:pt x="61895" y="110530"/>
                  </a:cubicBezTo>
                  <a:cubicBezTo>
                    <a:pt x="66773" y="107775"/>
                    <a:pt x="70298" y="103203"/>
                    <a:pt x="72490" y="96813"/>
                  </a:cubicBezTo>
                  <a:cubicBezTo>
                    <a:pt x="72879" y="95652"/>
                    <a:pt x="73255" y="94307"/>
                    <a:pt x="73638" y="92772"/>
                  </a:cubicBezTo>
                  <a:cubicBezTo>
                    <a:pt x="74028" y="91237"/>
                    <a:pt x="74312" y="89282"/>
                    <a:pt x="74510" y="86914"/>
                  </a:cubicBezTo>
                  <a:cubicBezTo>
                    <a:pt x="74701" y="84546"/>
                    <a:pt x="74866" y="81633"/>
                    <a:pt x="74991" y="78183"/>
                  </a:cubicBezTo>
                  <a:cubicBezTo>
                    <a:pt x="75117" y="74719"/>
                    <a:pt x="75183" y="70429"/>
                    <a:pt x="75183" y="65305"/>
                  </a:cubicBezTo>
                  <a:cubicBezTo>
                    <a:pt x="75183" y="60175"/>
                    <a:pt x="75117" y="55892"/>
                    <a:pt x="74991" y="52428"/>
                  </a:cubicBezTo>
                  <a:cubicBezTo>
                    <a:pt x="74866" y="48977"/>
                    <a:pt x="74701" y="46065"/>
                    <a:pt x="74510" y="43690"/>
                  </a:cubicBezTo>
                  <a:cubicBezTo>
                    <a:pt x="74312" y="41315"/>
                    <a:pt x="74028" y="39367"/>
                    <a:pt x="73638" y="37832"/>
                  </a:cubicBezTo>
                  <a:cubicBezTo>
                    <a:pt x="73255" y="36297"/>
                    <a:pt x="72879" y="34952"/>
                    <a:pt x="72490" y="33791"/>
                  </a:cubicBezTo>
                  <a:cubicBezTo>
                    <a:pt x="70298" y="27401"/>
                    <a:pt x="66773" y="22822"/>
                    <a:pt x="61895" y="20067"/>
                  </a:cubicBezTo>
                  <a:cubicBezTo>
                    <a:pt x="57024" y="17312"/>
                    <a:pt x="50595" y="15934"/>
                    <a:pt x="42634" y="15934"/>
                  </a:cubicBezTo>
                  <a:lnTo>
                    <a:pt x="18548" y="15934"/>
                  </a:lnTo>
                  <a:cubicBezTo>
                    <a:pt x="17776" y="15934"/>
                    <a:pt x="17380" y="16321"/>
                    <a:pt x="17380" y="17089"/>
                  </a:cubicBezTo>
                  <a:lnTo>
                    <a:pt x="17380" y="113509"/>
                  </a:lnTo>
                  <a:close/>
                </a:path>
              </a:pathLst>
            </a:custGeom>
            <a:solidFill>
              <a:schemeClr val="bg2"/>
            </a:solidFill>
            <a:ln w="7" cap="flat">
              <a:noFill/>
              <a:prstDash val="solid"/>
              <a:miter/>
            </a:ln>
          </p:spPr>
          <p:txBody>
            <a:bodyPr rtlCol="0" anchor="ctr"/>
            <a:lstStyle/>
            <a:p>
              <a:endParaRPr lang="de-DE"/>
            </a:p>
          </p:txBody>
        </p:sp>
        <p:sp>
          <p:nvSpPr>
            <p:cNvPr id="28" name="Freeform: Shape 27">
              <a:extLst>
                <a:ext uri="{FF2B5EF4-FFF2-40B4-BE49-F238E27FC236}">
                  <a16:creationId xmlns:a16="http://schemas.microsoft.com/office/drawing/2014/main" id="{15C82314-90B7-49C3-864E-1BE8AB0F49B9}"/>
                </a:ext>
              </a:extLst>
            </p:cNvPr>
            <p:cNvSpPr/>
            <p:nvPr/>
          </p:nvSpPr>
          <p:spPr>
            <a:xfrm>
              <a:off x="10835891" y="921730"/>
              <a:ext cx="108302" cy="130604"/>
            </a:xfrm>
            <a:custGeom>
              <a:avLst/>
              <a:gdLst>
                <a:gd name="connsiteX0" fmla="*/ 45740 w 108302"/>
                <a:gd name="connsiteY0" fmla="*/ 1916 h 130604"/>
                <a:gd name="connsiteX1" fmla="*/ 48057 w 108302"/>
                <a:gd name="connsiteY1" fmla="*/ 0 h 130604"/>
                <a:gd name="connsiteX2" fmla="*/ 60632 w 108302"/>
                <a:gd name="connsiteY2" fmla="*/ 0 h 130604"/>
                <a:gd name="connsiteX3" fmla="*/ 63140 w 108302"/>
                <a:gd name="connsiteY3" fmla="*/ 1916 h 130604"/>
                <a:gd name="connsiteX4" fmla="*/ 108171 w 108302"/>
                <a:gd name="connsiteY4" fmla="*/ 128682 h 130604"/>
                <a:gd name="connsiteX5" fmla="*/ 106817 w 108302"/>
                <a:gd name="connsiteY5" fmla="*/ 130604 h 130604"/>
                <a:gd name="connsiteX6" fmla="*/ 93292 w 108302"/>
                <a:gd name="connsiteY6" fmla="*/ 130604 h 130604"/>
                <a:gd name="connsiteX7" fmla="*/ 90784 w 108302"/>
                <a:gd name="connsiteY7" fmla="*/ 128682 h 130604"/>
                <a:gd name="connsiteX8" fmla="*/ 80731 w 108302"/>
                <a:gd name="connsiteY8" fmla="*/ 100257 h 130604"/>
                <a:gd name="connsiteX9" fmla="*/ 27575 w 108302"/>
                <a:gd name="connsiteY9" fmla="*/ 100257 h 130604"/>
                <a:gd name="connsiteX10" fmla="*/ 17522 w 108302"/>
                <a:gd name="connsiteY10" fmla="*/ 128682 h 130604"/>
                <a:gd name="connsiteX11" fmla="*/ 15014 w 108302"/>
                <a:gd name="connsiteY11" fmla="*/ 130604 h 130604"/>
                <a:gd name="connsiteX12" fmla="*/ 1482 w 108302"/>
                <a:gd name="connsiteY12" fmla="*/ 130604 h 130604"/>
                <a:gd name="connsiteX13" fmla="*/ 136 w 108302"/>
                <a:gd name="connsiteY13" fmla="*/ 128682 h 130604"/>
                <a:gd name="connsiteX14" fmla="*/ 45740 w 108302"/>
                <a:gd name="connsiteY14" fmla="*/ 1916 h 130604"/>
                <a:gd name="connsiteX15" fmla="*/ 75127 w 108302"/>
                <a:gd name="connsiteY15" fmla="*/ 84513 h 130604"/>
                <a:gd name="connsiteX16" fmla="*/ 54440 w 108302"/>
                <a:gd name="connsiteY16" fmla="*/ 25164 h 130604"/>
                <a:gd name="connsiteX17" fmla="*/ 54051 w 108302"/>
                <a:gd name="connsiteY17" fmla="*/ 25164 h 130604"/>
                <a:gd name="connsiteX18" fmla="*/ 33179 w 108302"/>
                <a:gd name="connsiteY18" fmla="*/ 84513 h 130604"/>
                <a:gd name="connsiteX19" fmla="*/ 75127 w 108302"/>
                <a:gd name="connsiteY19" fmla="*/ 84513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302" h="130604">
                  <a:moveTo>
                    <a:pt x="45740" y="1916"/>
                  </a:moveTo>
                  <a:cubicBezTo>
                    <a:pt x="46117" y="636"/>
                    <a:pt x="46896" y="0"/>
                    <a:pt x="48057" y="0"/>
                  </a:cubicBezTo>
                  <a:lnTo>
                    <a:pt x="60632" y="0"/>
                  </a:lnTo>
                  <a:cubicBezTo>
                    <a:pt x="61906" y="0"/>
                    <a:pt x="62757" y="636"/>
                    <a:pt x="63140" y="1916"/>
                  </a:cubicBezTo>
                  <a:lnTo>
                    <a:pt x="108171" y="128682"/>
                  </a:lnTo>
                  <a:cubicBezTo>
                    <a:pt x="108553" y="129961"/>
                    <a:pt x="108105" y="130604"/>
                    <a:pt x="106817" y="130604"/>
                  </a:cubicBezTo>
                  <a:lnTo>
                    <a:pt x="93292" y="130604"/>
                  </a:lnTo>
                  <a:cubicBezTo>
                    <a:pt x="91999" y="130604"/>
                    <a:pt x="91160" y="129961"/>
                    <a:pt x="90784" y="128682"/>
                  </a:cubicBezTo>
                  <a:lnTo>
                    <a:pt x="80731" y="100257"/>
                  </a:lnTo>
                  <a:lnTo>
                    <a:pt x="27575" y="100257"/>
                  </a:lnTo>
                  <a:lnTo>
                    <a:pt x="17522" y="128682"/>
                  </a:lnTo>
                  <a:cubicBezTo>
                    <a:pt x="17007" y="129961"/>
                    <a:pt x="16169" y="130604"/>
                    <a:pt x="15014" y="130604"/>
                  </a:cubicBezTo>
                  <a:lnTo>
                    <a:pt x="1482" y="130604"/>
                  </a:lnTo>
                  <a:cubicBezTo>
                    <a:pt x="195" y="130604"/>
                    <a:pt x="-254" y="129961"/>
                    <a:pt x="136" y="128682"/>
                  </a:cubicBezTo>
                  <a:lnTo>
                    <a:pt x="45740" y="1916"/>
                  </a:lnTo>
                  <a:close/>
                  <a:moveTo>
                    <a:pt x="75127" y="84513"/>
                  </a:moveTo>
                  <a:lnTo>
                    <a:pt x="54440" y="25164"/>
                  </a:lnTo>
                  <a:lnTo>
                    <a:pt x="54051" y="25164"/>
                  </a:lnTo>
                  <a:lnTo>
                    <a:pt x="33179" y="84513"/>
                  </a:lnTo>
                  <a:lnTo>
                    <a:pt x="75127" y="84513"/>
                  </a:lnTo>
                  <a:close/>
                </a:path>
              </a:pathLst>
            </a:custGeom>
            <a:solidFill>
              <a:schemeClr val="bg2"/>
            </a:solidFill>
            <a:ln w="7" cap="flat">
              <a:noFill/>
              <a:prstDash val="solid"/>
              <a:miter/>
            </a:ln>
          </p:spPr>
          <p:txBody>
            <a:bodyPr rtlCol="0" anchor="ctr"/>
            <a:lstStyle/>
            <a:p>
              <a:endParaRPr lang="de-DE"/>
            </a:p>
          </p:txBody>
        </p:sp>
        <p:sp>
          <p:nvSpPr>
            <p:cNvPr id="29" name="Freeform: Shape 28">
              <a:extLst>
                <a:ext uri="{FF2B5EF4-FFF2-40B4-BE49-F238E27FC236}">
                  <a16:creationId xmlns:a16="http://schemas.microsoft.com/office/drawing/2014/main" id="{468F1549-47FC-46F1-83A3-62DE19E56B1B}"/>
                </a:ext>
              </a:extLst>
            </p:cNvPr>
            <p:cNvSpPr/>
            <p:nvPr/>
          </p:nvSpPr>
          <p:spPr>
            <a:xfrm>
              <a:off x="10966861" y="921730"/>
              <a:ext cx="90655" cy="130604"/>
            </a:xfrm>
            <a:custGeom>
              <a:avLst/>
              <a:gdLst>
                <a:gd name="connsiteX0" fmla="*/ 0 w 90655"/>
                <a:gd name="connsiteY0" fmla="*/ 1916 h 130604"/>
                <a:gd name="connsiteX1" fmla="*/ 1941 w 90655"/>
                <a:gd name="connsiteY1" fmla="*/ 0 h 130604"/>
                <a:gd name="connsiteX2" fmla="*/ 48522 w 90655"/>
                <a:gd name="connsiteY2" fmla="*/ 0 h 130604"/>
                <a:gd name="connsiteX3" fmla="*/ 78272 w 90655"/>
                <a:gd name="connsiteY3" fmla="*/ 9309 h 130604"/>
                <a:gd name="connsiteX4" fmla="*/ 88127 w 90655"/>
                <a:gd name="connsiteY4" fmla="*/ 34375 h 130604"/>
                <a:gd name="connsiteX5" fmla="*/ 83203 w 90655"/>
                <a:gd name="connsiteY5" fmla="*/ 52815 h 130604"/>
                <a:gd name="connsiteX6" fmla="*/ 70556 w 90655"/>
                <a:gd name="connsiteY6" fmla="*/ 62806 h 130604"/>
                <a:gd name="connsiteX7" fmla="*/ 70556 w 90655"/>
                <a:gd name="connsiteY7" fmla="*/ 63193 h 130604"/>
                <a:gd name="connsiteX8" fmla="*/ 77401 w 90655"/>
                <a:gd name="connsiteY8" fmla="*/ 66552 h 130604"/>
                <a:gd name="connsiteX9" fmla="*/ 83883 w 90655"/>
                <a:gd name="connsiteY9" fmla="*/ 72699 h 130604"/>
                <a:gd name="connsiteX10" fmla="*/ 88708 w 90655"/>
                <a:gd name="connsiteY10" fmla="*/ 81633 h 130604"/>
                <a:gd name="connsiteX11" fmla="*/ 90655 w 90655"/>
                <a:gd name="connsiteY11" fmla="*/ 93356 h 130604"/>
                <a:gd name="connsiteX12" fmla="*/ 79506 w 90655"/>
                <a:gd name="connsiteY12" fmla="*/ 121204 h 130604"/>
                <a:gd name="connsiteX13" fmla="*/ 47644 w 90655"/>
                <a:gd name="connsiteY13" fmla="*/ 130604 h 130604"/>
                <a:gd name="connsiteX14" fmla="*/ 1941 w 90655"/>
                <a:gd name="connsiteY14" fmla="*/ 130604 h 130604"/>
                <a:gd name="connsiteX15" fmla="*/ 0 w 90655"/>
                <a:gd name="connsiteY15" fmla="*/ 128682 h 130604"/>
                <a:gd name="connsiteX16" fmla="*/ 0 w 90655"/>
                <a:gd name="connsiteY16" fmla="*/ 1916 h 130604"/>
                <a:gd name="connsiteX17" fmla="*/ 48205 w 90655"/>
                <a:gd name="connsiteY17" fmla="*/ 56462 h 130604"/>
                <a:gd name="connsiteX18" fmla="*/ 65176 w 90655"/>
                <a:gd name="connsiteY18" fmla="*/ 50906 h 130604"/>
                <a:gd name="connsiteX19" fmla="*/ 71137 w 90655"/>
                <a:gd name="connsiteY19" fmla="*/ 36113 h 130604"/>
                <a:gd name="connsiteX20" fmla="*/ 65176 w 90655"/>
                <a:gd name="connsiteY20" fmla="*/ 21123 h 130604"/>
                <a:gd name="connsiteX21" fmla="*/ 48205 w 90655"/>
                <a:gd name="connsiteY21" fmla="*/ 15554 h 130604"/>
                <a:gd name="connsiteX22" fmla="*/ 18555 w 90655"/>
                <a:gd name="connsiteY22" fmla="*/ 15554 h 130604"/>
                <a:gd name="connsiteX23" fmla="*/ 17393 w 90655"/>
                <a:gd name="connsiteY23" fmla="*/ 16702 h 130604"/>
                <a:gd name="connsiteX24" fmla="*/ 17393 w 90655"/>
                <a:gd name="connsiteY24" fmla="*/ 55308 h 130604"/>
                <a:gd name="connsiteX25" fmla="*/ 18555 w 90655"/>
                <a:gd name="connsiteY25" fmla="*/ 56462 h 130604"/>
                <a:gd name="connsiteX26" fmla="*/ 48205 w 90655"/>
                <a:gd name="connsiteY26" fmla="*/ 56462 h 130604"/>
                <a:gd name="connsiteX27" fmla="*/ 17393 w 90655"/>
                <a:gd name="connsiteY27" fmla="*/ 113896 h 130604"/>
                <a:gd name="connsiteX28" fmla="*/ 18555 w 90655"/>
                <a:gd name="connsiteY28" fmla="*/ 115044 h 130604"/>
                <a:gd name="connsiteX29" fmla="*/ 49196 w 90655"/>
                <a:gd name="connsiteY29" fmla="*/ 115044 h 130604"/>
                <a:gd name="connsiteX30" fmla="*/ 67097 w 90655"/>
                <a:gd name="connsiteY30" fmla="*/ 109199 h 130604"/>
                <a:gd name="connsiteX31" fmla="*/ 73262 w 90655"/>
                <a:gd name="connsiteY31" fmla="*/ 93540 h 130604"/>
                <a:gd name="connsiteX32" fmla="*/ 67097 w 90655"/>
                <a:gd name="connsiteY32" fmla="*/ 77881 h 130604"/>
                <a:gd name="connsiteX33" fmla="*/ 49196 w 90655"/>
                <a:gd name="connsiteY33" fmla="*/ 72029 h 130604"/>
                <a:gd name="connsiteX34" fmla="*/ 18555 w 90655"/>
                <a:gd name="connsiteY34" fmla="*/ 72029 h 130604"/>
                <a:gd name="connsiteX35" fmla="*/ 17393 w 90655"/>
                <a:gd name="connsiteY35" fmla="*/ 73191 h 130604"/>
                <a:gd name="connsiteX36" fmla="*/ 17393 w 90655"/>
                <a:gd name="connsiteY36" fmla="*/ 11389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0655" h="130604">
                  <a:moveTo>
                    <a:pt x="0" y="1916"/>
                  </a:moveTo>
                  <a:cubicBezTo>
                    <a:pt x="0" y="636"/>
                    <a:pt x="647" y="0"/>
                    <a:pt x="1941" y="0"/>
                  </a:cubicBezTo>
                  <a:lnTo>
                    <a:pt x="48522" y="0"/>
                  </a:lnTo>
                  <a:cubicBezTo>
                    <a:pt x="61790" y="0"/>
                    <a:pt x="71704" y="3109"/>
                    <a:pt x="78272" y="9309"/>
                  </a:cubicBezTo>
                  <a:cubicBezTo>
                    <a:pt x="84853" y="15521"/>
                    <a:pt x="88127" y="23879"/>
                    <a:pt x="88127" y="34375"/>
                  </a:cubicBezTo>
                  <a:cubicBezTo>
                    <a:pt x="88127" y="42057"/>
                    <a:pt x="86483" y="48210"/>
                    <a:pt x="83203" y="52815"/>
                  </a:cubicBezTo>
                  <a:cubicBezTo>
                    <a:pt x="79929" y="57420"/>
                    <a:pt x="75691" y="60759"/>
                    <a:pt x="70556" y="62806"/>
                  </a:cubicBezTo>
                  <a:lnTo>
                    <a:pt x="70556" y="63193"/>
                  </a:lnTo>
                  <a:cubicBezTo>
                    <a:pt x="72747" y="63829"/>
                    <a:pt x="75018" y="64945"/>
                    <a:pt x="77401" y="66552"/>
                  </a:cubicBezTo>
                  <a:cubicBezTo>
                    <a:pt x="79784" y="68159"/>
                    <a:pt x="81949" y="70199"/>
                    <a:pt x="83883" y="72699"/>
                  </a:cubicBezTo>
                  <a:cubicBezTo>
                    <a:pt x="85803" y="75198"/>
                    <a:pt x="87414" y="78183"/>
                    <a:pt x="88708" y="81633"/>
                  </a:cubicBezTo>
                  <a:cubicBezTo>
                    <a:pt x="90002" y="85091"/>
                    <a:pt x="90655" y="88994"/>
                    <a:pt x="90655" y="93356"/>
                  </a:cubicBezTo>
                  <a:cubicBezTo>
                    <a:pt x="90655" y="105650"/>
                    <a:pt x="86939" y="114919"/>
                    <a:pt x="79506" y="121204"/>
                  </a:cubicBezTo>
                  <a:cubicBezTo>
                    <a:pt x="72080" y="127462"/>
                    <a:pt x="61473" y="130604"/>
                    <a:pt x="47644" y="130604"/>
                  </a:cubicBezTo>
                  <a:lnTo>
                    <a:pt x="1941" y="130604"/>
                  </a:lnTo>
                  <a:cubicBezTo>
                    <a:pt x="647" y="130604"/>
                    <a:pt x="0" y="129961"/>
                    <a:pt x="0" y="128682"/>
                  </a:cubicBezTo>
                  <a:lnTo>
                    <a:pt x="0" y="1916"/>
                  </a:lnTo>
                  <a:close/>
                  <a:moveTo>
                    <a:pt x="48205" y="56462"/>
                  </a:moveTo>
                  <a:cubicBezTo>
                    <a:pt x="55539" y="56462"/>
                    <a:pt x="61176" y="54606"/>
                    <a:pt x="65176" y="50906"/>
                  </a:cubicBezTo>
                  <a:cubicBezTo>
                    <a:pt x="69143" y="47193"/>
                    <a:pt x="71137" y="42253"/>
                    <a:pt x="71137" y="36113"/>
                  </a:cubicBezTo>
                  <a:cubicBezTo>
                    <a:pt x="71137" y="29829"/>
                    <a:pt x="69143" y="24830"/>
                    <a:pt x="65176" y="21123"/>
                  </a:cubicBezTo>
                  <a:cubicBezTo>
                    <a:pt x="61176" y="17404"/>
                    <a:pt x="55539" y="15554"/>
                    <a:pt x="48205" y="15554"/>
                  </a:cubicBezTo>
                  <a:lnTo>
                    <a:pt x="18555" y="15554"/>
                  </a:lnTo>
                  <a:cubicBezTo>
                    <a:pt x="17782" y="15554"/>
                    <a:pt x="17393" y="15934"/>
                    <a:pt x="17393" y="16702"/>
                  </a:cubicBezTo>
                  <a:lnTo>
                    <a:pt x="17393" y="55308"/>
                  </a:lnTo>
                  <a:cubicBezTo>
                    <a:pt x="17393" y="56075"/>
                    <a:pt x="17782" y="56462"/>
                    <a:pt x="18555" y="56462"/>
                  </a:cubicBezTo>
                  <a:lnTo>
                    <a:pt x="48205" y="56462"/>
                  </a:lnTo>
                  <a:close/>
                  <a:moveTo>
                    <a:pt x="17393" y="113896"/>
                  </a:moveTo>
                  <a:cubicBezTo>
                    <a:pt x="17393" y="114670"/>
                    <a:pt x="17782" y="115044"/>
                    <a:pt x="18555" y="115044"/>
                  </a:cubicBezTo>
                  <a:lnTo>
                    <a:pt x="49196" y="115044"/>
                  </a:lnTo>
                  <a:cubicBezTo>
                    <a:pt x="57024" y="115044"/>
                    <a:pt x="62985" y="113089"/>
                    <a:pt x="67097" y="109199"/>
                  </a:cubicBezTo>
                  <a:cubicBezTo>
                    <a:pt x="71209" y="105289"/>
                    <a:pt x="73262" y="100067"/>
                    <a:pt x="73262" y="93540"/>
                  </a:cubicBezTo>
                  <a:cubicBezTo>
                    <a:pt x="73262" y="87000"/>
                    <a:pt x="71209" y="81791"/>
                    <a:pt x="67097" y="77881"/>
                  </a:cubicBezTo>
                  <a:cubicBezTo>
                    <a:pt x="62985" y="73984"/>
                    <a:pt x="57024" y="72029"/>
                    <a:pt x="49196" y="72029"/>
                  </a:cubicBezTo>
                  <a:lnTo>
                    <a:pt x="18555" y="72029"/>
                  </a:lnTo>
                  <a:cubicBezTo>
                    <a:pt x="17782" y="72029"/>
                    <a:pt x="17393" y="72417"/>
                    <a:pt x="17393" y="73191"/>
                  </a:cubicBezTo>
                  <a:lnTo>
                    <a:pt x="17393" y="113896"/>
                  </a:lnTo>
                  <a:close/>
                </a:path>
              </a:pathLst>
            </a:custGeom>
            <a:solidFill>
              <a:schemeClr val="bg2"/>
            </a:solidFill>
            <a:ln w="7" cap="flat">
              <a:noFill/>
              <a:prstDash val="solid"/>
              <a:miter/>
            </a:ln>
          </p:spPr>
          <p:txBody>
            <a:bodyPr rtlCol="0" anchor="ctr"/>
            <a:lstStyle/>
            <a:p>
              <a:endParaRPr lang="de-DE"/>
            </a:p>
          </p:txBody>
        </p:sp>
        <p:sp>
          <p:nvSpPr>
            <p:cNvPr id="30" name="Freeform: Shape 29">
              <a:extLst>
                <a:ext uri="{FF2B5EF4-FFF2-40B4-BE49-F238E27FC236}">
                  <a16:creationId xmlns:a16="http://schemas.microsoft.com/office/drawing/2014/main" id="{1107CE04-28C7-4319-BD6E-CDFF8EDFA1F3}"/>
                </a:ext>
              </a:extLst>
            </p:cNvPr>
            <p:cNvSpPr/>
            <p:nvPr/>
          </p:nvSpPr>
          <p:spPr>
            <a:xfrm>
              <a:off x="11085536" y="921730"/>
              <a:ext cx="83103" cy="130604"/>
            </a:xfrm>
            <a:custGeom>
              <a:avLst/>
              <a:gdLst>
                <a:gd name="connsiteX0" fmla="*/ 0 w 83103"/>
                <a:gd name="connsiteY0" fmla="*/ 1916 h 130604"/>
                <a:gd name="connsiteX1" fmla="*/ 1934 w 83103"/>
                <a:gd name="connsiteY1" fmla="*/ 0 h 130604"/>
                <a:gd name="connsiteX2" fmla="*/ 81170 w 83103"/>
                <a:gd name="connsiteY2" fmla="*/ 0 h 130604"/>
                <a:gd name="connsiteX3" fmla="*/ 83104 w 83103"/>
                <a:gd name="connsiteY3" fmla="*/ 1916 h 130604"/>
                <a:gd name="connsiteX4" fmla="*/ 83104 w 83103"/>
                <a:gd name="connsiteY4" fmla="*/ 14006 h 130604"/>
                <a:gd name="connsiteX5" fmla="*/ 81170 w 83103"/>
                <a:gd name="connsiteY5" fmla="*/ 15934 h 130604"/>
                <a:gd name="connsiteX6" fmla="*/ 18555 w 83103"/>
                <a:gd name="connsiteY6" fmla="*/ 15934 h 130604"/>
                <a:gd name="connsiteX7" fmla="*/ 17406 w 83103"/>
                <a:gd name="connsiteY7" fmla="*/ 17089 h 130604"/>
                <a:gd name="connsiteX8" fmla="*/ 17406 w 83103"/>
                <a:gd name="connsiteY8" fmla="*/ 55505 h 130604"/>
                <a:gd name="connsiteX9" fmla="*/ 18555 w 83103"/>
                <a:gd name="connsiteY9" fmla="*/ 56653 h 130604"/>
                <a:gd name="connsiteX10" fmla="*/ 71691 w 83103"/>
                <a:gd name="connsiteY10" fmla="*/ 56653 h 130604"/>
                <a:gd name="connsiteX11" fmla="*/ 73638 w 83103"/>
                <a:gd name="connsiteY11" fmla="*/ 58575 h 130604"/>
                <a:gd name="connsiteX12" fmla="*/ 73638 w 83103"/>
                <a:gd name="connsiteY12" fmla="*/ 70678 h 130604"/>
                <a:gd name="connsiteX13" fmla="*/ 71691 w 83103"/>
                <a:gd name="connsiteY13" fmla="*/ 72607 h 130604"/>
                <a:gd name="connsiteX14" fmla="*/ 18555 w 83103"/>
                <a:gd name="connsiteY14" fmla="*/ 72607 h 130604"/>
                <a:gd name="connsiteX15" fmla="*/ 17406 w 83103"/>
                <a:gd name="connsiteY15" fmla="*/ 73755 h 130604"/>
                <a:gd name="connsiteX16" fmla="*/ 17406 w 83103"/>
                <a:gd name="connsiteY16" fmla="*/ 113509 h 130604"/>
                <a:gd name="connsiteX17" fmla="*/ 18555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1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34" y="0"/>
                  </a:cubicBezTo>
                  <a:lnTo>
                    <a:pt x="81170" y="0"/>
                  </a:lnTo>
                  <a:cubicBezTo>
                    <a:pt x="82463" y="0"/>
                    <a:pt x="83104" y="636"/>
                    <a:pt x="83104" y="1916"/>
                  </a:cubicBezTo>
                  <a:lnTo>
                    <a:pt x="83104" y="14006"/>
                  </a:lnTo>
                  <a:cubicBezTo>
                    <a:pt x="83104" y="15292"/>
                    <a:pt x="82463" y="15934"/>
                    <a:pt x="81170" y="15934"/>
                  </a:cubicBezTo>
                  <a:lnTo>
                    <a:pt x="18555" y="15934"/>
                  </a:lnTo>
                  <a:cubicBezTo>
                    <a:pt x="17782" y="15934"/>
                    <a:pt x="17406" y="16321"/>
                    <a:pt x="17406" y="17089"/>
                  </a:cubicBezTo>
                  <a:lnTo>
                    <a:pt x="17406" y="55505"/>
                  </a:lnTo>
                  <a:cubicBezTo>
                    <a:pt x="17406" y="56279"/>
                    <a:pt x="17782" y="56653"/>
                    <a:pt x="18555" y="56653"/>
                  </a:cubicBezTo>
                  <a:lnTo>
                    <a:pt x="71691" y="56653"/>
                  </a:lnTo>
                  <a:cubicBezTo>
                    <a:pt x="72985" y="56653"/>
                    <a:pt x="73638" y="57296"/>
                    <a:pt x="73638" y="58575"/>
                  </a:cubicBezTo>
                  <a:lnTo>
                    <a:pt x="73638" y="70678"/>
                  </a:lnTo>
                  <a:cubicBezTo>
                    <a:pt x="73638" y="71970"/>
                    <a:pt x="72985" y="72607"/>
                    <a:pt x="71691" y="72607"/>
                  </a:cubicBezTo>
                  <a:lnTo>
                    <a:pt x="18555" y="72607"/>
                  </a:lnTo>
                  <a:cubicBezTo>
                    <a:pt x="17782" y="72607"/>
                    <a:pt x="17406" y="72987"/>
                    <a:pt x="17406" y="73755"/>
                  </a:cubicBezTo>
                  <a:lnTo>
                    <a:pt x="17406" y="113509"/>
                  </a:lnTo>
                  <a:cubicBezTo>
                    <a:pt x="17406" y="114276"/>
                    <a:pt x="17782" y="114670"/>
                    <a:pt x="18555" y="114670"/>
                  </a:cubicBezTo>
                  <a:lnTo>
                    <a:pt x="81170" y="114670"/>
                  </a:lnTo>
                  <a:cubicBezTo>
                    <a:pt x="82463" y="114670"/>
                    <a:pt x="83104" y="115306"/>
                    <a:pt x="83104" y="116592"/>
                  </a:cubicBezTo>
                  <a:lnTo>
                    <a:pt x="83104" y="128682"/>
                  </a:lnTo>
                  <a:cubicBezTo>
                    <a:pt x="83104" y="129961"/>
                    <a:pt x="82463" y="130604"/>
                    <a:pt x="81170" y="130604"/>
                  </a:cubicBezTo>
                  <a:lnTo>
                    <a:pt x="1941"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31" name="Freeform: Shape 30">
              <a:extLst>
                <a:ext uri="{FF2B5EF4-FFF2-40B4-BE49-F238E27FC236}">
                  <a16:creationId xmlns:a16="http://schemas.microsoft.com/office/drawing/2014/main" id="{E97D5350-B272-410E-A52F-1188C61E5F10}"/>
                </a:ext>
              </a:extLst>
            </p:cNvPr>
            <p:cNvSpPr/>
            <p:nvPr/>
          </p:nvSpPr>
          <p:spPr>
            <a:xfrm>
              <a:off x="11196277" y="921730"/>
              <a:ext cx="83103" cy="130604"/>
            </a:xfrm>
            <a:custGeom>
              <a:avLst/>
              <a:gdLst>
                <a:gd name="connsiteX0" fmla="*/ 0 w 83103"/>
                <a:gd name="connsiteY0" fmla="*/ 1916 h 130604"/>
                <a:gd name="connsiteX1" fmla="*/ 1947 w 83103"/>
                <a:gd name="connsiteY1" fmla="*/ 0 h 130604"/>
                <a:gd name="connsiteX2" fmla="*/ 15433 w 83103"/>
                <a:gd name="connsiteY2" fmla="*/ 0 h 130604"/>
                <a:gd name="connsiteX3" fmla="*/ 17406 w 83103"/>
                <a:gd name="connsiteY3" fmla="*/ 1916 h 130604"/>
                <a:gd name="connsiteX4" fmla="*/ 17406 w 83103"/>
                <a:gd name="connsiteY4" fmla="*/ 113509 h 130604"/>
                <a:gd name="connsiteX5" fmla="*/ 18555 w 83103"/>
                <a:gd name="connsiteY5" fmla="*/ 114670 h 130604"/>
                <a:gd name="connsiteX6" fmla="*/ 81176 w 83103"/>
                <a:gd name="connsiteY6" fmla="*/ 114670 h 130604"/>
                <a:gd name="connsiteX7" fmla="*/ 83097 w 83103"/>
                <a:gd name="connsiteY7" fmla="*/ 116592 h 130604"/>
                <a:gd name="connsiteX8" fmla="*/ 83104 w 83103"/>
                <a:gd name="connsiteY8" fmla="*/ 128682 h 130604"/>
                <a:gd name="connsiteX9" fmla="*/ 81176 w 83103"/>
                <a:gd name="connsiteY9" fmla="*/ 130604 h 130604"/>
                <a:gd name="connsiteX10" fmla="*/ 1947 w 83103"/>
                <a:gd name="connsiteY10" fmla="*/ 130604 h 130604"/>
                <a:gd name="connsiteX11" fmla="*/ 0 w 83103"/>
                <a:gd name="connsiteY11" fmla="*/ 128682 h 130604"/>
                <a:gd name="connsiteX12" fmla="*/ 0 w 83103"/>
                <a:gd name="connsiteY12"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03" h="130604">
                  <a:moveTo>
                    <a:pt x="0" y="1916"/>
                  </a:moveTo>
                  <a:cubicBezTo>
                    <a:pt x="0" y="636"/>
                    <a:pt x="653" y="0"/>
                    <a:pt x="1947" y="0"/>
                  </a:cubicBezTo>
                  <a:lnTo>
                    <a:pt x="15433" y="0"/>
                  </a:lnTo>
                  <a:cubicBezTo>
                    <a:pt x="16753" y="0"/>
                    <a:pt x="17406" y="636"/>
                    <a:pt x="17406" y="1916"/>
                  </a:cubicBezTo>
                  <a:lnTo>
                    <a:pt x="17406" y="113509"/>
                  </a:lnTo>
                  <a:cubicBezTo>
                    <a:pt x="17406" y="114276"/>
                    <a:pt x="17776" y="114670"/>
                    <a:pt x="18555" y="114670"/>
                  </a:cubicBezTo>
                  <a:lnTo>
                    <a:pt x="81176" y="114670"/>
                  </a:lnTo>
                  <a:cubicBezTo>
                    <a:pt x="82463" y="114670"/>
                    <a:pt x="83097" y="115306"/>
                    <a:pt x="83097" y="116592"/>
                  </a:cubicBezTo>
                  <a:lnTo>
                    <a:pt x="83104" y="128682"/>
                  </a:lnTo>
                  <a:cubicBezTo>
                    <a:pt x="83104" y="129961"/>
                    <a:pt x="82463" y="130604"/>
                    <a:pt x="81176" y="130604"/>
                  </a:cubicBezTo>
                  <a:lnTo>
                    <a:pt x="1947"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32" name="Freeform: Shape 31">
              <a:extLst>
                <a:ext uri="{FF2B5EF4-FFF2-40B4-BE49-F238E27FC236}">
                  <a16:creationId xmlns:a16="http://schemas.microsoft.com/office/drawing/2014/main" id="{C77F81F5-6D92-41C8-9F8A-65D8CC721619}"/>
                </a:ext>
              </a:extLst>
            </p:cNvPr>
            <p:cNvSpPr/>
            <p:nvPr/>
          </p:nvSpPr>
          <p:spPr>
            <a:xfrm>
              <a:off x="11295086" y="919617"/>
              <a:ext cx="94858" cy="134835"/>
            </a:xfrm>
            <a:custGeom>
              <a:avLst/>
              <a:gdLst>
                <a:gd name="connsiteX0" fmla="*/ 46910 w 94858"/>
                <a:gd name="connsiteY0" fmla="*/ 134836 h 134835"/>
                <a:gd name="connsiteX1" fmla="*/ 33187 w 94858"/>
                <a:gd name="connsiteY1" fmla="*/ 133491 h 134835"/>
                <a:gd name="connsiteX2" fmla="*/ 20434 w 94858"/>
                <a:gd name="connsiteY2" fmla="*/ 129929 h 134835"/>
                <a:gd name="connsiteX3" fmla="*/ 9431 w 94858"/>
                <a:gd name="connsiteY3" fmla="*/ 124753 h 134835"/>
                <a:gd name="connsiteX4" fmla="*/ 724 w 94858"/>
                <a:gd name="connsiteY4" fmla="*/ 118508 h 134835"/>
                <a:gd name="connsiteX5" fmla="*/ 526 w 94858"/>
                <a:gd name="connsiteY5" fmla="*/ 115621 h 134835"/>
                <a:gd name="connsiteX6" fmla="*/ 9028 w 94858"/>
                <a:gd name="connsiteY6" fmla="*/ 105643 h 134835"/>
                <a:gd name="connsiteX7" fmla="*/ 11748 w 94858"/>
                <a:gd name="connsiteY7" fmla="*/ 105446 h 134835"/>
                <a:gd name="connsiteX8" fmla="*/ 27583 w 94858"/>
                <a:gd name="connsiteY8" fmla="*/ 114663 h 134835"/>
                <a:gd name="connsiteX9" fmla="*/ 48461 w 94858"/>
                <a:gd name="connsiteY9" fmla="*/ 118895 h 134835"/>
                <a:gd name="connsiteX10" fmla="*/ 69821 w 94858"/>
                <a:gd name="connsiteY10" fmla="*/ 112748 h 134835"/>
                <a:gd name="connsiteX11" fmla="*/ 77452 w 94858"/>
                <a:gd name="connsiteY11" fmla="*/ 96610 h 134835"/>
                <a:gd name="connsiteX12" fmla="*/ 76099 w 94858"/>
                <a:gd name="connsiteY12" fmla="*/ 88928 h 134835"/>
                <a:gd name="connsiteX13" fmla="*/ 71551 w 94858"/>
                <a:gd name="connsiteY13" fmla="*/ 82781 h 134835"/>
                <a:gd name="connsiteX14" fmla="*/ 63148 w 94858"/>
                <a:gd name="connsiteY14" fmla="*/ 78170 h 134835"/>
                <a:gd name="connsiteX15" fmla="*/ 50019 w 94858"/>
                <a:gd name="connsiteY15" fmla="*/ 75303 h 134835"/>
                <a:gd name="connsiteX16" fmla="*/ 43445 w 94858"/>
                <a:gd name="connsiteY16" fmla="*/ 74332 h 134835"/>
                <a:gd name="connsiteX17" fmla="*/ 4777 w 94858"/>
                <a:gd name="connsiteY17" fmla="*/ 38219 h 134835"/>
                <a:gd name="connsiteX18" fmla="*/ 7774 w 94858"/>
                <a:gd name="connsiteY18" fmla="*/ 22468 h 134835"/>
                <a:gd name="connsiteX19" fmla="*/ 16388 w 94858"/>
                <a:gd name="connsiteY19" fmla="*/ 10365 h 134835"/>
                <a:gd name="connsiteX20" fmla="*/ 29913 w 94858"/>
                <a:gd name="connsiteY20" fmla="*/ 2683 h 134835"/>
                <a:gd name="connsiteX21" fmla="*/ 47682 w 94858"/>
                <a:gd name="connsiteY21" fmla="*/ 0 h 134835"/>
                <a:gd name="connsiteX22" fmla="*/ 69821 w 94858"/>
                <a:gd name="connsiteY22" fmla="*/ 3359 h 134835"/>
                <a:gd name="connsiteX23" fmla="*/ 87703 w 94858"/>
                <a:gd name="connsiteY23" fmla="*/ 12090 h 134835"/>
                <a:gd name="connsiteX24" fmla="*/ 88086 w 94858"/>
                <a:gd name="connsiteY24" fmla="*/ 14780 h 134835"/>
                <a:gd name="connsiteX25" fmla="*/ 81505 w 94858"/>
                <a:gd name="connsiteY25" fmla="*/ 25348 h 134835"/>
                <a:gd name="connsiteX26" fmla="*/ 78805 w 94858"/>
                <a:gd name="connsiteY26" fmla="*/ 25729 h 134835"/>
                <a:gd name="connsiteX27" fmla="*/ 63148 w 94858"/>
                <a:gd name="connsiteY27" fmla="*/ 18329 h 134835"/>
                <a:gd name="connsiteX28" fmla="*/ 47115 w 94858"/>
                <a:gd name="connsiteY28" fmla="*/ 15934 h 134835"/>
                <a:gd name="connsiteX29" fmla="*/ 28560 w 94858"/>
                <a:gd name="connsiteY29" fmla="*/ 21793 h 134835"/>
                <a:gd name="connsiteX30" fmla="*/ 22190 w 94858"/>
                <a:gd name="connsiteY30" fmla="*/ 37064 h 134835"/>
                <a:gd name="connsiteX31" fmla="*/ 28362 w 94858"/>
                <a:gd name="connsiteY31" fmla="*/ 50611 h 134835"/>
                <a:gd name="connsiteX32" fmla="*/ 49814 w 94858"/>
                <a:gd name="connsiteY32" fmla="*/ 58004 h 134835"/>
                <a:gd name="connsiteX33" fmla="*/ 56197 w 94858"/>
                <a:gd name="connsiteY33" fmla="*/ 58962 h 134835"/>
                <a:gd name="connsiteX34" fmla="*/ 85175 w 94858"/>
                <a:gd name="connsiteY34" fmla="*/ 70488 h 134835"/>
                <a:gd name="connsiteX35" fmla="*/ 94858 w 94858"/>
                <a:gd name="connsiteY35" fmla="*/ 95469 h 134835"/>
                <a:gd name="connsiteX36" fmla="*/ 91861 w 94858"/>
                <a:gd name="connsiteY36" fmla="*/ 111311 h 134835"/>
                <a:gd name="connsiteX37" fmla="*/ 82785 w 94858"/>
                <a:gd name="connsiteY37" fmla="*/ 123697 h 134835"/>
                <a:gd name="connsiteX38" fmla="*/ 67703 w 94858"/>
                <a:gd name="connsiteY38" fmla="*/ 131851 h 134835"/>
                <a:gd name="connsiteX39" fmla="*/ 46910 w 94858"/>
                <a:gd name="connsiteY39" fmla="*/ 134836 h 134835"/>
                <a:gd name="connsiteX40" fmla="*/ 46910 w 94858"/>
                <a:gd name="connsiteY40" fmla="*/ 134836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4858" h="134835">
                  <a:moveTo>
                    <a:pt x="46910" y="134836"/>
                  </a:moveTo>
                  <a:cubicBezTo>
                    <a:pt x="42296" y="134836"/>
                    <a:pt x="37709" y="134376"/>
                    <a:pt x="33187" y="133491"/>
                  </a:cubicBezTo>
                  <a:cubicBezTo>
                    <a:pt x="28679" y="132592"/>
                    <a:pt x="24428" y="131398"/>
                    <a:pt x="20434" y="129929"/>
                  </a:cubicBezTo>
                  <a:cubicBezTo>
                    <a:pt x="16441" y="128466"/>
                    <a:pt x="12764" y="126734"/>
                    <a:pt x="9431" y="124753"/>
                  </a:cubicBezTo>
                  <a:cubicBezTo>
                    <a:pt x="6071" y="122772"/>
                    <a:pt x="3167" y="120685"/>
                    <a:pt x="724" y="118508"/>
                  </a:cubicBezTo>
                  <a:cubicBezTo>
                    <a:pt x="-167" y="117615"/>
                    <a:pt x="-239" y="116644"/>
                    <a:pt x="526" y="115621"/>
                  </a:cubicBezTo>
                  <a:lnTo>
                    <a:pt x="9028" y="105643"/>
                  </a:lnTo>
                  <a:cubicBezTo>
                    <a:pt x="9807" y="104738"/>
                    <a:pt x="10725" y="104672"/>
                    <a:pt x="11748" y="105446"/>
                  </a:cubicBezTo>
                  <a:cubicBezTo>
                    <a:pt x="16005" y="108786"/>
                    <a:pt x="21273" y="111849"/>
                    <a:pt x="27583" y="114663"/>
                  </a:cubicBezTo>
                  <a:cubicBezTo>
                    <a:pt x="33913" y="117491"/>
                    <a:pt x="40864" y="118895"/>
                    <a:pt x="48461" y="118895"/>
                  </a:cubicBezTo>
                  <a:cubicBezTo>
                    <a:pt x="57603" y="118895"/>
                    <a:pt x="64739" y="116848"/>
                    <a:pt x="69821" y="112748"/>
                  </a:cubicBezTo>
                  <a:cubicBezTo>
                    <a:pt x="74911" y="108654"/>
                    <a:pt x="77452" y="103269"/>
                    <a:pt x="77452" y="96610"/>
                  </a:cubicBezTo>
                  <a:cubicBezTo>
                    <a:pt x="77452" y="93802"/>
                    <a:pt x="76990" y="91237"/>
                    <a:pt x="76099" y="88928"/>
                  </a:cubicBezTo>
                  <a:cubicBezTo>
                    <a:pt x="75214" y="86626"/>
                    <a:pt x="73676" y="84572"/>
                    <a:pt x="71551" y="82781"/>
                  </a:cubicBezTo>
                  <a:cubicBezTo>
                    <a:pt x="69425" y="80984"/>
                    <a:pt x="66627" y="79449"/>
                    <a:pt x="63148" y="78170"/>
                  </a:cubicBezTo>
                  <a:cubicBezTo>
                    <a:pt x="59669" y="76897"/>
                    <a:pt x="55300" y="75933"/>
                    <a:pt x="50019" y="75303"/>
                  </a:cubicBezTo>
                  <a:lnTo>
                    <a:pt x="43445" y="74332"/>
                  </a:lnTo>
                  <a:cubicBezTo>
                    <a:pt x="17675" y="70875"/>
                    <a:pt x="4777" y="58831"/>
                    <a:pt x="4777" y="38219"/>
                  </a:cubicBezTo>
                  <a:cubicBezTo>
                    <a:pt x="4777" y="32453"/>
                    <a:pt x="5787" y="27198"/>
                    <a:pt x="7774" y="22468"/>
                  </a:cubicBezTo>
                  <a:cubicBezTo>
                    <a:pt x="9781" y="17732"/>
                    <a:pt x="12645" y="13691"/>
                    <a:pt x="16388" y="10365"/>
                  </a:cubicBezTo>
                  <a:cubicBezTo>
                    <a:pt x="20118" y="7039"/>
                    <a:pt x="24626" y="4487"/>
                    <a:pt x="29913" y="2683"/>
                  </a:cubicBezTo>
                  <a:cubicBezTo>
                    <a:pt x="35200" y="899"/>
                    <a:pt x="41121" y="0"/>
                    <a:pt x="47682" y="0"/>
                  </a:cubicBezTo>
                  <a:cubicBezTo>
                    <a:pt x="55418" y="0"/>
                    <a:pt x="62792" y="1122"/>
                    <a:pt x="69821" y="3359"/>
                  </a:cubicBezTo>
                  <a:cubicBezTo>
                    <a:pt x="76838" y="5596"/>
                    <a:pt x="82798" y="8522"/>
                    <a:pt x="87703" y="12090"/>
                  </a:cubicBezTo>
                  <a:cubicBezTo>
                    <a:pt x="88746" y="12851"/>
                    <a:pt x="88865" y="13750"/>
                    <a:pt x="88086" y="14780"/>
                  </a:cubicBezTo>
                  <a:lnTo>
                    <a:pt x="81505" y="25348"/>
                  </a:lnTo>
                  <a:cubicBezTo>
                    <a:pt x="80752" y="26247"/>
                    <a:pt x="79835" y="26371"/>
                    <a:pt x="78805" y="25729"/>
                  </a:cubicBezTo>
                  <a:cubicBezTo>
                    <a:pt x="73399" y="22403"/>
                    <a:pt x="68184" y="19936"/>
                    <a:pt x="63148" y="18329"/>
                  </a:cubicBezTo>
                  <a:cubicBezTo>
                    <a:pt x="58118" y="16735"/>
                    <a:pt x="52778" y="15934"/>
                    <a:pt x="47115" y="15934"/>
                  </a:cubicBezTo>
                  <a:cubicBezTo>
                    <a:pt x="38996" y="15934"/>
                    <a:pt x="32811" y="17889"/>
                    <a:pt x="28560" y="21793"/>
                  </a:cubicBezTo>
                  <a:cubicBezTo>
                    <a:pt x="24309" y="25702"/>
                    <a:pt x="22190" y="30806"/>
                    <a:pt x="22190" y="37064"/>
                  </a:cubicBezTo>
                  <a:cubicBezTo>
                    <a:pt x="22190" y="42568"/>
                    <a:pt x="24250" y="47082"/>
                    <a:pt x="28362" y="50611"/>
                  </a:cubicBezTo>
                  <a:cubicBezTo>
                    <a:pt x="32501" y="54134"/>
                    <a:pt x="39656" y="56587"/>
                    <a:pt x="49814" y="58004"/>
                  </a:cubicBezTo>
                  <a:lnTo>
                    <a:pt x="56197" y="58962"/>
                  </a:lnTo>
                  <a:cubicBezTo>
                    <a:pt x="69075" y="60759"/>
                    <a:pt x="78746" y="64597"/>
                    <a:pt x="85175" y="70488"/>
                  </a:cubicBezTo>
                  <a:cubicBezTo>
                    <a:pt x="91624" y="76385"/>
                    <a:pt x="94858" y="84704"/>
                    <a:pt x="94858" y="95469"/>
                  </a:cubicBezTo>
                  <a:cubicBezTo>
                    <a:pt x="94858" y="101222"/>
                    <a:pt x="93842" y="106509"/>
                    <a:pt x="91861" y="111311"/>
                  </a:cubicBezTo>
                  <a:cubicBezTo>
                    <a:pt x="89855" y="116107"/>
                    <a:pt x="86832" y="120233"/>
                    <a:pt x="82785" y="123697"/>
                  </a:cubicBezTo>
                  <a:cubicBezTo>
                    <a:pt x="78706" y="127154"/>
                    <a:pt x="73676" y="129876"/>
                    <a:pt x="67703" y="131851"/>
                  </a:cubicBezTo>
                  <a:cubicBezTo>
                    <a:pt x="61696" y="133838"/>
                    <a:pt x="54785" y="134836"/>
                    <a:pt x="46910" y="134836"/>
                  </a:cubicBezTo>
                  <a:lnTo>
                    <a:pt x="46910" y="134836"/>
                  </a:lnTo>
                  <a:close/>
                </a:path>
              </a:pathLst>
            </a:custGeom>
            <a:solidFill>
              <a:schemeClr val="bg2"/>
            </a:solidFill>
            <a:ln w="7" cap="flat">
              <a:noFill/>
              <a:prstDash val="solid"/>
              <a:miter/>
            </a:ln>
          </p:spPr>
          <p:txBody>
            <a:bodyPr rtlCol="0" anchor="ctr"/>
            <a:lstStyle/>
            <a:p>
              <a:endParaRPr lang="de-DE"/>
            </a:p>
          </p:txBody>
        </p:sp>
        <p:sp>
          <p:nvSpPr>
            <p:cNvPr id="33" name="Freeform: Shape 32">
              <a:extLst>
                <a:ext uri="{FF2B5EF4-FFF2-40B4-BE49-F238E27FC236}">
                  <a16:creationId xmlns:a16="http://schemas.microsoft.com/office/drawing/2014/main" id="{CE45611D-3D48-4C7C-9062-3B2A68852885}"/>
                </a:ext>
              </a:extLst>
            </p:cNvPr>
            <p:cNvSpPr/>
            <p:nvPr/>
          </p:nvSpPr>
          <p:spPr>
            <a:xfrm>
              <a:off x="11404070" y="921730"/>
              <a:ext cx="95486" cy="130610"/>
            </a:xfrm>
            <a:custGeom>
              <a:avLst/>
              <a:gdLst>
                <a:gd name="connsiteX0" fmla="*/ 40984 w 95486"/>
                <a:gd name="connsiteY0" fmla="*/ 130611 h 130610"/>
                <a:gd name="connsiteX1" fmla="*/ 39037 w 95486"/>
                <a:gd name="connsiteY1" fmla="*/ 128682 h 130610"/>
                <a:gd name="connsiteX2" fmla="*/ 39037 w 95486"/>
                <a:gd name="connsiteY2" fmla="*/ 17096 h 130610"/>
                <a:gd name="connsiteX3" fmla="*/ 37882 w 95486"/>
                <a:gd name="connsiteY3" fmla="*/ 15934 h 130610"/>
                <a:gd name="connsiteX4" fmla="*/ 1934 w 95486"/>
                <a:gd name="connsiteY4" fmla="*/ 15934 h 130610"/>
                <a:gd name="connsiteX5" fmla="*/ 0 w 95486"/>
                <a:gd name="connsiteY5" fmla="*/ 14012 h 130610"/>
                <a:gd name="connsiteX6" fmla="*/ 0 w 95486"/>
                <a:gd name="connsiteY6" fmla="*/ 1916 h 130610"/>
                <a:gd name="connsiteX7" fmla="*/ 1934 w 95486"/>
                <a:gd name="connsiteY7" fmla="*/ 0 h 130610"/>
                <a:gd name="connsiteX8" fmla="*/ 93546 w 95486"/>
                <a:gd name="connsiteY8" fmla="*/ 0 h 130610"/>
                <a:gd name="connsiteX9" fmla="*/ 95487 w 95486"/>
                <a:gd name="connsiteY9" fmla="*/ 1916 h 130610"/>
                <a:gd name="connsiteX10" fmla="*/ 95487 w 95486"/>
                <a:gd name="connsiteY10" fmla="*/ 14012 h 130610"/>
                <a:gd name="connsiteX11" fmla="*/ 93540 w 95486"/>
                <a:gd name="connsiteY11" fmla="*/ 15934 h 130610"/>
                <a:gd name="connsiteX12" fmla="*/ 57598 w 95486"/>
                <a:gd name="connsiteY12" fmla="*/ 15934 h 130610"/>
                <a:gd name="connsiteX13" fmla="*/ 56437 w 95486"/>
                <a:gd name="connsiteY13" fmla="*/ 17096 h 130610"/>
                <a:gd name="connsiteX14" fmla="*/ 56437 w 95486"/>
                <a:gd name="connsiteY14" fmla="*/ 128682 h 130610"/>
                <a:gd name="connsiteX15" fmla="*/ 54476 w 95486"/>
                <a:gd name="connsiteY15" fmla="*/ 130611 h 130610"/>
                <a:gd name="connsiteX16" fmla="*/ 40984 w 95486"/>
                <a:gd name="connsiteY16" fmla="*/ 130611 h 13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486" h="130610">
                  <a:moveTo>
                    <a:pt x="40984" y="130611"/>
                  </a:moveTo>
                  <a:cubicBezTo>
                    <a:pt x="39690" y="130611"/>
                    <a:pt x="39037" y="129961"/>
                    <a:pt x="39037" y="128682"/>
                  </a:cubicBezTo>
                  <a:lnTo>
                    <a:pt x="39037" y="17096"/>
                  </a:lnTo>
                  <a:cubicBezTo>
                    <a:pt x="39037" y="16328"/>
                    <a:pt x="38661" y="15934"/>
                    <a:pt x="37882" y="15934"/>
                  </a:cubicBezTo>
                  <a:lnTo>
                    <a:pt x="1934" y="15934"/>
                  </a:lnTo>
                  <a:cubicBezTo>
                    <a:pt x="640" y="15934"/>
                    <a:pt x="0" y="15292"/>
                    <a:pt x="0" y="14012"/>
                  </a:cubicBezTo>
                  <a:lnTo>
                    <a:pt x="0" y="1916"/>
                  </a:lnTo>
                  <a:cubicBezTo>
                    <a:pt x="0" y="636"/>
                    <a:pt x="640" y="0"/>
                    <a:pt x="1934" y="0"/>
                  </a:cubicBezTo>
                  <a:lnTo>
                    <a:pt x="93546" y="0"/>
                  </a:lnTo>
                  <a:cubicBezTo>
                    <a:pt x="94833" y="0"/>
                    <a:pt x="95487" y="636"/>
                    <a:pt x="95487" y="1916"/>
                  </a:cubicBezTo>
                  <a:lnTo>
                    <a:pt x="95487" y="14012"/>
                  </a:lnTo>
                  <a:cubicBezTo>
                    <a:pt x="95487" y="15292"/>
                    <a:pt x="94833" y="15934"/>
                    <a:pt x="93540" y="15934"/>
                  </a:cubicBezTo>
                  <a:lnTo>
                    <a:pt x="57598" y="15934"/>
                  </a:lnTo>
                  <a:cubicBezTo>
                    <a:pt x="56819" y="15934"/>
                    <a:pt x="56437" y="16328"/>
                    <a:pt x="56437" y="17096"/>
                  </a:cubicBezTo>
                  <a:lnTo>
                    <a:pt x="56437" y="128682"/>
                  </a:lnTo>
                  <a:cubicBezTo>
                    <a:pt x="56437" y="129961"/>
                    <a:pt x="55783" y="130611"/>
                    <a:pt x="54476" y="130611"/>
                  </a:cubicBezTo>
                  <a:lnTo>
                    <a:pt x="40984" y="130611"/>
                  </a:lnTo>
                  <a:close/>
                </a:path>
              </a:pathLst>
            </a:custGeom>
            <a:solidFill>
              <a:schemeClr val="bg2"/>
            </a:solidFill>
            <a:ln w="7" cap="flat">
              <a:noFill/>
              <a:prstDash val="solid"/>
              <a:miter/>
            </a:ln>
          </p:spPr>
          <p:txBody>
            <a:bodyPr rtlCol="0" anchor="ctr"/>
            <a:lstStyle/>
            <a:p>
              <a:endParaRPr lang="de-DE"/>
            </a:p>
          </p:txBody>
        </p:sp>
        <p:sp>
          <p:nvSpPr>
            <p:cNvPr id="34" name="Freeform: Shape 33">
              <a:extLst>
                <a:ext uri="{FF2B5EF4-FFF2-40B4-BE49-F238E27FC236}">
                  <a16:creationId xmlns:a16="http://schemas.microsoft.com/office/drawing/2014/main" id="{E889D92B-7230-421D-ABB0-69553C96A7A8}"/>
                </a:ext>
              </a:extLst>
            </p:cNvPr>
            <p:cNvSpPr/>
            <p:nvPr/>
          </p:nvSpPr>
          <p:spPr>
            <a:xfrm>
              <a:off x="11521775" y="921730"/>
              <a:ext cx="83103" cy="130604"/>
            </a:xfrm>
            <a:custGeom>
              <a:avLst/>
              <a:gdLst>
                <a:gd name="connsiteX0" fmla="*/ 0 w 83103"/>
                <a:gd name="connsiteY0" fmla="*/ 1916 h 130604"/>
                <a:gd name="connsiteX1" fmla="*/ 1941 w 83103"/>
                <a:gd name="connsiteY1" fmla="*/ 0 h 130604"/>
                <a:gd name="connsiteX2" fmla="*/ 81170 w 83103"/>
                <a:gd name="connsiteY2" fmla="*/ 0 h 130604"/>
                <a:gd name="connsiteX3" fmla="*/ 83104 w 83103"/>
                <a:gd name="connsiteY3" fmla="*/ 1916 h 130604"/>
                <a:gd name="connsiteX4" fmla="*/ 83104 w 83103"/>
                <a:gd name="connsiteY4" fmla="*/ 14006 h 130604"/>
                <a:gd name="connsiteX5" fmla="*/ 81170 w 83103"/>
                <a:gd name="connsiteY5" fmla="*/ 15934 h 130604"/>
                <a:gd name="connsiteX6" fmla="*/ 18548 w 83103"/>
                <a:gd name="connsiteY6" fmla="*/ 15934 h 130604"/>
                <a:gd name="connsiteX7" fmla="*/ 17406 w 83103"/>
                <a:gd name="connsiteY7" fmla="*/ 17089 h 130604"/>
                <a:gd name="connsiteX8" fmla="*/ 17406 w 83103"/>
                <a:gd name="connsiteY8" fmla="*/ 55505 h 130604"/>
                <a:gd name="connsiteX9" fmla="*/ 18548 w 83103"/>
                <a:gd name="connsiteY9" fmla="*/ 56653 h 130604"/>
                <a:gd name="connsiteX10" fmla="*/ 71698 w 83103"/>
                <a:gd name="connsiteY10" fmla="*/ 56653 h 130604"/>
                <a:gd name="connsiteX11" fmla="*/ 73638 w 83103"/>
                <a:gd name="connsiteY11" fmla="*/ 58575 h 130604"/>
                <a:gd name="connsiteX12" fmla="*/ 73638 w 83103"/>
                <a:gd name="connsiteY12" fmla="*/ 70678 h 130604"/>
                <a:gd name="connsiteX13" fmla="*/ 71698 w 83103"/>
                <a:gd name="connsiteY13" fmla="*/ 72607 h 130604"/>
                <a:gd name="connsiteX14" fmla="*/ 18548 w 83103"/>
                <a:gd name="connsiteY14" fmla="*/ 72607 h 130604"/>
                <a:gd name="connsiteX15" fmla="*/ 17406 w 83103"/>
                <a:gd name="connsiteY15" fmla="*/ 73755 h 130604"/>
                <a:gd name="connsiteX16" fmla="*/ 17406 w 83103"/>
                <a:gd name="connsiteY16" fmla="*/ 113509 h 130604"/>
                <a:gd name="connsiteX17" fmla="*/ 18548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7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41" y="0"/>
                  </a:cubicBezTo>
                  <a:lnTo>
                    <a:pt x="81170" y="0"/>
                  </a:lnTo>
                  <a:cubicBezTo>
                    <a:pt x="82463" y="0"/>
                    <a:pt x="83104" y="636"/>
                    <a:pt x="83104" y="1916"/>
                  </a:cubicBezTo>
                  <a:lnTo>
                    <a:pt x="83104" y="14006"/>
                  </a:lnTo>
                  <a:cubicBezTo>
                    <a:pt x="83104" y="15292"/>
                    <a:pt x="82463" y="15934"/>
                    <a:pt x="81170" y="15934"/>
                  </a:cubicBezTo>
                  <a:lnTo>
                    <a:pt x="18548" y="15934"/>
                  </a:lnTo>
                  <a:cubicBezTo>
                    <a:pt x="17776" y="15934"/>
                    <a:pt x="17406" y="16321"/>
                    <a:pt x="17406" y="17089"/>
                  </a:cubicBezTo>
                  <a:lnTo>
                    <a:pt x="17406" y="55505"/>
                  </a:lnTo>
                  <a:cubicBezTo>
                    <a:pt x="17406" y="56279"/>
                    <a:pt x="17776" y="56653"/>
                    <a:pt x="18548" y="56653"/>
                  </a:cubicBezTo>
                  <a:lnTo>
                    <a:pt x="71698" y="56653"/>
                  </a:lnTo>
                  <a:cubicBezTo>
                    <a:pt x="72991" y="56653"/>
                    <a:pt x="73638" y="57296"/>
                    <a:pt x="73638" y="58575"/>
                  </a:cubicBezTo>
                  <a:lnTo>
                    <a:pt x="73638" y="70678"/>
                  </a:lnTo>
                  <a:cubicBezTo>
                    <a:pt x="73638" y="71970"/>
                    <a:pt x="72991" y="72607"/>
                    <a:pt x="71698" y="72607"/>
                  </a:cubicBezTo>
                  <a:lnTo>
                    <a:pt x="18548" y="72607"/>
                  </a:lnTo>
                  <a:cubicBezTo>
                    <a:pt x="17776" y="72607"/>
                    <a:pt x="17406" y="72987"/>
                    <a:pt x="17406" y="73755"/>
                  </a:cubicBezTo>
                  <a:lnTo>
                    <a:pt x="17406" y="113509"/>
                  </a:lnTo>
                  <a:cubicBezTo>
                    <a:pt x="17406" y="114276"/>
                    <a:pt x="17776" y="114670"/>
                    <a:pt x="18548" y="114670"/>
                  </a:cubicBezTo>
                  <a:lnTo>
                    <a:pt x="81170" y="114670"/>
                  </a:lnTo>
                  <a:cubicBezTo>
                    <a:pt x="82463" y="114670"/>
                    <a:pt x="83104" y="115306"/>
                    <a:pt x="83104" y="116592"/>
                  </a:cubicBezTo>
                  <a:lnTo>
                    <a:pt x="83104" y="128682"/>
                  </a:lnTo>
                  <a:cubicBezTo>
                    <a:pt x="83104" y="129961"/>
                    <a:pt x="82463" y="130604"/>
                    <a:pt x="81170" y="130604"/>
                  </a:cubicBezTo>
                  <a:lnTo>
                    <a:pt x="1947"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35" name="Freeform: Shape 34">
              <a:extLst>
                <a:ext uri="{FF2B5EF4-FFF2-40B4-BE49-F238E27FC236}">
                  <a16:creationId xmlns:a16="http://schemas.microsoft.com/office/drawing/2014/main" id="{B610C5F1-3B92-4A10-9343-A30EC63D6232}"/>
                </a:ext>
              </a:extLst>
            </p:cNvPr>
            <p:cNvSpPr/>
            <p:nvPr/>
          </p:nvSpPr>
          <p:spPr>
            <a:xfrm>
              <a:off x="11632516" y="921730"/>
              <a:ext cx="17393" cy="130604"/>
            </a:xfrm>
            <a:custGeom>
              <a:avLst/>
              <a:gdLst>
                <a:gd name="connsiteX0" fmla="*/ 0 w 17393"/>
                <a:gd name="connsiteY0" fmla="*/ 1916 h 130604"/>
                <a:gd name="connsiteX1" fmla="*/ 1941 w 17393"/>
                <a:gd name="connsiteY1" fmla="*/ 0 h 130604"/>
                <a:gd name="connsiteX2" fmla="*/ 15426 w 17393"/>
                <a:gd name="connsiteY2" fmla="*/ 0 h 130604"/>
                <a:gd name="connsiteX3" fmla="*/ 17393 w 17393"/>
                <a:gd name="connsiteY3" fmla="*/ 1916 h 130604"/>
                <a:gd name="connsiteX4" fmla="*/ 17393 w 17393"/>
                <a:gd name="connsiteY4" fmla="*/ 128682 h 130604"/>
                <a:gd name="connsiteX5" fmla="*/ 15426 w 17393"/>
                <a:gd name="connsiteY5" fmla="*/ 130604 h 130604"/>
                <a:gd name="connsiteX6" fmla="*/ 1947 w 17393"/>
                <a:gd name="connsiteY6" fmla="*/ 130604 h 130604"/>
                <a:gd name="connsiteX7" fmla="*/ 0 w 17393"/>
                <a:gd name="connsiteY7" fmla="*/ 128682 h 130604"/>
                <a:gd name="connsiteX8" fmla="*/ 0 w 17393"/>
                <a:gd name="connsiteY8"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93" h="130604">
                  <a:moveTo>
                    <a:pt x="0" y="1916"/>
                  </a:moveTo>
                  <a:cubicBezTo>
                    <a:pt x="0" y="636"/>
                    <a:pt x="653" y="0"/>
                    <a:pt x="1941" y="0"/>
                  </a:cubicBezTo>
                  <a:lnTo>
                    <a:pt x="15426" y="0"/>
                  </a:lnTo>
                  <a:cubicBezTo>
                    <a:pt x="16746" y="0"/>
                    <a:pt x="17393" y="636"/>
                    <a:pt x="17393" y="1916"/>
                  </a:cubicBezTo>
                  <a:lnTo>
                    <a:pt x="17393" y="128682"/>
                  </a:lnTo>
                  <a:cubicBezTo>
                    <a:pt x="17393" y="129961"/>
                    <a:pt x="16740" y="130604"/>
                    <a:pt x="15426" y="130604"/>
                  </a:cubicBezTo>
                  <a:lnTo>
                    <a:pt x="1947"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36" name="Freeform: Shape 35">
              <a:extLst>
                <a:ext uri="{FF2B5EF4-FFF2-40B4-BE49-F238E27FC236}">
                  <a16:creationId xmlns:a16="http://schemas.microsoft.com/office/drawing/2014/main" id="{0AC677D0-84A5-4CD7-B7AF-A912FA0819FC}"/>
                </a:ext>
              </a:extLst>
            </p:cNvPr>
            <p:cNvSpPr/>
            <p:nvPr/>
          </p:nvSpPr>
          <p:spPr>
            <a:xfrm>
              <a:off x="11684127" y="921730"/>
              <a:ext cx="93929" cy="130604"/>
            </a:xfrm>
            <a:custGeom>
              <a:avLst/>
              <a:gdLst>
                <a:gd name="connsiteX0" fmla="*/ 0 w 93929"/>
                <a:gd name="connsiteY0" fmla="*/ 1916 h 130604"/>
                <a:gd name="connsiteX1" fmla="*/ 1934 w 93929"/>
                <a:gd name="connsiteY1" fmla="*/ 0 h 130604"/>
                <a:gd name="connsiteX2" fmla="*/ 14310 w 93929"/>
                <a:gd name="connsiteY2" fmla="*/ 0 h 130604"/>
                <a:gd name="connsiteX3" fmla="*/ 17584 w 93929"/>
                <a:gd name="connsiteY3" fmla="*/ 1916 h 130604"/>
                <a:gd name="connsiteX4" fmla="*/ 77117 w 93929"/>
                <a:gd name="connsiteY4" fmla="*/ 99877 h 130604"/>
                <a:gd name="connsiteX5" fmla="*/ 77896 w 93929"/>
                <a:gd name="connsiteY5" fmla="*/ 99877 h 130604"/>
                <a:gd name="connsiteX6" fmla="*/ 77896 w 93929"/>
                <a:gd name="connsiteY6" fmla="*/ 1916 h 130604"/>
                <a:gd name="connsiteX7" fmla="*/ 79823 w 93929"/>
                <a:gd name="connsiteY7" fmla="*/ 0 h 130604"/>
                <a:gd name="connsiteX8" fmla="*/ 92008 w 93929"/>
                <a:gd name="connsiteY8" fmla="*/ 0 h 130604"/>
                <a:gd name="connsiteX9" fmla="*/ 93929 w 93929"/>
                <a:gd name="connsiteY9" fmla="*/ 1916 h 130604"/>
                <a:gd name="connsiteX10" fmla="*/ 93929 w 93929"/>
                <a:gd name="connsiteY10" fmla="*/ 128682 h 130604"/>
                <a:gd name="connsiteX11" fmla="*/ 92008 w 93929"/>
                <a:gd name="connsiteY11" fmla="*/ 130604 h 130604"/>
                <a:gd name="connsiteX12" fmla="*/ 79625 w 93929"/>
                <a:gd name="connsiteY12" fmla="*/ 130604 h 130604"/>
                <a:gd name="connsiteX13" fmla="*/ 76345 w 93929"/>
                <a:gd name="connsiteY13" fmla="*/ 128682 h 130604"/>
                <a:gd name="connsiteX14" fmla="*/ 16634 w 93929"/>
                <a:gd name="connsiteY14" fmla="*/ 31108 h 130604"/>
                <a:gd name="connsiteX15" fmla="*/ 16053 w 93929"/>
                <a:gd name="connsiteY15" fmla="*/ 31108 h 130604"/>
                <a:gd name="connsiteX16" fmla="*/ 16053 w 93929"/>
                <a:gd name="connsiteY16" fmla="*/ 128682 h 130604"/>
                <a:gd name="connsiteX17" fmla="*/ 14106 w 93929"/>
                <a:gd name="connsiteY17" fmla="*/ 130604 h 130604"/>
                <a:gd name="connsiteX18" fmla="*/ 1934 w 93929"/>
                <a:gd name="connsiteY18" fmla="*/ 130604 h 130604"/>
                <a:gd name="connsiteX19" fmla="*/ 0 w 93929"/>
                <a:gd name="connsiteY19" fmla="*/ 128682 h 130604"/>
                <a:gd name="connsiteX20" fmla="*/ 0 w 93929"/>
                <a:gd name="connsiteY20"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29" h="130604">
                  <a:moveTo>
                    <a:pt x="0" y="1916"/>
                  </a:moveTo>
                  <a:cubicBezTo>
                    <a:pt x="0" y="636"/>
                    <a:pt x="653" y="0"/>
                    <a:pt x="1934" y="0"/>
                  </a:cubicBezTo>
                  <a:lnTo>
                    <a:pt x="14310" y="0"/>
                  </a:lnTo>
                  <a:cubicBezTo>
                    <a:pt x="15855" y="0"/>
                    <a:pt x="16944" y="636"/>
                    <a:pt x="17584" y="1916"/>
                  </a:cubicBezTo>
                  <a:lnTo>
                    <a:pt x="77117" y="99877"/>
                  </a:lnTo>
                  <a:lnTo>
                    <a:pt x="77896" y="99877"/>
                  </a:lnTo>
                  <a:lnTo>
                    <a:pt x="77896" y="1916"/>
                  </a:lnTo>
                  <a:cubicBezTo>
                    <a:pt x="77896" y="636"/>
                    <a:pt x="78536" y="0"/>
                    <a:pt x="79823" y="0"/>
                  </a:cubicBezTo>
                  <a:lnTo>
                    <a:pt x="92008" y="0"/>
                  </a:lnTo>
                  <a:cubicBezTo>
                    <a:pt x="93276" y="0"/>
                    <a:pt x="93929" y="636"/>
                    <a:pt x="93929" y="1916"/>
                  </a:cubicBezTo>
                  <a:lnTo>
                    <a:pt x="93929" y="128682"/>
                  </a:lnTo>
                  <a:cubicBezTo>
                    <a:pt x="93929" y="129961"/>
                    <a:pt x="93276" y="130604"/>
                    <a:pt x="92008" y="130604"/>
                  </a:cubicBezTo>
                  <a:lnTo>
                    <a:pt x="79625" y="130604"/>
                  </a:lnTo>
                  <a:cubicBezTo>
                    <a:pt x="78074" y="130604"/>
                    <a:pt x="76985" y="129961"/>
                    <a:pt x="76345" y="128682"/>
                  </a:cubicBezTo>
                  <a:lnTo>
                    <a:pt x="16634" y="31108"/>
                  </a:lnTo>
                  <a:lnTo>
                    <a:pt x="16053" y="31108"/>
                  </a:lnTo>
                  <a:lnTo>
                    <a:pt x="16053" y="128682"/>
                  </a:lnTo>
                  <a:cubicBezTo>
                    <a:pt x="16053" y="129961"/>
                    <a:pt x="15400" y="130604"/>
                    <a:pt x="14106" y="130604"/>
                  </a:cubicBezTo>
                  <a:lnTo>
                    <a:pt x="1934"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grpSp>
      <p:grpSp>
        <p:nvGrpSpPr>
          <p:cNvPr id="37" name="Graphic 10">
            <a:extLst>
              <a:ext uri="{FF2B5EF4-FFF2-40B4-BE49-F238E27FC236}">
                <a16:creationId xmlns:a16="http://schemas.microsoft.com/office/drawing/2014/main" id="{0CEFEE9E-4D4C-43B5-A423-BBCA419E8982}"/>
              </a:ext>
            </a:extLst>
          </p:cNvPr>
          <p:cNvGrpSpPr/>
          <p:nvPr/>
        </p:nvGrpSpPr>
        <p:grpSpPr>
          <a:xfrm>
            <a:off x="410399" y="620602"/>
            <a:ext cx="2029688" cy="316256"/>
            <a:chOff x="410399" y="620602"/>
            <a:chExt cx="2029688" cy="316256"/>
          </a:xfrm>
          <a:solidFill>
            <a:schemeClr val="bg1"/>
          </a:solidFill>
        </p:grpSpPr>
        <p:grpSp>
          <p:nvGrpSpPr>
            <p:cNvPr id="38" name="Graphic 10">
              <a:extLst>
                <a:ext uri="{FF2B5EF4-FFF2-40B4-BE49-F238E27FC236}">
                  <a16:creationId xmlns:a16="http://schemas.microsoft.com/office/drawing/2014/main" id="{354A9DE8-E011-43EA-A9D2-6B5881164893}"/>
                </a:ext>
              </a:extLst>
            </p:cNvPr>
            <p:cNvGrpSpPr/>
            <p:nvPr/>
          </p:nvGrpSpPr>
          <p:grpSpPr>
            <a:xfrm>
              <a:off x="410399" y="620602"/>
              <a:ext cx="747774" cy="316256"/>
              <a:chOff x="410399" y="620602"/>
              <a:chExt cx="747774" cy="316256"/>
            </a:xfrm>
            <a:solidFill>
              <a:schemeClr val="bg1"/>
            </a:solidFill>
          </p:grpSpPr>
          <p:sp>
            <p:nvSpPr>
              <p:cNvPr id="39" name="Freeform: Shape 38">
                <a:extLst>
                  <a:ext uri="{FF2B5EF4-FFF2-40B4-BE49-F238E27FC236}">
                    <a16:creationId xmlns:a16="http://schemas.microsoft.com/office/drawing/2014/main" id="{F434F8AF-0C02-4B44-B3BF-34E1415CAD1D}"/>
                  </a:ext>
                </a:extLst>
              </p:cNvPr>
              <p:cNvSpPr/>
              <p:nvPr/>
            </p:nvSpPr>
            <p:spPr>
              <a:xfrm>
                <a:off x="410399" y="652265"/>
                <a:ext cx="209869" cy="252930"/>
              </a:xfrm>
              <a:custGeom>
                <a:avLst/>
                <a:gdLst>
                  <a:gd name="connsiteX0" fmla="*/ 145594 w 209869"/>
                  <a:gd name="connsiteY0" fmla="*/ 163695 h 252930"/>
                  <a:gd name="connsiteX1" fmla="*/ 105519 w 209869"/>
                  <a:gd name="connsiteY1" fmla="*/ 48779 h 252930"/>
                  <a:gd name="connsiteX2" fmla="*/ 104747 w 209869"/>
                  <a:gd name="connsiteY2" fmla="*/ 48779 h 252930"/>
                  <a:gd name="connsiteX3" fmla="*/ 64333 w 209869"/>
                  <a:gd name="connsiteY3" fmla="*/ 163695 h 252930"/>
                  <a:gd name="connsiteX4" fmla="*/ 88659 w 209869"/>
                  <a:gd name="connsiteY4" fmla="*/ 3752 h 252930"/>
                  <a:gd name="connsiteX5" fmla="*/ 93166 w 209869"/>
                  <a:gd name="connsiteY5" fmla="*/ 37 h 252930"/>
                  <a:gd name="connsiteX6" fmla="*/ 117493 w 209869"/>
                  <a:gd name="connsiteY6" fmla="*/ 37 h 252930"/>
                  <a:gd name="connsiteX7" fmla="*/ 122373 w 209869"/>
                  <a:gd name="connsiteY7" fmla="*/ 3752 h 252930"/>
                  <a:gd name="connsiteX8" fmla="*/ 209621 w 209869"/>
                  <a:gd name="connsiteY8" fmla="*/ 249211 h 252930"/>
                  <a:gd name="connsiteX9" fmla="*/ 207003 w 209869"/>
                  <a:gd name="connsiteY9" fmla="*/ 252953 h 252930"/>
                  <a:gd name="connsiteX10" fmla="*/ 180788 w 209869"/>
                  <a:gd name="connsiteY10" fmla="*/ 252953 h 252930"/>
                  <a:gd name="connsiteX11" fmla="*/ 175925 w 209869"/>
                  <a:gd name="connsiteY11" fmla="*/ 249211 h 252930"/>
                  <a:gd name="connsiteX12" fmla="*/ 156432 w 209869"/>
                  <a:gd name="connsiteY12" fmla="*/ 194187 h 252930"/>
                  <a:gd name="connsiteX13" fmla="*/ 53465 w 209869"/>
                  <a:gd name="connsiteY13" fmla="*/ 194187 h 252930"/>
                  <a:gd name="connsiteX14" fmla="*/ 33984 w 209869"/>
                  <a:gd name="connsiteY14" fmla="*/ 249211 h 252930"/>
                  <a:gd name="connsiteX15" fmla="*/ 29103 w 209869"/>
                  <a:gd name="connsiteY15" fmla="*/ 252953 h 252930"/>
                  <a:gd name="connsiteX16" fmla="*/ 2889 w 209869"/>
                  <a:gd name="connsiteY16" fmla="*/ 252953 h 252930"/>
                  <a:gd name="connsiteX17" fmla="*/ 270 w 209869"/>
                  <a:gd name="connsiteY17" fmla="*/ 249211 h 25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9869" h="252930">
                    <a:moveTo>
                      <a:pt x="145594" y="163695"/>
                    </a:moveTo>
                    <a:lnTo>
                      <a:pt x="105519" y="48779"/>
                    </a:lnTo>
                    <a:lnTo>
                      <a:pt x="104747" y="48779"/>
                    </a:lnTo>
                    <a:lnTo>
                      <a:pt x="64333" y="163695"/>
                    </a:lnTo>
                    <a:close/>
                    <a:moveTo>
                      <a:pt x="88659" y="3752"/>
                    </a:moveTo>
                    <a:cubicBezTo>
                      <a:pt x="89038" y="1571"/>
                      <a:pt x="90952" y="-8"/>
                      <a:pt x="93166" y="37"/>
                    </a:cubicBezTo>
                    <a:lnTo>
                      <a:pt x="117493" y="37"/>
                    </a:lnTo>
                    <a:cubicBezTo>
                      <a:pt x="119807" y="-79"/>
                      <a:pt x="121869" y="1490"/>
                      <a:pt x="122373" y="3752"/>
                    </a:cubicBezTo>
                    <a:lnTo>
                      <a:pt x="209621" y="249211"/>
                    </a:lnTo>
                    <a:cubicBezTo>
                      <a:pt x="210385" y="251693"/>
                      <a:pt x="209494" y="252953"/>
                      <a:pt x="207003" y="252953"/>
                    </a:cubicBezTo>
                    <a:lnTo>
                      <a:pt x="180788" y="252953"/>
                    </a:lnTo>
                    <a:cubicBezTo>
                      <a:pt x="178462" y="253091"/>
                      <a:pt x="176388" y="251495"/>
                      <a:pt x="175925" y="249211"/>
                    </a:cubicBezTo>
                    <a:lnTo>
                      <a:pt x="156432" y="194187"/>
                    </a:lnTo>
                    <a:lnTo>
                      <a:pt x="53465" y="194187"/>
                    </a:lnTo>
                    <a:lnTo>
                      <a:pt x="33984" y="249211"/>
                    </a:lnTo>
                    <a:cubicBezTo>
                      <a:pt x="33377" y="251410"/>
                      <a:pt x="31384" y="252938"/>
                      <a:pt x="29103" y="252953"/>
                    </a:cubicBezTo>
                    <a:lnTo>
                      <a:pt x="2889" y="252953"/>
                    </a:lnTo>
                    <a:cubicBezTo>
                      <a:pt x="389" y="252953"/>
                      <a:pt x="-461" y="251696"/>
                      <a:pt x="270" y="249211"/>
                    </a:cubicBezTo>
                    <a:close/>
                  </a:path>
                </a:pathLst>
              </a:custGeom>
              <a:solidFill>
                <a:schemeClr val="bg1"/>
              </a:solidFill>
              <a:ln w="2965" cap="flat">
                <a:noFill/>
                <a:prstDash val="solid"/>
                <a:miter/>
              </a:ln>
            </p:spPr>
            <p:txBody>
              <a:bodyPr rtlCol="0" anchor="ctr"/>
              <a:lstStyle/>
              <a:p>
                <a:endParaRPr lang="de-DE"/>
              </a:p>
            </p:txBody>
          </p:sp>
          <p:sp>
            <p:nvSpPr>
              <p:cNvPr id="40" name="Freeform: Shape 39">
                <a:extLst>
                  <a:ext uri="{FF2B5EF4-FFF2-40B4-BE49-F238E27FC236}">
                    <a16:creationId xmlns:a16="http://schemas.microsoft.com/office/drawing/2014/main" id="{19FC3680-8E74-4FF3-9BD9-CCDFBB860E68}"/>
                  </a:ext>
                </a:extLst>
              </p:cNvPr>
              <p:cNvSpPr/>
              <p:nvPr/>
            </p:nvSpPr>
            <p:spPr>
              <a:xfrm>
                <a:off x="646678" y="648204"/>
                <a:ext cx="183802" cy="261084"/>
              </a:xfrm>
              <a:custGeom>
                <a:avLst/>
                <a:gdLst>
                  <a:gd name="connsiteX0" fmla="*/ 91025 w 183802"/>
                  <a:gd name="connsiteY0" fmla="*/ 261108 h 261084"/>
                  <a:gd name="connsiteX1" fmla="*/ 64419 w 183802"/>
                  <a:gd name="connsiteY1" fmla="*/ 258507 h 261084"/>
                  <a:gd name="connsiteX2" fmla="*/ 39717 w 183802"/>
                  <a:gd name="connsiteY2" fmla="*/ 251638 h 261084"/>
                  <a:gd name="connsiteX3" fmla="*/ 18393 w 183802"/>
                  <a:gd name="connsiteY3" fmla="*/ 241588 h 261084"/>
                  <a:gd name="connsiteX4" fmla="*/ 1515 w 183802"/>
                  <a:gd name="connsiteY4" fmla="*/ 229496 h 261084"/>
                  <a:gd name="connsiteX5" fmla="*/ 922 w 183802"/>
                  <a:gd name="connsiteY5" fmla="*/ 224161 h 261084"/>
                  <a:gd name="connsiteX6" fmla="*/ 1141 w 183802"/>
                  <a:gd name="connsiteY6" fmla="*/ 223911 h 261084"/>
                  <a:gd name="connsiteX7" fmla="*/ 17602 w 183802"/>
                  <a:gd name="connsiteY7" fmla="*/ 204590 h 261084"/>
                  <a:gd name="connsiteX8" fmla="*/ 22373 w 183802"/>
                  <a:gd name="connsiteY8" fmla="*/ 203811 h 261084"/>
                  <a:gd name="connsiteX9" fmla="*/ 22840 w 183802"/>
                  <a:gd name="connsiteY9" fmla="*/ 204215 h 261084"/>
                  <a:gd name="connsiteX10" fmla="*/ 53569 w 183802"/>
                  <a:gd name="connsiteY10" fmla="*/ 222050 h 261084"/>
                  <a:gd name="connsiteX11" fmla="*/ 93998 w 183802"/>
                  <a:gd name="connsiteY11" fmla="*/ 230233 h 261084"/>
                  <a:gd name="connsiteX12" fmla="*/ 135390 w 183802"/>
                  <a:gd name="connsiteY12" fmla="*/ 218343 h 261084"/>
                  <a:gd name="connsiteX13" fmla="*/ 150178 w 183802"/>
                  <a:gd name="connsiteY13" fmla="*/ 187100 h 261084"/>
                  <a:gd name="connsiteX14" fmla="*/ 147577 w 183802"/>
                  <a:gd name="connsiteY14" fmla="*/ 172219 h 261084"/>
                  <a:gd name="connsiteX15" fmla="*/ 138760 w 183802"/>
                  <a:gd name="connsiteY15" fmla="*/ 160329 h 261084"/>
                  <a:gd name="connsiteX16" fmla="*/ 122468 w 183802"/>
                  <a:gd name="connsiteY16" fmla="*/ 151412 h 261084"/>
                  <a:gd name="connsiteX17" fmla="*/ 97018 w 183802"/>
                  <a:gd name="connsiteY17" fmla="*/ 145850 h 261084"/>
                  <a:gd name="connsiteX18" fmla="*/ 84281 w 183802"/>
                  <a:gd name="connsiteY18" fmla="*/ 143972 h 261084"/>
                  <a:gd name="connsiteX19" fmla="*/ 9362 w 183802"/>
                  <a:gd name="connsiteY19" fmla="*/ 74065 h 261084"/>
                  <a:gd name="connsiteX20" fmla="*/ 15180 w 183802"/>
                  <a:gd name="connsiteY20" fmla="*/ 43553 h 261084"/>
                  <a:gd name="connsiteX21" fmla="*/ 31855 w 183802"/>
                  <a:gd name="connsiteY21" fmla="*/ 20127 h 261084"/>
                  <a:gd name="connsiteX22" fmla="*/ 58069 w 183802"/>
                  <a:gd name="connsiteY22" fmla="*/ 5237 h 261084"/>
                  <a:gd name="connsiteX23" fmla="*/ 92512 w 183802"/>
                  <a:gd name="connsiteY23" fmla="*/ 50 h 261084"/>
                  <a:gd name="connsiteX24" fmla="*/ 135401 w 183802"/>
                  <a:gd name="connsiteY24" fmla="*/ 6545 h 261084"/>
                  <a:gd name="connsiteX25" fmla="*/ 170007 w 183802"/>
                  <a:gd name="connsiteY25" fmla="*/ 23488 h 261084"/>
                  <a:gd name="connsiteX26" fmla="*/ 171352 w 183802"/>
                  <a:gd name="connsiteY26" fmla="*/ 27913 h 261084"/>
                  <a:gd name="connsiteX27" fmla="*/ 170780 w 183802"/>
                  <a:gd name="connsiteY27" fmla="*/ 28684 h 261084"/>
                  <a:gd name="connsiteX28" fmla="*/ 158034 w 183802"/>
                  <a:gd name="connsiteY28" fmla="*/ 49135 h 261084"/>
                  <a:gd name="connsiteX29" fmla="*/ 152936 w 183802"/>
                  <a:gd name="connsiteY29" fmla="*/ 49997 h 261084"/>
                  <a:gd name="connsiteX30" fmla="*/ 152796 w 183802"/>
                  <a:gd name="connsiteY30" fmla="*/ 49893 h 261084"/>
                  <a:gd name="connsiteX31" fmla="*/ 122477 w 183802"/>
                  <a:gd name="connsiteY31" fmla="*/ 35575 h 261084"/>
                  <a:gd name="connsiteX32" fmla="*/ 91415 w 183802"/>
                  <a:gd name="connsiteY32" fmla="*/ 30932 h 261084"/>
                  <a:gd name="connsiteX33" fmla="*/ 55448 w 183802"/>
                  <a:gd name="connsiteY33" fmla="*/ 42266 h 261084"/>
                  <a:gd name="connsiteX34" fmla="*/ 43085 w 183802"/>
                  <a:gd name="connsiteY34" fmla="*/ 71815 h 261084"/>
                  <a:gd name="connsiteX35" fmla="*/ 55058 w 183802"/>
                  <a:gd name="connsiteY35" fmla="*/ 98047 h 261084"/>
                  <a:gd name="connsiteX36" fmla="*/ 96628 w 183802"/>
                  <a:gd name="connsiteY36" fmla="*/ 112366 h 261084"/>
                  <a:gd name="connsiteX37" fmla="*/ 109000 w 183802"/>
                  <a:gd name="connsiteY37" fmla="*/ 114211 h 261084"/>
                  <a:gd name="connsiteX38" fmla="*/ 165162 w 183802"/>
                  <a:gd name="connsiteY38" fmla="*/ 136505 h 261084"/>
                  <a:gd name="connsiteX39" fmla="*/ 183888 w 183802"/>
                  <a:gd name="connsiteY39" fmla="*/ 184870 h 261084"/>
                  <a:gd name="connsiteX40" fmla="*/ 178095 w 183802"/>
                  <a:gd name="connsiteY40" fmla="*/ 215555 h 261084"/>
                  <a:gd name="connsiteX41" fmla="*/ 160468 w 183802"/>
                  <a:gd name="connsiteY41" fmla="*/ 239543 h 261084"/>
                  <a:gd name="connsiteX42" fmla="*/ 131287 w 183802"/>
                  <a:gd name="connsiteY42" fmla="*/ 255324 h 261084"/>
                  <a:gd name="connsiteX43" fmla="*/ 91025 w 183802"/>
                  <a:gd name="connsiteY43" fmla="*/ 261108 h 26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3802" h="261084">
                    <a:moveTo>
                      <a:pt x="91025" y="261108"/>
                    </a:moveTo>
                    <a:cubicBezTo>
                      <a:pt x="82093" y="261111"/>
                      <a:pt x="73181" y="260239"/>
                      <a:pt x="64419" y="258507"/>
                    </a:cubicBezTo>
                    <a:cubicBezTo>
                      <a:pt x="56021" y="256856"/>
                      <a:pt x="47762" y="254559"/>
                      <a:pt x="39717" y="251638"/>
                    </a:cubicBezTo>
                    <a:cubicBezTo>
                      <a:pt x="32314" y="248954"/>
                      <a:pt x="25175" y="245589"/>
                      <a:pt x="18393" y="241588"/>
                    </a:cubicBezTo>
                    <a:cubicBezTo>
                      <a:pt x="12384" y="238121"/>
                      <a:pt x="6731" y="234071"/>
                      <a:pt x="1515" y="229496"/>
                    </a:cubicBezTo>
                    <a:cubicBezTo>
                      <a:pt x="-122" y="228186"/>
                      <a:pt x="-388" y="225798"/>
                      <a:pt x="922" y="224161"/>
                    </a:cubicBezTo>
                    <a:cubicBezTo>
                      <a:pt x="991" y="224074"/>
                      <a:pt x="1064" y="223991"/>
                      <a:pt x="1141" y="223911"/>
                    </a:cubicBezTo>
                    <a:lnTo>
                      <a:pt x="17602" y="204590"/>
                    </a:lnTo>
                    <a:cubicBezTo>
                      <a:pt x="18705" y="203057"/>
                      <a:pt x="20841" y="202708"/>
                      <a:pt x="22373" y="203811"/>
                    </a:cubicBezTo>
                    <a:cubicBezTo>
                      <a:pt x="22541" y="203931"/>
                      <a:pt x="22697" y="204066"/>
                      <a:pt x="22840" y="204215"/>
                    </a:cubicBezTo>
                    <a:cubicBezTo>
                      <a:pt x="32319" y="211389"/>
                      <a:pt x="42638" y="217378"/>
                      <a:pt x="53569" y="222050"/>
                    </a:cubicBezTo>
                    <a:cubicBezTo>
                      <a:pt x="66312" y="227614"/>
                      <a:pt x="80094" y="230403"/>
                      <a:pt x="93998" y="230233"/>
                    </a:cubicBezTo>
                    <a:cubicBezTo>
                      <a:pt x="111710" y="230233"/>
                      <a:pt x="125507" y="226270"/>
                      <a:pt x="135390" y="218343"/>
                    </a:cubicBezTo>
                    <a:cubicBezTo>
                      <a:pt x="145024" y="210886"/>
                      <a:pt x="150519" y="199278"/>
                      <a:pt x="150178" y="187100"/>
                    </a:cubicBezTo>
                    <a:cubicBezTo>
                      <a:pt x="150238" y="182021"/>
                      <a:pt x="149356" y="176976"/>
                      <a:pt x="147577" y="172219"/>
                    </a:cubicBezTo>
                    <a:cubicBezTo>
                      <a:pt x="145662" y="167591"/>
                      <a:pt x="142633" y="163506"/>
                      <a:pt x="138760" y="160329"/>
                    </a:cubicBezTo>
                    <a:cubicBezTo>
                      <a:pt x="133876" y="156453"/>
                      <a:pt x="128366" y="153437"/>
                      <a:pt x="122468" y="151412"/>
                    </a:cubicBezTo>
                    <a:cubicBezTo>
                      <a:pt x="114221" y="148605"/>
                      <a:pt x="105684" y="146740"/>
                      <a:pt x="97018" y="145850"/>
                    </a:cubicBezTo>
                    <a:lnTo>
                      <a:pt x="84281" y="143972"/>
                    </a:lnTo>
                    <a:cubicBezTo>
                      <a:pt x="34353" y="137276"/>
                      <a:pt x="9380" y="113974"/>
                      <a:pt x="9362" y="74065"/>
                    </a:cubicBezTo>
                    <a:cubicBezTo>
                      <a:pt x="9220" y="63606"/>
                      <a:pt x="11199" y="53226"/>
                      <a:pt x="15180" y="43553"/>
                    </a:cubicBezTo>
                    <a:cubicBezTo>
                      <a:pt x="18901" y="34587"/>
                      <a:pt x="24602" y="26578"/>
                      <a:pt x="31855" y="20127"/>
                    </a:cubicBezTo>
                    <a:cubicBezTo>
                      <a:pt x="39496" y="13442"/>
                      <a:pt x="48414" y="8377"/>
                      <a:pt x="58069" y="5237"/>
                    </a:cubicBezTo>
                    <a:cubicBezTo>
                      <a:pt x="69191" y="1646"/>
                      <a:pt x="80825" y="-106"/>
                      <a:pt x="92512" y="50"/>
                    </a:cubicBezTo>
                    <a:cubicBezTo>
                      <a:pt x="107058" y="-10"/>
                      <a:pt x="121525" y="2181"/>
                      <a:pt x="135401" y="6545"/>
                    </a:cubicBezTo>
                    <a:cubicBezTo>
                      <a:pt x="147774" y="10291"/>
                      <a:pt x="159460" y="16013"/>
                      <a:pt x="170007" y="23488"/>
                    </a:cubicBezTo>
                    <a:cubicBezTo>
                      <a:pt x="171600" y="24339"/>
                      <a:pt x="172202" y="26320"/>
                      <a:pt x="171352" y="27913"/>
                    </a:cubicBezTo>
                    <a:cubicBezTo>
                      <a:pt x="171200" y="28197"/>
                      <a:pt x="171007" y="28457"/>
                      <a:pt x="170780" y="28684"/>
                    </a:cubicBezTo>
                    <a:lnTo>
                      <a:pt x="158034" y="49135"/>
                    </a:lnTo>
                    <a:cubicBezTo>
                      <a:pt x="156864" y="50781"/>
                      <a:pt x="154582" y="51167"/>
                      <a:pt x="152936" y="49997"/>
                    </a:cubicBezTo>
                    <a:cubicBezTo>
                      <a:pt x="152888" y="49963"/>
                      <a:pt x="152842" y="49929"/>
                      <a:pt x="152796" y="49893"/>
                    </a:cubicBezTo>
                    <a:cubicBezTo>
                      <a:pt x="143314" y="43897"/>
                      <a:pt x="133131" y="39089"/>
                      <a:pt x="122477" y="35575"/>
                    </a:cubicBezTo>
                    <a:cubicBezTo>
                      <a:pt x="112425" y="32433"/>
                      <a:pt x="101946" y="30867"/>
                      <a:pt x="91415" y="30932"/>
                    </a:cubicBezTo>
                    <a:cubicBezTo>
                      <a:pt x="75658" y="30932"/>
                      <a:pt x="63670" y="34710"/>
                      <a:pt x="55448" y="42266"/>
                    </a:cubicBezTo>
                    <a:cubicBezTo>
                      <a:pt x="47206" y="49835"/>
                      <a:pt x="42689" y="60632"/>
                      <a:pt x="43085" y="71815"/>
                    </a:cubicBezTo>
                    <a:cubicBezTo>
                      <a:pt x="42826" y="81936"/>
                      <a:pt x="47243" y="91612"/>
                      <a:pt x="55058" y="98047"/>
                    </a:cubicBezTo>
                    <a:cubicBezTo>
                      <a:pt x="63034" y="104848"/>
                      <a:pt x="76891" y="109621"/>
                      <a:pt x="96628" y="112366"/>
                    </a:cubicBezTo>
                    <a:lnTo>
                      <a:pt x="109000" y="114211"/>
                    </a:lnTo>
                    <a:cubicBezTo>
                      <a:pt x="133939" y="117681"/>
                      <a:pt x="152660" y="125112"/>
                      <a:pt x="165162" y="136505"/>
                    </a:cubicBezTo>
                    <a:cubicBezTo>
                      <a:pt x="177664" y="147898"/>
                      <a:pt x="183906" y="164019"/>
                      <a:pt x="183888" y="184870"/>
                    </a:cubicBezTo>
                    <a:cubicBezTo>
                      <a:pt x="184003" y="195381"/>
                      <a:pt x="182034" y="205810"/>
                      <a:pt x="178095" y="215555"/>
                    </a:cubicBezTo>
                    <a:cubicBezTo>
                      <a:pt x="174222" y="224845"/>
                      <a:pt x="168177" y="233071"/>
                      <a:pt x="160468" y="239543"/>
                    </a:cubicBezTo>
                    <a:cubicBezTo>
                      <a:pt x="151855" y="246643"/>
                      <a:pt x="141944" y="252002"/>
                      <a:pt x="131287" y="255324"/>
                    </a:cubicBezTo>
                    <a:cubicBezTo>
                      <a:pt x="118260" y="259380"/>
                      <a:pt x="104668" y="261333"/>
                      <a:pt x="91025" y="261108"/>
                    </a:cubicBezTo>
                  </a:path>
                </a:pathLst>
              </a:custGeom>
              <a:solidFill>
                <a:schemeClr val="bg1"/>
              </a:solidFill>
              <a:ln w="2965" cap="flat">
                <a:noFill/>
                <a:prstDash val="solid"/>
                <a:miter/>
              </a:ln>
            </p:spPr>
            <p:txBody>
              <a:bodyPr rtlCol="0" anchor="ctr"/>
              <a:lstStyle/>
              <a:p>
                <a:endParaRPr lang="de-DE"/>
              </a:p>
            </p:txBody>
          </p:sp>
          <p:sp>
            <p:nvSpPr>
              <p:cNvPr id="41" name="Freeform: Shape 40">
                <a:extLst>
                  <a:ext uri="{FF2B5EF4-FFF2-40B4-BE49-F238E27FC236}">
                    <a16:creationId xmlns:a16="http://schemas.microsoft.com/office/drawing/2014/main" id="{029BC334-3687-4882-96A0-FBEA99FF5380}"/>
                  </a:ext>
                </a:extLst>
              </p:cNvPr>
              <p:cNvSpPr/>
              <p:nvPr/>
            </p:nvSpPr>
            <p:spPr>
              <a:xfrm>
                <a:off x="881746" y="652253"/>
                <a:ext cx="179430" cy="252966"/>
              </a:xfrm>
              <a:custGeom>
                <a:avLst/>
                <a:gdLst>
                  <a:gd name="connsiteX0" fmla="*/ 33876 w 179430"/>
                  <a:gd name="connsiteY0" fmla="*/ 219859 h 252966"/>
                  <a:gd name="connsiteX1" fmla="*/ 35607 w 179430"/>
                  <a:gd name="connsiteY1" fmla="*/ 222107 h 252966"/>
                  <a:gd name="connsiteX2" fmla="*/ 36156 w 179430"/>
                  <a:gd name="connsiteY2" fmla="*/ 222103 h 252966"/>
                  <a:gd name="connsiteX3" fmla="*/ 82824 w 179430"/>
                  <a:gd name="connsiteY3" fmla="*/ 222103 h 252966"/>
                  <a:gd name="connsiteX4" fmla="*/ 120134 w 179430"/>
                  <a:gd name="connsiteY4" fmla="*/ 214110 h 252966"/>
                  <a:gd name="connsiteX5" fmla="*/ 140644 w 179430"/>
                  <a:gd name="connsiteY5" fmla="*/ 187512 h 252966"/>
                  <a:gd name="connsiteX6" fmla="*/ 142871 w 179430"/>
                  <a:gd name="connsiteY6" fmla="*/ 179698 h 252966"/>
                  <a:gd name="connsiteX7" fmla="*/ 144571 w 179430"/>
                  <a:gd name="connsiteY7" fmla="*/ 168355 h 252966"/>
                  <a:gd name="connsiteX8" fmla="*/ 145489 w 179430"/>
                  <a:gd name="connsiteY8" fmla="*/ 151441 h 252966"/>
                  <a:gd name="connsiteX9" fmla="*/ 145882 w 179430"/>
                  <a:gd name="connsiteY9" fmla="*/ 126529 h 252966"/>
                  <a:gd name="connsiteX10" fmla="*/ 145489 w 179430"/>
                  <a:gd name="connsiteY10" fmla="*/ 101599 h 252966"/>
                  <a:gd name="connsiteX11" fmla="*/ 144571 w 179430"/>
                  <a:gd name="connsiteY11" fmla="*/ 84676 h 252966"/>
                  <a:gd name="connsiteX12" fmla="*/ 142865 w 179430"/>
                  <a:gd name="connsiteY12" fmla="*/ 73339 h 252966"/>
                  <a:gd name="connsiteX13" fmla="*/ 140638 w 179430"/>
                  <a:gd name="connsiteY13" fmla="*/ 65525 h 252966"/>
                  <a:gd name="connsiteX14" fmla="*/ 120128 w 179430"/>
                  <a:gd name="connsiteY14" fmla="*/ 38927 h 252966"/>
                  <a:gd name="connsiteX15" fmla="*/ 82818 w 179430"/>
                  <a:gd name="connsiteY15" fmla="*/ 30934 h 252966"/>
                  <a:gd name="connsiteX16" fmla="*/ 36153 w 179430"/>
                  <a:gd name="connsiteY16" fmla="*/ 30934 h 252966"/>
                  <a:gd name="connsiteX17" fmla="*/ 33877 w 179430"/>
                  <a:gd name="connsiteY17" fmla="*/ 32636 h 252966"/>
                  <a:gd name="connsiteX18" fmla="*/ 33873 w 179430"/>
                  <a:gd name="connsiteY18" fmla="*/ 33178 h 252966"/>
                  <a:gd name="connsiteX19" fmla="*/ 195 w 179430"/>
                  <a:gd name="connsiteY19" fmla="*/ 3783 h 252966"/>
                  <a:gd name="connsiteX20" fmla="*/ 2998 w 179430"/>
                  <a:gd name="connsiteY20" fmla="*/ 69 h 252966"/>
                  <a:gd name="connsiteX21" fmla="*/ 3943 w 179430"/>
                  <a:gd name="connsiteY21" fmla="*/ 74 h 252966"/>
                  <a:gd name="connsiteX22" fmla="*/ 89705 w 179430"/>
                  <a:gd name="connsiteY22" fmla="*/ 74 h 252966"/>
                  <a:gd name="connsiteX23" fmla="*/ 172821 w 179430"/>
                  <a:gd name="connsiteY23" fmla="*/ 54001 h 252966"/>
                  <a:gd name="connsiteX24" fmla="*/ 175669 w 179430"/>
                  <a:gd name="connsiteY24" fmla="*/ 64782 h 252966"/>
                  <a:gd name="connsiteX25" fmla="*/ 177889 w 179430"/>
                  <a:gd name="connsiteY25" fmla="*/ 78538 h 252966"/>
                  <a:gd name="connsiteX26" fmla="*/ 179200 w 179430"/>
                  <a:gd name="connsiteY26" fmla="*/ 98249 h 252966"/>
                  <a:gd name="connsiteX27" fmla="*/ 179593 w 179430"/>
                  <a:gd name="connsiteY27" fmla="*/ 126529 h 252966"/>
                  <a:gd name="connsiteX28" fmla="*/ 179200 w 179430"/>
                  <a:gd name="connsiteY28" fmla="*/ 154794 h 252966"/>
                  <a:gd name="connsiteX29" fmla="*/ 177889 w 179430"/>
                  <a:gd name="connsiteY29" fmla="*/ 174505 h 252966"/>
                  <a:gd name="connsiteX30" fmla="*/ 175669 w 179430"/>
                  <a:gd name="connsiteY30" fmla="*/ 188270 h 252966"/>
                  <a:gd name="connsiteX31" fmla="*/ 172821 w 179430"/>
                  <a:gd name="connsiteY31" fmla="*/ 199043 h 252966"/>
                  <a:gd name="connsiteX32" fmla="*/ 89705 w 179430"/>
                  <a:gd name="connsiteY32" fmla="*/ 252969 h 252966"/>
                  <a:gd name="connsiteX33" fmla="*/ 3943 w 179430"/>
                  <a:gd name="connsiteY33" fmla="*/ 252969 h 252966"/>
                  <a:gd name="connsiteX34" fmla="*/ 201 w 179430"/>
                  <a:gd name="connsiteY34" fmla="*/ 250175 h 252966"/>
                  <a:gd name="connsiteX35" fmla="*/ 201 w 179430"/>
                  <a:gd name="connsiteY35" fmla="*/ 249227 h 25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79430" h="252966">
                    <a:moveTo>
                      <a:pt x="33876" y="219859"/>
                    </a:moveTo>
                    <a:cubicBezTo>
                      <a:pt x="33733" y="220958"/>
                      <a:pt x="34508" y="221965"/>
                      <a:pt x="35607" y="222107"/>
                    </a:cubicBezTo>
                    <a:cubicBezTo>
                      <a:pt x="35789" y="222131"/>
                      <a:pt x="35974" y="222129"/>
                      <a:pt x="36156" y="222103"/>
                    </a:cubicBezTo>
                    <a:lnTo>
                      <a:pt x="82824" y="222103"/>
                    </a:lnTo>
                    <a:cubicBezTo>
                      <a:pt x="98221" y="222103"/>
                      <a:pt x="110697" y="219428"/>
                      <a:pt x="120134" y="214110"/>
                    </a:cubicBezTo>
                    <a:cubicBezTo>
                      <a:pt x="129572" y="208792"/>
                      <a:pt x="136408" y="199911"/>
                      <a:pt x="140644" y="187512"/>
                    </a:cubicBezTo>
                    <a:cubicBezTo>
                      <a:pt x="141408" y="185277"/>
                      <a:pt x="142098" y="182682"/>
                      <a:pt x="142871" y="179698"/>
                    </a:cubicBezTo>
                    <a:cubicBezTo>
                      <a:pt x="143742" y="175969"/>
                      <a:pt x="144310" y="172175"/>
                      <a:pt x="144571" y="168355"/>
                    </a:cubicBezTo>
                    <a:cubicBezTo>
                      <a:pt x="144945" y="163781"/>
                      <a:pt x="145252" y="158143"/>
                      <a:pt x="145489" y="151441"/>
                    </a:cubicBezTo>
                    <a:cubicBezTo>
                      <a:pt x="145718" y="144732"/>
                      <a:pt x="145882" y="136433"/>
                      <a:pt x="145882" y="126529"/>
                    </a:cubicBezTo>
                    <a:cubicBezTo>
                      <a:pt x="145882" y="116625"/>
                      <a:pt x="145721" y="108308"/>
                      <a:pt x="145489" y="101599"/>
                    </a:cubicBezTo>
                    <a:cubicBezTo>
                      <a:pt x="145258" y="94890"/>
                      <a:pt x="144945" y="89269"/>
                      <a:pt x="144571" y="84676"/>
                    </a:cubicBezTo>
                    <a:cubicBezTo>
                      <a:pt x="144308" y="80858"/>
                      <a:pt x="143737" y="77066"/>
                      <a:pt x="142865" y="73339"/>
                    </a:cubicBezTo>
                    <a:cubicBezTo>
                      <a:pt x="142092" y="70367"/>
                      <a:pt x="141402" y="67760"/>
                      <a:pt x="140638" y="65525"/>
                    </a:cubicBezTo>
                    <a:cubicBezTo>
                      <a:pt x="136396" y="53128"/>
                      <a:pt x="129559" y="44262"/>
                      <a:pt x="120128" y="38927"/>
                    </a:cubicBezTo>
                    <a:cubicBezTo>
                      <a:pt x="110691" y="33594"/>
                      <a:pt x="98215" y="30934"/>
                      <a:pt x="82818" y="30934"/>
                    </a:cubicBezTo>
                    <a:lnTo>
                      <a:pt x="36153" y="30934"/>
                    </a:lnTo>
                    <a:cubicBezTo>
                      <a:pt x="35054" y="30776"/>
                      <a:pt x="34035" y="31538"/>
                      <a:pt x="33877" y="32636"/>
                    </a:cubicBezTo>
                    <a:cubicBezTo>
                      <a:pt x="33851" y="32816"/>
                      <a:pt x="33850" y="32998"/>
                      <a:pt x="33873" y="33178"/>
                    </a:cubicBezTo>
                    <a:close/>
                    <a:moveTo>
                      <a:pt x="195" y="3783"/>
                    </a:moveTo>
                    <a:cubicBezTo>
                      <a:pt x="-57" y="1984"/>
                      <a:pt x="1198" y="321"/>
                      <a:pt x="2998" y="69"/>
                    </a:cubicBezTo>
                    <a:cubicBezTo>
                      <a:pt x="3311" y="25"/>
                      <a:pt x="3630" y="27"/>
                      <a:pt x="3943" y="74"/>
                    </a:cubicBezTo>
                    <a:lnTo>
                      <a:pt x="89705" y="74"/>
                    </a:lnTo>
                    <a:cubicBezTo>
                      <a:pt x="133402" y="74"/>
                      <a:pt x="161108" y="18049"/>
                      <a:pt x="172821" y="54001"/>
                    </a:cubicBezTo>
                    <a:cubicBezTo>
                      <a:pt x="173817" y="57478"/>
                      <a:pt x="174736" y="61075"/>
                      <a:pt x="175669" y="64782"/>
                    </a:cubicBezTo>
                    <a:cubicBezTo>
                      <a:pt x="176665" y="69322"/>
                      <a:pt x="177406" y="73915"/>
                      <a:pt x="177889" y="78538"/>
                    </a:cubicBezTo>
                    <a:cubicBezTo>
                      <a:pt x="178511" y="84005"/>
                      <a:pt x="178968" y="90571"/>
                      <a:pt x="179200" y="98249"/>
                    </a:cubicBezTo>
                    <a:cubicBezTo>
                      <a:pt x="179432" y="105927"/>
                      <a:pt x="179593" y="115349"/>
                      <a:pt x="179593" y="126529"/>
                    </a:cubicBezTo>
                    <a:cubicBezTo>
                      <a:pt x="179593" y="137708"/>
                      <a:pt x="179432" y="147113"/>
                      <a:pt x="179200" y="154794"/>
                    </a:cubicBezTo>
                    <a:cubicBezTo>
                      <a:pt x="178968" y="162475"/>
                      <a:pt x="178511" y="169062"/>
                      <a:pt x="177889" y="174505"/>
                    </a:cubicBezTo>
                    <a:cubicBezTo>
                      <a:pt x="177405" y="179131"/>
                      <a:pt x="176664" y="183727"/>
                      <a:pt x="175669" y="188270"/>
                    </a:cubicBezTo>
                    <a:cubicBezTo>
                      <a:pt x="174733" y="191968"/>
                      <a:pt x="173814" y="195559"/>
                      <a:pt x="172821" y="199043"/>
                    </a:cubicBezTo>
                    <a:cubicBezTo>
                      <a:pt x="161114" y="235001"/>
                      <a:pt x="133408" y="252977"/>
                      <a:pt x="89705" y="252969"/>
                    </a:cubicBezTo>
                    <a:lnTo>
                      <a:pt x="3943" y="252969"/>
                    </a:lnTo>
                    <a:cubicBezTo>
                      <a:pt x="2138" y="253231"/>
                      <a:pt x="462" y="251980"/>
                      <a:pt x="201" y="250175"/>
                    </a:cubicBezTo>
                    <a:cubicBezTo>
                      <a:pt x="155" y="249861"/>
                      <a:pt x="155" y="249541"/>
                      <a:pt x="201" y="249227"/>
                    </a:cubicBezTo>
                    <a:close/>
                  </a:path>
                </a:pathLst>
              </a:custGeom>
              <a:solidFill>
                <a:schemeClr val="bg1"/>
              </a:solidFill>
              <a:ln w="2965" cap="flat">
                <a:noFill/>
                <a:prstDash val="solid"/>
                <a:miter/>
              </a:ln>
            </p:spPr>
            <p:txBody>
              <a:bodyPr rtlCol="0" anchor="ctr"/>
              <a:lstStyle/>
              <a:p>
                <a:endParaRPr lang="de-DE"/>
              </a:p>
            </p:txBody>
          </p:sp>
          <p:sp>
            <p:nvSpPr>
              <p:cNvPr id="42" name="Freeform: Shape 41">
                <a:extLst>
                  <a:ext uri="{FF2B5EF4-FFF2-40B4-BE49-F238E27FC236}">
                    <a16:creationId xmlns:a16="http://schemas.microsoft.com/office/drawing/2014/main" id="{D7EEFF2E-19CF-4654-AE18-06162E55FABC}"/>
                  </a:ext>
                </a:extLst>
              </p:cNvPr>
              <p:cNvSpPr/>
              <p:nvPr/>
            </p:nvSpPr>
            <p:spPr>
              <a:xfrm>
                <a:off x="1142271" y="620602"/>
                <a:ext cx="15902" cy="316256"/>
              </a:xfrm>
              <a:custGeom>
                <a:avLst/>
                <a:gdLst>
                  <a:gd name="connsiteX0" fmla="*/ 8199 w 15902"/>
                  <a:gd name="connsiteY0" fmla="*/ 316295 h 316256"/>
                  <a:gd name="connsiteX1" fmla="*/ 247 w 15902"/>
                  <a:gd name="connsiteY1" fmla="*/ 308355 h 316256"/>
                  <a:gd name="connsiteX2" fmla="*/ 247 w 15902"/>
                  <a:gd name="connsiteY2" fmla="*/ 7980 h 316256"/>
                  <a:gd name="connsiteX3" fmla="*/ 8199 w 15902"/>
                  <a:gd name="connsiteY3" fmla="*/ 38 h 316256"/>
                  <a:gd name="connsiteX4" fmla="*/ 16150 w 15902"/>
                  <a:gd name="connsiteY4" fmla="*/ 7980 h 316256"/>
                  <a:gd name="connsiteX5" fmla="*/ 16150 w 15902"/>
                  <a:gd name="connsiteY5" fmla="*/ 308355 h 316256"/>
                  <a:gd name="connsiteX6" fmla="*/ 8199 w 15902"/>
                  <a:gd name="connsiteY6" fmla="*/ 316295 h 31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02" h="316256">
                    <a:moveTo>
                      <a:pt x="8199" y="316295"/>
                    </a:moveTo>
                    <a:cubicBezTo>
                      <a:pt x="3812" y="316293"/>
                      <a:pt x="255" y="312741"/>
                      <a:pt x="247" y="308355"/>
                    </a:cubicBezTo>
                    <a:lnTo>
                      <a:pt x="247" y="7980"/>
                    </a:lnTo>
                    <a:cubicBezTo>
                      <a:pt x="250" y="3592"/>
                      <a:pt x="3810" y="36"/>
                      <a:pt x="8199" y="38"/>
                    </a:cubicBezTo>
                    <a:cubicBezTo>
                      <a:pt x="12587" y="36"/>
                      <a:pt x="16147" y="3592"/>
                      <a:pt x="16150" y="7980"/>
                    </a:cubicBezTo>
                    <a:lnTo>
                      <a:pt x="16150" y="308355"/>
                    </a:lnTo>
                    <a:cubicBezTo>
                      <a:pt x="16142" y="312741"/>
                      <a:pt x="12585" y="316293"/>
                      <a:pt x="8199" y="316295"/>
                    </a:cubicBezTo>
                  </a:path>
                </a:pathLst>
              </a:custGeom>
              <a:solidFill>
                <a:schemeClr val="bg1"/>
              </a:solidFill>
              <a:ln w="2965" cap="flat">
                <a:noFill/>
                <a:prstDash val="solid"/>
                <a:miter/>
              </a:ln>
            </p:spPr>
            <p:txBody>
              <a:bodyPr rtlCol="0" anchor="ctr"/>
              <a:lstStyle/>
              <a:p>
                <a:endParaRPr lang="de-DE"/>
              </a:p>
            </p:txBody>
          </p:sp>
        </p:grpSp>
        <p:sp>
          <p:nvSpPr>
            <p:cNvPr id="43" name="Freeform: Shape 42">
              <a:extLst>
                <a:ext uri="{FF2B5EF4-FFF2-40B4-BE49-F238E27FC236}">
                  <a16:creationId xmlns:a16="http://schemas.microsoft.com/office/drawing/2014/main" id="{69A0BC6F-A451-453E-A4B5-008512E6EBBE}"/>
                </a:ext>
              </a:extLst>
            </p:cNvPr>
            <p:cNvSpPr/>
            <p:nvPr/>
          </p:nvSpPr>
          <p:spPr>
            <a:xfrm>
              <a:off x="1246214" y="650030"/>
              <a:ext cx="1075613" cy="93936"/>
            </a:xfrm>
            <a:custGeom>
              <a:avLst/>
              <a:gdLst>
                <a:gd name="connsiteX0" fmla="*/ 28649 w 1075613"/>
                <a:gd name="connsiteY0" fmla="*/ 92452 h 93936"/>
                <a:gd name="connsiteX1" fmla="*/ 27311 w 1075613"/>
                <a:gd name="connsiteY1" fmla="*/ 91433 h 93936"/>
                <a:gd name="connsiteX2" fmla="*/ 27311 w 1075613"/>
                <a:gd name="connsiteY2" fmla="*/ 91114 h 93936"/>
                <a:gd name="connsiteX3" fmla="*/ 27311 w 1075613"/>
                <a:gd name="connsiteY3" fmla="*/ 13384 h 93936"/>
                <a:gd name="connsiteX4" fmla="*/ 26706 w 1075613"/>
                <a:gd name="connsiteY4" fmla="*/ 12581 h 93936"/>
                <a:gd name="connsiteX5" fmla="*/ 26508 w 1075613"/>
                <a:gd name="connsiteY5" fmla="*/ 12581 h 93936"/>
                <a:gd name="connsiteX6" fmla="*/ 1629 w 1075613"/>
                <a:gd name="connsiteY6" fmla="*/ 12581 h 93936"/>
                <a:gd name="connsiteX7" fmla="*/ 291 w 1075613"/>
                <a:gd name="connsiteY7" fmla="*/ 11563 h 93936"/>
                <a:gd name="connsiteX8" fmla="*/ 291 w 1075613"/>
                <a:gd name="connsiteY8" fmla="*/ 11244 h 93936"/>
                <a:gd name="connsiteX9" fmla="*/ 291 w 1075613"/>
                <a:gd name="connsiteY9" fmla="*/ 2832 h 93936"/>
                <a:gd name="connsiteX10" fmla="*/ 1310 w 1075613"/>
                <a:gd name="connsiteY10" fmla="*/ 1494 h 93936"/>
                <a:gd name="connsiteX11" fmla="*/ 1629 w 1075613"/>
                <a:gd name="connsiteY11" fmla="*/ 1494 h 93936"/>
                <a:gd name="connsiteX12" fmla="*/ 64898 w 1075613"/>
                <a:gd name="connsiteY12" fmla="*/ 1494 h 93936"/>
                <a:gd name="connsiteX13" fmla="*/ 66235 w 1075613"/>
                <a:gd name="connsiteY13" fmla="*/ 2513 h 93936"/>
                <a:gd name="connsiteX14" fmla="*/ 66235 w 1075613"/>
                <a:gd name="connsiteY14" fmla="*/ 2832 h 93936"/>
                <a:gd name="connsiteX15" fmla="*/ 66235 w 1075613"/>
                <a:gd name="connsiteY15" fmla="*/ 11259 h 93936"/>
                <a:gd name="connsiteX16" fmla="*/ 65217 w 1075613"/>
                <a:gd name="connsiteY16" fmla="*/ 12596 h 93936"/>
                <a:gd name="connsiteX17" fmla="*/ 64898 w 1075613"/>
                <a:gd name="connsiteY17" fmla="*/ 12596 h 93936"/>
                <a:gd name="connsiteX18" fmla="*/ 40018 w 1075613"/>
                <a:gd name="connsiteY18" fmla="*/ 12596 h 93936"/>
                <a:gd name="connsiteX19" fmla="*/ 39216 w 1075613"/>
                <a:gd name="connsiteY19" fmla="*/ 13201 h 93936"/>
                <a:gd name="connsiteX20" fmla="*/ 39216 w 1075613"/>
                <a:gd name="connsiteY20" fmla="*/ 13399 h 93936"/>
                <a:gd name="connsiteX21" fmla="*/ 39216 w 1075613"/>
                <a:gd name="connsiteY21" fmla="*/ 91114 h 93936"/>
                <a:gd name="connsiteX22" fmla="*/ 38197 w 1075613"/>
                <a:gd name="connsiteY22" fmla="*/ 92452 h 93936"/>
                <a:gd name="connsiteX23" fmla="*/ 37878 w 1075613"/>
                <a:gd name="connsiteY23" fmla="*/ 92452 h 93936"/>
                <a:gd name="connsiteX24" fmla="*/ 133116 w 1075613"/>
                <a:gd name="connsiteY24" fmla="*/ 92452 h 93936"/>
                <a:gd name="connsiteX25" fmla="*/ 131377 w 1075613"/>
                <a:gd name="connsiteY25" fmla="*/ 91114 h 93936"/>
                <a:gd name="connsiteX26" fmla="*/ 113186 w 1075613"/>
                <a:gd name="connsiteY26" fmla="*/ 53929 h 93936"/>
                <a:gd name="connsiteX27" fmla="*/ 93122 w 1075613"/>
                <a:gd name="connsiteY27" fmla="*/ 53929 h 93936"/>
                <a:gd name="connsiteX28" fmla="*/ 92319 w 1075613"/>
                <a:gd name="connsiteY28" fmla="*/ 54533 h 93936"/>
                <a:gd name="connsiteX29" fmla="*/ 92319 w 1075613"/>
                <a:gd name="connsiteY29" fmla="*/ 54731 h 93936"/>
                <a:gd name="connsiteX30" fmla="*/ 92319 w 1075613"/>
                <a:gd name="connsiteY30" fmla="*/ 91114 h 93936"/>
                <a:gd name="connsiteX31" fmla="*/ 91300 w 1075613"/>
                <a:gd name="connsiteY31" fmla="*/ 92452 h 93936"/>
                <a:gd name="connsiteX32" fmla="*/ 90981 w 1075613"/>
                <a:gd name="connsiteY32" fmla="*/ 92452 h 93936"/>
                <a:gd name="connsiteX33" fmla="*/ 81767 w 1075613"/>
                <a:gd name="connsiteY33" fmla="*/ 92452 h 93936"/>
                <a:gd name="connsiteX34" fmla="*/ 80429 w 1075613"/>
                <a:gd name="connsiteY34" fmla="*/ 91433 h 93936"/>
                <a:gd name="connsiteX35" fmla="*/ 80429 w 1075613"/>
                <a:gd name="connsiteY35" fmla="*/ 91114 h 93936"/>
                <a:gd name="connsiteX36" fmla="*/ 80429 w 1075613"/>
                <a:gd name="connsiteY36" fmla="*/ 2832 h 93936"/>
                <a:gd name="connsiteX37" fmla="*/ 81448 w 1075613"/>
                <a:gd name="connsiteY37" fmla="*/ 1494 h 93936"/>
                <a:gd name="connsiteX38" fmla="*/ 81767 w 1075613"/>
                <a:gd name="connsiteY38" fmla="*/ 1494 h 93936"/>
                <a:gd name="connsiteX39" fmla="*/ 114672 w 1075613"/>
                <a:gd name="connsiteY39" fmla="*/ 1494 h 93936"/>
                <a:gd name="connsiteX40" fmla="*/ 126309 w 1075613"/>
                <a:gd name="connsiteY40" fmla="*/ 3367 h 93936"/>
                <a:gd name="connsiteX41" fmla="*/ 135271 w 1075613"/>
                <a:gd name="connsiteY41" fmla="*/ 8649 h 93936"/>
                <a:gd name="connsiteX42" fmla="*/ 141077 w 1075613"/>
                <a:gd name="connsiteY42" fmla="*/ 16951 h 93936"/>
                <a:gd name="connsiteX43" fmla="*/ 143157 w 1075613"/>
                <a:gd name="connsiteY43" fmla="*/ 27717 h 93936"/>
                <a:gd name="connsiteX44" fmla="*/ 138342 w 1075613"/>
                <a:gd name="connsiteY44" fmla="*/ 43367 h 93936"/>
                <a:gd name="connsiteX45" fmla="*/ 125233 w 1075613"/>
                <a:gd name="connsiteY45" fmla="*/ 52463 h 93936"/>
                <a:gd name="connsiteX46" fmla="*/ 144620 w 1075613"/>
                <a:gd name="connsiteY46" fmla="*/ 90847 h 93936"/>
                <a:gd name="connsiteX47" fmla="*/ 144753 w 1075613"/>
                <a:gd name="connsiteY47" fmla="*/ 91982 h 93936"/>
                <a:gd name="connsiteX48" fmla="*/ 143817 w 1075613"/>
                <a:gd name="connsiteY48" fmla="*/ 92452 h 93936"/>
                <a:gd name="connsiteX49" fmla="*/ 114390 w 1075613"/>
                <a:gd name="connsiteY49" fmla="*/ 42826 h 93936"/>
                <a:gd name="connsiteX50" fmla="*/ 126829 w 1075613"/>
                <a:gd name="connsiteY50" fmla="*/ 38882 h 93936"/>
                <a:gd name="connsiteX51" fmla="*/ 131244 w 1075613"/>
                <a:gd name="connsiteY51" fmla="*/ 27711 h 93936"/>
                <a:gd name="connsiteX52" fmla="*/ 126829 w 1075613"/>
                <a:gd name="connsiteY52" fmla="*/ 16541 h 93936"/>
                <a:gd name="connsiteX53" fmla="*/ 114390 w 1075613"/>
                <a:gd name="connsiteY53" fmla="*/ 12596 h 93936"/>
                <a:gd name="connsiteX54" fmla="*/ 93122 w 1075613"/>
                <a:gd name="connsiteY54" fmla="*/ 12596 h 93936"/>
                <a:gd name="connsiteX55" fmla="*/ 92319 w 1075613"/>
                <a:gd name="connsiteY55" fmla="*/ 13201 h 93936"/>
                <a:gd name="connsiteX56" fmla="*/ 92319 w 1075613"/>
                <a:gd name="connsiteY56" fmla="*/ 13399 h 93936"/>
                <a:gd name="connsiteX57" fmla="*/ 92319 w 1075613"/>
                <a:gd name="connsiteY57" fmla="*/ 42024 h 93936"/>
                <a:gd name="connsiteX58" fmla="*/ 92923 w 1075613"/>
                <a:gd name="connsiteY58" fmla="*/ 42826 h 93936"/>
                <a:gd name="connsiteX59" fmla="*/ 93122 w 1075613"/>
                <a:gd name="connsiteY59" fmla="*/ 42826 h 93936"/>
                <a:gd name="connsiteX60" fmla="*/ 186487 w 1075613"/>
                <a:gd name="connsiteY60" fmla="*/ 2832 h 93936"/>
                <a:gd name="connsiteX61" fmla="*/ 188092 w 1075613"/>
                <a:gd name="connsiteY61" fmla="*/ 1494 h 93936"/>
                <a:gd name="connsiteX62" fmla="*/ 196802 w 1075613"/>
                <a:gd name="connsiteY62" fmla="*/ 1494 h 93936"/>
                <a:gd name="connsiteX63" fmla="*/ 198540 w 1075613"/>
                <a:gd name="connsiteY63" fmla="*/ 2832 h 93936"/>
                <a:gd name="connsiteX64" fmla="*/ 229707 w 1075613"/>
                <a:gd name="connsiteY64" fmla="*/ 91114 h 93936"/>
                <a:gd name="connsiteX65" fmla="*/ 228771 w 1075613"/>
                <a:gd name="connsiteY65" fmla="*/ 92452 h 93936"/>
                <a:gd name="connsiteX66" fmla="*/ 219392 w 1075613"/>
                <a:gd name="connsiteY66" fmla="*/ 92452 h 93936"/>
                <a:gd name="connsiteX67" fmla="*/ 217654 w 1075613"/>
                <a:gd name="connsiteY67" fmla="*/ 91114 h 93936"/>
                <a:gd name="connsiteX68" fmla="*/ 210698 w 1075613"/>
                <a:gd name="connsiteY68" fmla="*/ 71318 h 93936"/>
                <a:gd name="connsiteX69" fmla="*/ 173914 w 1075613"/>
                <a:gd name="connsiteY69" fmla="*/ 71318 h 93936"/>
                <a:gd name="connsiteX70" fmla="*/ 166958 w 1075613"/>
                <a:gd name="connsiteY70" fmla="*/ 91114 h 93936"/>
                <a:gd name="connsiteX71" fmla="*/ 165219 w 1075613"/>
                <a:gd name="connsiteY71" fmla="*/ 92452 h 93936"/>
                <a:gd name="connsiteX72" fmla="*/ 155856 w 1075613"/>
                <a:gd name="connsiteY72" fmla="*/ 92452 h 93936"/>
                <a:gd name="connsiteX73" fmla="*/ 154919 w 1075613"/>
                <a:gd name="connsiteY73" fmla="*/ 91114 h 93936"/>
                <a:gd name="connsiteX74" fmla="*/ 206819 w 1075613"/>
                <a:gd name="connsiteY74" fmla="*/ 60349 h 93936"/>
                <a:gd name="connsiteX75" fmla="*/ 192506 w 1075613"/>
                <a:gd name="connsiteY75" fmla="*/ 19017 h 93936"/>
                <a:gd name="connsiteX76" fmla="*/ 192239 w 1075613"/>
                <a:gd name="connsiteY76" fmla="*/ 19017 h 93936"/>
                <a:gd name="connsiteX77" fmla="*/ 177793 w 1075613"/>
                <a:gd name="connsiteY77" fmla="*/ 60349 h 93936"/>
                <a:gd name="connsiteX78" fmla="*/ 244138 w 1075613"/>
                <a:gd name="connsiteY78" fmla="*/ 2832 h 93936"/>
                <a:gd name="connsiteX79" fmla="*/ 245157 w 1075613"/>
                <a:gd name="connsiteY79" fmla="*/ 1494 h 93936"/>
                <a:gd name="connsiteX80" fmla="*/ 245476 w 1075613"/>
                <a:gd name="connsiteY80" fmla="*/ 1494 h 93936"/>
                <a:gd name="connsiteX81" fmla="*/ 254037 w 1075613"/>
                <a:gd name="connsiteY81" fmla="*/ 1494 h 93936"/>
                <a:gd name="connsiteX82" fmla="*/ 256311 w 1075613"/>
                <a:gd name="connsiteY82" fmla="*/ 2832 h 93936"/>
                <a:gd name="connsiteX83" fmla="*/ 297509 w 1075613"/>
                <a:gd name="connsiteY83" fmla="*/ 71050 h 93936"/>
                <a:gd name="connsiteX84" fmla="*/ 298044 w 1075613"/>
                <a:gd name="connsiteY84" fmla="*/ 71050 h 93936"/>
                <a:gd name="connsiteX85" fmla="*/ 298044 w 1075613"/>
                <a:gd name="connsiteY85" fmla="*/ 2832 h 93936"/>
                <a:gd name="connsiteX86" fmla="*/ 299064 w 1075613"/>
                <a:gd name="connsiteY86" fmla="*/ 1494 h 93936"/>
                <a:gd name="connsiteX87" fmla="*/ 299382 w 1075613"/>
                <a:gd name="connsiteY87" fmla="*/ 1494 h 93936"/>
                <a:gd name="connsiteX88" fmla="*/ 307809 w 1075613"/>
                <a:gd name="connsiteY88" fmla="*/ 1494 h 93936"/>
                <a:gd name="connsiteX89" fmla="*/ 309146 w 1075613"/>
                <a:gd name="connsiteY89" fmla="*/ 2513 h 93936"/>
                <a:gd name="connsiteX90" fmla="*/ 309146 w 1075613"/>
                <a:gd name="connsiteY90" fmla="*/ 2832 h 93936"/>
                <a:gd name="connsiteX91" fmla="*/ 309146 w 1075613"/>
                <a:gd name="connsiteY91" fmla="*/ 91114 h 93936"/>
                <a:gd name="connsiteX92" fmla="*/ 308127 w 1075613"/>
                <a:gd name="connsiteY92" fmla="*/ 92452 h 93936"/>
                <a:gd name="connsiteX93" fmla="*/ 307809 w 1075613"/>
                <a:gd name="connsiteY93" fmla="*/ 92452 h 93936"/>
                <a:gd name="connsiteX94" fmla="*/ 299248 w 1075613"/>
                <a:gd name="connsiteY94" fmla="*/ 92452 h 93936"/>
                <a:gd name="connsiteX95" fmla="*/ 296974 w 1075613"/>
                <a:gd name="connsiteY95" fmla="*/ 91114 h 93936"/>
                <a:gd name="connsiteX96" fmla="*/ 255657 w 1075613"/>
                <a:gd name="connsiteY96" fmla="*/ 23164 h 93936"/>
                <a:gd name="connsiteX97" fmla="*/ 255240 w 1075613"/>
                <a:gd name="connsiteY97" fmla="*/ 23164 h 93936"/>
                <a:gd name="connsiteX98" fmla="*/ 255240 w 1075613"/>
                <a:gd name="connsiteY98" fmla="*/ 91114 h 93936"/>
                <a:gd name="connsiteX99" fmla="*/ 254222 w 1075613"/>
                <a:gd name="connsiteY99" fmla="*/ 92452 h 93936"/>
                <a:gd name="connsiteX100" fmla="*/ 253903 w 1075613"/>
                <a:gd name="connsiteY100" fmla="*/ 92452 h 93936"/>
                <a:gd name="connsiteX101" fmla="*/ 245476 w 1075613"/>
                <a:gd name="connsiteY101" fmla="*/ 92452 h 93936"/>
                <a:gd name="connsiteX102" fmla="*/ 244138 w 1075613"/>
                <a:gd name="connsiteY102" fmla="*/ 91433 h 93936"/>
                <a:gd name="connsiteX103" fmla="*/ 244138 w 1075613"/>
                <a:gd name="connsiteY103" fmla="*/ 91114 h 93936"/>
                <a:gd name="connsiteX104" fmla="*/ 359173 w 1075613"/>
                <a:gd name="connsiteY104" fmla="*/ 93923 h 93936"/>
                <a:gd name="connsiteX105" fmla="*/ 349661 w 1075613"/>
                <a:gd name="connsiteY105" fmla="*/ 92987 h 93936"/>
                <a:gd name="connsiteX106" fmla="*/ 340833 w 1075613"/>
                <a:gd name="connsiteY106" fmla="*/ 90511 h 93936"/>
                <a:gd name="connsiteX107" fmla="*/ 333238 w 1075613"/>
                <a:gd name="connsiteY107" fmla="*/ 86899 h 93936"/>
                <a:gd name="connsiteX108" fmla="*/ 327219 w 1075613"/>
                <a:gd name="connsiteY108" fmla="*/ 82554 h 93936"/>
                <a:gd name="connsiteX109" fmla="*/ 327023 w 1075613"/>
                <a:gd name="connsiteY109" fmla="*/ 80617 h 93936"/>
                <a:gd name="connsiteX110" fmla="*/ 327085 w 1075613"/>
                <a:gd name="connsiteY110" fmla="*/ 80547 h 93936"/>
                <a:gd name="connsiteX111" fmla="*/ 332971 w 1075613"/>
                <a:gd name="connsiteY111" fmla="*/ 73592 h 93936"/>
                <a:gd name="connsiteX112" fmla="*/ 334680 w 1075613"/>
                <a:gd name="connsiteY112" fmla="*/ 73317 h 93936"/>
                <a:gd name="connsiteX113" fmla="*/ 334843 w 1075613"/>
                <a:gd name="connsiteY113" fmla="*/ 73458 h 93936"/>
                <a:gd name="connsiteX114" fmla="*/ 345812 w 1075613"/>
                <a:gd name="connsiteY114" fmla="*/ 79878 h 93936"/>
                <a:gd name="connsiteX115" fmla="*/ 360258 w 1075613"/>
                <a:gd name="connsiteY115" fmla="*/ 82821 h 93936"/>
                <a:gd name="connsiteX116" fmla="*/ 375037 w 1075613"/>
                <a:gd name="connsiteY116" fmla="*/ 78541 h 93936"/>
                <a:gd name="connsiteX117" fmla="*/ 380322 w 1075613"/>
                <a:gd name="connsiteY117" fmla="*/ 67305 h 93936"/>
                <a:gd name="connsiteX118" fmla="*/ 379386 w 1075613"/>
                <a:gd name="connsiteY118" fmla="*/ 61954 h 93936"/>
                <a:gd name="connsiteX119" fmla="*/ 376241 w 1075613"/>
                <a:gd name="connsiteY119" fmla="*/ 57674 h 93936"/>
                <a:gd name="connsiteX120" fmla="*/ 370424 w 1075613"/>
                <a:gd name="connsiteY120" fmla="*/ 54464 h 93936"/>
                <a:gd name="connsiteX121" fmla="*/ 361328 w 1075613"/>
                <a:gd name="connsiteY121" fmla="*/ 52457 h 93936"/>
                <a:gd name="connsiteX122" fmla="*/ 356780 w 1075613"/>
                <a:gd name="connsiteY122" fmla="*/ 51788 h 93936"/>
                <a:gd name="connsiteX123" fmla="*/ 330028 w 1075613"/>
                <a:gd name="connsiteY123" fmla="*/ 26641 h 93936"/>
                <a:gd name="connsiteX124" fmla="*/ 332109 w 1075613"/>
                <a:gd name="connsiteY124" fmla="*/ 15673 h 93936"/>
                <a:gd name="connsiteX125" fmla="*/ 338054 w 1075613"/>
                <a:gd name="connsiteY125" fmla="*/ 7246 h 93936"/>
                <a:gd name="connsiteX126" fmla="*/ 347417 w 1075613"/>
                <a:gd name="connsiteY126" fmla="*/ 1895 h 93936"/>
                <a:gd name="connsiteX127" fmla="*/ 359723 w 1075613"/>
                <a:gd name="connsiteY127" fmla="*/ 23 h 93936"/>
                <a:gd name="connsiteX128" fmla="*/ 375040 w 1075613"/>
                <a:gd name="connsiteY128" fmla="*/ 2362 h 93936"/>
                <a:gd name="connsiteX129" fmla="*/ 387397 w 1075613"/>
                <a:gd name="connsiteY129" fmla="*/ 8450 h 93936"/>
                <a:gd name="connsiteX130" fmla="*/ 387855 w 1075613"/>
                <a:gd name="connsiteY130" fmla="*/ 10067 h 93936"/>
                <a:gd name="connsiteX131" fmla="*/ 387664 w 1075613"/>
                <a:gd name="connsiteY131" fmla="*/ 10322 h 93936"/>
                <a:gd name="connsiteX132" fmla="*/ 383116 w 1075613"/>
                <a:gd name="connsiteY132" fmla="*/ 17679 h 93936"/>
                <a:gd name="connsiteX133" fmla="*/ 381300 w 1075613"/>
                <a:gd name="connsiteY133" fmla="*/ 17990 h 93936"/>
                <a:gd name="connsiteX134" fmla="*/ 381244 w 1075613"/>
                <a:gd name="connsiteY134" fmla="*/ 17947 h 93936"/>
                <a:gd name="connsiteX135" fmla="*/ 370409 w 1075613"/>
                <a:gd name="connsiteY135" fmla="*/ 12790 h 93936"/>
                <a:gd name="connsiteX136" fmla="*/ 359307 w 1075613"/>
                <a:gd name="connsiteY136" fmla="*/ 11119 h 93936"/>
                <a:gd name="connsiteX137" fmla="*/ 346466 w 1075613"/>
                <a:gd name="connsiteY137" fmla="*/ 15197 h 93936"/>
                <a:gd name="connsiteX138" fmla="*/ 342052 w 1075613"/>
                <a:gd name="connsiteY138" fmla="*/ 25830 h 93936"/>
                <a:gd name="connsiteX139" fmla="*/ 346332 w 1075613"/>
                <a:gd name="connsiteY139" fmla="*/ 35259 h 93936"/>
                <a:gd name="connsiteX140" fmla="*/ 361180 w 1075613"/>
                <a:gd name="connsiteY140" fmla="*/ 40434 h 93936"/>
                <a:gd name="connsiteX141" fmla="*/ 365594 w 1075613"/>
                <a:gd name="connsiteY141" fmla="*/ 41102 h 93936"/>
                <a:gd name="connsiteX142" fmla="*/ 385658 w 1075613"/>
                <a:gd name="connsiteY142" fmla="*/ 49128 h 93936"/>
                <a:gd name="connsiteX143" fmla="*/ 392346 w 1075613"/>
                <a:gd name="connsiteY143" fmla="*/ 66517 h 93936"/>
                <a:gd name="connsiteX144" fmla="*/ 390265 w 1075613"/>
                <a:gd name="connsiteY144" fmla="*/ 77551 h 93936"/>
                <a:gd name="connsiteX145" fmla="*/ 383979 w 1075613"/>
                <a:gd name="connsiteY145" fmla="*/ 86171 h 93936"/>
                <a:gd name="connsiteX146" fmla="*/ 373545 w 1075613"/>
                <a:gd name="connsiteY146" fmla="*/ 91857 h 93936"/>
                <a:gd name="connsiteX147" fmla="*/ 359173 w 1075613"/>
                <a:gd name="connsiteY147" fmla="*/ 93923 h 93936"/>
                <a:gd name="connsiteX148" fmla="*/ 412009 w 1075613"/>
                <a:gd name="connsiteY148" fmla="*/ 92452 h 93936"/>
                <a:gd name="connsiteX149" fmla="*/ 410671 w 1075613"/>
                <a:gd name="connsiteY149" fmla="*/ 91433 h 93936"/>
                <a:gd name="connsiteX150" fmla="*/ 410671 w 1075613"/>
                <a:gd name="connsiteY150" fmla="*/ 91114 h 93936"/>
                <a:gd name="connsiteX151" fmla="*/ 410671 w 1075613"/>
                <a:gd name="connsiteY151" fmla="*/ 2832 h 93936"/>
                <a:gd name="connsiteX152" fmla="*/ 411691 w 1075613"/>
                <a:gd name="connsiteY152" fmla="*/ 1494 h 93936"/>
                <a:gd name="connsiteX153" fmla="*/ 412009 w 1075613"/>
                <a:gd name="connsiteY153" fmla="*/ 1494 h 93936"/>
                <a:gd name="connsiteX154" fmla="*/ 444379 w 1075613"/>
                <a:gd name="connsiteY154" fmla="*/ 1494 h 93936"/>
                <a:gd name="connsiteX155" fmla="*/ 456284 w 1075613"/>
                <a:gd name="connsiteY155" fmla="*/ 3435 h 93936"/>
                <a:gd name="connsiteX156" fmla="*/ 465380 w 1075613"/>
                <a:gd name="connsiteY156" fmla="*/ 8919 h 93936"/>
                <a:gd name="connsiteX157" fmla="*/ 471200 w 1075613"/>
                <a:gd name="connsiteY157" fmla="*/ 17480 h 93936"/>
                <a:gd name="connsiteX158" fmla="*/ 473281 w 1075613"/>
                <a:gd name="connsiteY158" fmla="*/ 28651 h 93936"/>
                <a:gd name="connsiteX159" fmla="*/ 471200 w 1075613"/>
                <a:gd name="connsiteY159" fmla="*/ 39818 h 93936"/>
                <a:gd name="connsiteX160" fmla="*/ 465380 w 1075613"/>
                <a:gd name="connsiteY160" fmla="*/ 48379 h 93936"/>
                <a:gd name="connsiteX161" fmla="*/ 456284 w 1075613"/>
                <a:gd name="connsiteY161" fmla="*/ 53863 h 93936"/>
                <a:gd name="connsiteX162" fmla="*/ 444379 w 1075613"/>
                <a:gd name="connsiteY162" fmla="*/ 55804 h 93936"/>
                <a:gd name="connsiteX163" fmla="*/ 423379 w 1075613"/>
                <a:gd name="connsiteY163" fmla="*/ 55804 h 93936"/>
                <a:gd name="connsiteX164" fmla="*/ 422576 w 1075613"/>
                <a:gd name="connsiteY164" fmla="*/ 56409 h 93936"/>
                <a:gd name="connsiteX165" fmla="*/ 422576 w 1075613"/>
                <a:gd name="connsiteY165" fmla="*/ 56607 h 93936"/>
                <a:gd name="connsiteX166" fmla="*/ 422576 w 1075613"/>
                <a:gd name="connsiteY166" fmla="*/ 91114 h 93936"/>
                <a:gd name="connsiteX167" fmla="*/ 421557 w 1075613"/>
                <a:gd name="connsiteY167" fmla="*/ 92452 h 93936"/>
                <a:gd name="connsiteX168" fmla="*/ 421239 w 1075613"/>
                <a:gd name="connsiteY168" fmla="*/ 92452 h 93936"/>
                <a:gd name="connsiteX169" fmla="*/ 443710 w 1075613"/>
                <a:gd name="connsiteY169" fmla="*/ 44699 h 93936"/>
                <a:gd name="connsiteX170" fmla="*/ 456819 w 1075613"/>
                <a:gd name="connsiteY170" fmla="*/ 40419 h 93936"/>
                <a:gd name="connsiteX171" fmla="*/ 461501 w 1075613"/>
                <a:gd name="connsiteY171" fmla="*/ 28648 h 93936"/>
                <a:gd name="connsiteX172" fmla="*/ 456819 w 1075613"/>
                <a:gd name="connsiteY172" fmla="*/ 16877 h 93936"/>
                <a:gd name="connsiteX173" fmla="*/ 443710 w 1075613"/>
                <a:gd name="connsiteY173" fmla="*/ 12596 h 93936"/>
                <a:gd name="connsiteX174" fmla="*/ 423379 w 1075613"/>
                <a:gd name="connsiteY174" fmla="*/ 12596 h 93936"/>
                <a:gd name="connsiteX175" fmla="*/ 422576 w 1075613"/>
                <a:gd name="connsiteY175" fmla="*/ 13201 h 93936"/>
                <a:gd name="connsiteX176" fmla="*/ 422576 w 1075613"/>
                <a:gd name="connsiteY176" fmla="*/ 13399 h 93936"/>
                <a:gd name="connsiteX177" fmla="*/ 422576 w 1075613"/>
                <a:gd name="connsiteY177" fmla="*/ 43897 h 93936"/>
                <a:gd name="connsiteX178" fmla="*/ 423180 w 1075613"/>
                <a:gd name="connsiteY178" fmla="*/ 44699 h 93936"/>
                <a:gd name="connsiteX179" fmla="*/ 423379 w 1075613"/>
                <a:gd name="connsiteY179" fmla="*/ 44699 h 93936"/>
                <a:gd name="connsiteX180" fmla="*/ 519955 w 1075613"/>
                <a:gd name="connsiteY180" fmla="*/ 93923 h 93936"/>
                <a:gd name="connsiteX181" fmla="*/ 500491 w 1075613"/>
                <a:gd name="connsiteY181" fmla="*/ 88573 h 93936"/>
                <a:gd name="connsiteX182" fmla="*/ 489053 w 1075613"/>
                <a:gd name="connsiteY182" fmla="*/ 72655 h 93936"/>
                <a:gd name="connsiteX183" fmla="*/ 487917 w 1075613"/>
                <a:gd name="connsiteY183" fmla="*/ 68494 h 93936"/>
                <a:gd name="connsiteX184" fmla="*/ 487183 w 1075613"/>
                <a:gd name="connsiteY184" fmla="*/ 63479 h 93936"/>
                <a:gd name="connsiteX185" fmla="*/ 486782 w 1075613"/>
                <a:gd name="connsiteY185" fmla="*/ 56589 h 93936"/>
                <a:gd name="connsiteX186" fmla="*/ 486648 w 1075613"/>
                <a:gd name="connsiteY186" fmla="*/ 46958 h 93936"/>
                <a:gd name="connsiteX187" fmla="*/ 486782 w 1075613"/>
                <a:gd name="connsiteY187" fmla="*/ 37327 h 93936"/>
                <a:gd name="connsiteX188" fmla="*/ 487183 w 1075613"/>
                <a:gd name="connsiteY188" fmla="*/ 30440 h 93936"/>
                <a:gd name="connsiteX189" fmla="*/ 487917 w 1075613"/>
                <a:gd name="connsiteY189" fmla="*/ 25426 h 93936"/>
                <a:gd name="connsiteX190" fmla="*/ 489053 w 1075613"/>
                <a:gd name="connsiteY190" fmla="*/ 21264 h 93936"/>
                <a:gd name="connsiteX191" fmla="*/ 500494 w 1075613"/>
                <a:gd name="connsiteY191" fmla="*/ 5358 h 93936"/>
                <a:gd name="connsiteX192" fmla="*/ 539552 w 1075613"/>
                <a:gd name="connsiteY192" fmla="*/ 5358 h 93936"/>
                <a:gd name="connsiteX193" fmla="*/ 550990 w 1075613"/>
                <a:gd name="connsiteY193" fmla="*/ 21276 h 93936"/>
                <a:gd name="connsiteX194" fmla="*/ 552126 w 1075613"/>
                <a:gd name="connsiteY194" fmla="*/ 25437 h 93936"/>
                <a:gd name="connsiteX195" fmla="*/ 552863 w 1075613"/>
                <a:gd name="connsiteY195" fmla="*/ 30455 h 93936"/>
                <a:gd name="connsiteX196" fmla="*/ 553264 w 1075613"/>
                <a:gd name="connsiteY196" fmla="*/ 37342 h 93936"/>
                <a:gd name="connsiteX197" fmla="*/ 553398 w 1075613"/>
                <a:gd name="connsiteY197" fmla="*/ 46973 h 93936"/>
                <a:gd name="connsiteX198" fmla="*/ 553264 w 1075613"/>
                <a:gd name="connsiteY198" fmla="*/ 56604 h 93936"/>
                <a:gd name="connsiteX199" fmla="*/ 552863 w 1075613"/>
                <a:gd name="connsiteY199" fmla="*/ 63494 h 93936"/>
                <a:gd name="connsiteX200" fmla="*/ 552126 w 1075613"/>
                <a:gd name="connsiteY200" fmla="*/ 68512 h 93936"/>
                <a:gd name="connsiteX201" fmla="*/ 550990 w 1075613"/>
                <a:gd name="connsiteY201" fmla="*/ 72673 h 93936"/>
                <a:gd name="connsiteX202" fmla="*/ 539552 w 1075613"/>
                <a:gd name="connsiteY202" fmla="*/ 88591 h 93936"/>
                <a:gd name="connsiteX203" fmla="*/ 519955 w 1075613"/>
                <a:gd name="connsiteY203" fmla="*/ 93923 h 93936"/>
                <a:gd name="connsiteX204" fmla="*/ 519955 w 1075613"/>
                <a:gd name="connsiteY204" fmla="*/ 82821 h 93936"/>
                <a:gd name="connsiteX205" fmla="*/ 532394 w 1075613"/>
                <a:gd name="connsiteY205" fmla="*/ 79343 h 93936"/>
                <a:gd name="connsiteX206" fmla="*/ 539350 w 1075613"/>
                <a:gd name="connsiteY206" fmla="*/ 69311 h 93936"/>
                <a:gd name="connsiteX207" fmla="*/ 540087 w 1075613"/>
                <a:gd name="connsiteY207" fmla="*/ 66300 h 93936"/>
                <a:gd name="connsiteX208" fmla="*/ 540756 w 1075613"/>
                <a:gd name="connsiteY208" fmla="*/ 61821 h 93936"/>
                <a:gd name="connsiteX209" fmla="*/ 541226 w 1075613"/>
                <a:gd name="connsiteY209" fmla="*/ 55534 h 93936"/>
                <a:gd name="connsiteX210" fmla="*/ 541359 w 1075613"/>
                <a:gd name="connsiteY210" fmla="*/ 46973 h 93936"/>
                <a:gd name="connsiteX211" fmla="*/ 541226 w 1075613"/>
                <a:gd name="connsiteY211" fmla="*/ 38412 h 93936"/>
                <a:gd name="connsiteX212" fmla="*/ 540756 w 1075613"/>
                <a:gd name="connsiteY212" fmla="*/ 32126 h 93936"/>
                <a:gd name="connsiteX213" fmla="*/ 540087 w 1075613"/>
                <a:gd name="connsiteY213" fmla="*/ 27646 h 93936"/>
                <a:gd name="connsiteX214" fmla="*/ 539350 w 1075613"/>
                <a:gd name="connsiteY214" fmla="*/ 24635 h 93936"/>
                <a:gd name="connsiteX215" fmla="*/ 532394 w 1075613"/>
                <a:gd name="connsiteY215" fmla="*/ 14603 h 93936"/>
                <a:gd name="connsiteX216" fmla="*/ 519955 w 1075613"/>
                <a:gd name="connsiteY216" fmla="*/ 11125 h 93936"/>
                <a:gd name="connsiteX217" fmla="*/ 507580 w 1075613"/>
                <a:gd name="connsiteY217" fmla="*/ 14603 h 93936"/>
                <a:gd name="connsiteX218" fmla="*/ 500693 w 1075613"/>
                <a:gd name="connsiteY218" fmla="*/ 24635 h 93936"/>
                <a:gd name="connsiteX219" fmla="*/ 499959 w 1075613"/>
                <a:gd name="connsiteY219" fmla="*/ 27646 h 93936"/>
                <a:gd name="connsiteX220" fmla="*/ 499290 w 1075613"/>
                <a:gd name="connsiteY220" fmla="*/ 32126 h 93936"/>
                <a:gd name="connsiteX221" fmla="*/ 498820 w 1075613"/>
                <a:gd name="connsiteY221" fmla="*/ 38412 h 93936"/>
                <a:gd name="connsiteX222" fmla="*/ 498686 w 1075613"/>
                <a:gd name="connsiteY222" fmla="*/ 46973 h 93936"/>
                <a:gd name="connsiteX223" fmla="*/ 498820 w 1075613"/>
                <a:gd name="connsiteY223" fmla="*/ 55534 h 93936"/>
                <a:gd name="connsiteX224" fmla="*/ 499290 w 1075613"/>
                <a:gd name="connsiteY224" fmla="*/ 61821 h 93936"/>
                <a:gd name="connsiteX225" fmla="*/ 499959 w 1075613"/>
                <a:gd name="connsiteY225" fmla="*/ 66300 h 93936"/>
                <a:gd name="connsiteX226" fmla="*/ 500693 w 1075613"/>
                <a:gd name="connsiteY226" fmla="*/ 69311 h 93936"/>
                <a:gd name="connsiteX227" fmla="*/ 507580 w 1075613"/>
                <a:gd name="connsiteY227" fmla="*/ 79343 h 93936"/>
                <a:gd name="connsiteX228" fmla="*/ 519955 w 1075613"/>
                <a:gd name="connsiteY228" fmla="*/ 82821 h 93936"/>
                <a:gd name="connsiteX229" fmla="*/ 625359 w 1075613"/>
                <a:gd name="connsiteY229" fmla="*/ 92452 h 93936"/>
                <a:gd name="connsiteX230" fmla="*/ 623620 w 1075613"/>
                <a:gd name="connsiteY230" fmla="*/ 91114 h 93936"/>
                <a:gd name="connsiteX231" fmla="*/ 605428 w 1075613"/>
                <a:gd name="connsiteY231" fmla="*/ 53929 h 93936"/>
                <a:gd name="connsiteX232" fmla="*/ 585364 w 1075613"/>
                <a:gd name="connsiteY232" fmla="*/ 53929 h 93936"/>
                <a:gd name="connsiteX233" fmla="*/ 584561 w 1075613"/>
                <a:gd name="connsiteY233" fmla="*/ 54533 h 93936"/>
                <a:gd name="connsiteX234" fmla="*/ 584561 w 1075613"/>
                <a:gd name="connsiteY234" fmla="*/ 54731 h 93936"/>
                <a:gd name="connsiteX235" fmla="*/ 584561 w 1075613"/>
                <a:gd name="connsiteY235" fmla="*/ 91114 h 93936"/>
                <a:gd name="connsiteX236" fmla="*/ 583542 w 1075613"/>
                <a:gd name="connsiteY236" fmla="*/ 92452 h 93936"/>
                <a:gd name="connsiteX237" fmla="*/ 583224 w 1075613"/>
                <a:gd name="connsiteY237" fmla="*/ 92452 h 93936"/>
                <a:gd name="connsiteX238" fmla="*/ 573994 w 1075613"/>
                <a:gd name="connsiteY238" fmla="*/ 92452 h 93936"/>
                <a:gd name="connsiteX239" fmla="*/ 572657 w 1075613"/>
                <a:gd name="connsiteY239" fmla="*/ 91433 h 93936"/>
                <a:gd name="connsiteX240" fmla="*/ 572657 w 1075613"/>
                <a:gd name="connsiteY240" fmla="*/ 91114 h 93936"/>
                <a:gd name="connsiteX241" fmla="*/ 572657 w 1075613"/>
                <a:gd name="connsiteY241" fmla="*/ 2832 h 93936"/>
                <a:gd name="connsiteX242" fmla="*/ 573676 w 1075613"/>
                <a:gd name="connsiteY242" fmla="*/ 1494 h 93936"/>
                <a:gd name="connsiteX243" fmla="*/ 573994 w 1075613"/>
                <a:gd name="connsiteY243" fmla="*/ 1494 h 93936"/>
                <a:gd name="connsiteX244" fmla="*/ 606900 w 1075613"/>
                <a:gd name="connsiteY244" fmla="*/ 1494 h 93936"/>
                <a:gd name="connsiteX245" fmla="*/ 618537 w 1075613"/>
                <a:gd name="connsiteY245" fmla="*/ 3367 h 93936"/>
                <a:gd name="connsiteX246" fmla="*/ 627499 w 1075613"/>
                <a:gd name="connsiteY246" fmla="*/ 8652 h 93936"/>
                <a:gd name="connsiteX247" fmla="*/ 633319 w 1075613"/>
                <a:gd name="connsiteY247" fmla="*/ 16945 h 93936"/>
                <a:gd name="connsiteX248" fmla="*/ 635400 w 1075613"/>
                <a:gd name="connsiteY248" fmla="*/ 27711 h 93936"/>
                <a:gd name="connsiteX249" fmla="*/ 630584 w 1075613"/>
                <a:gd name="connsiteY249" fmla="*/ 43361 h 93936"/>
                <a:gd name="connsiteX250" fmla="*/ 617476 w 1075613"/>
                <a:gd name="connsiteY250" fmla="*/ 52457 h 93936"/>
                <a:gd name="connsiteX251" fmla="*/ 636871 w 1075613"/>
                <a:gd name="connsiteY251" fmla="*/ 90847 h 93936"/>
                <a:gd name="connsiteX252" fmla="*/ 637005 w 1075613"/>
                <a:gd name="connsiteY252" fmla="*/ 91982 h 93936"/>
                <a:gd name="connsiteX253" fmla="*/ 636068 w 1075613"/>
                <a:gd name="connsiteY253" fmla="*/ 92452 h 93936"/>
                <a:gd name="connsiteX254" fmla="*/ 606632 w 1075613"/>
                <a:gd name="connsiteY254" fmla="*/ 42826 h 93936"/>
                <a:gd name="connsiteX255" fmla="*/ 619072 w 1075613"/>
                <a:gd name="connsiteY255" fmla="*/ 38882 h 93936"/>
                <a:gd name="connsiteX256" fmla="*/ 623486 w 1075613"/>
                <a:gd name="connsiteY256" fmla="*/ 27711 h 93936"/>
                <a:gd name="connsiteX257" fmla="*/ 619072 w 1075613"/>
                <a:gd name="connsiteY257" fmla="*/ 16544 h 93936"/>
                <a:gd name="connsiteX258" fmla="*/ 606632 w 1075613"/>
                <a:gd name="connsiteY258" fmla="*/ 12599 h 93936"/>
                <a:gd name="connsiteX259" fmla="*/ 585364 w 1075613"/>
                <a:gd name="connsiteY259" fmla="*/ 12599 h 93936"/>
                <a:gd name="connsiteX260" fmla="*/ 584561 w 1075613"/>
                <a:gd name="connsiteY260" fmla="*/ 13204 h 93936"/>
                <a:gd name="connsiteX261" fmla="*/ 584561 w 1075613"/>
                <a:gd name="connsiteY261" fmla="*/ 13402 h 93936"/>
                <a:gd name="connsiteX262" fmla="*/ 584561 w 1075613"/>
                <a:gd name="connsiteY262" fmla="*/ 42027 h 93936"/>
                <a:gd name="connsiteX263" fmla="*/ 585165 w 1075613"/>
                <a:gd name="connsiteY263" fmla="*/ 42829 h 93936"/>
                <a:gd name="connsiteX264" fmla="*/ 585364 w 1075613"/>
                <a:gd name="connsiteY264" fmla="*/ 42829 h 93936"/>
                <a:gd name="connsiteX265" fmla="*/ 674717 w 1075613"/>
                <a:gd name="connsiteY265" fmla="*/ 92452 h 93936"/>
                <a:gd name="connsiteX266" fmla="*/ 673379 w 1075613"/>
                <a:gd name="connsiteY266" fmla="*/ 91433 h 93936"/>
                <a:gd name="connsiteX267" fmla="*/ 673379 w 1075613"/>
                <a:gd name="connsiteY267" fmla="*/ 91114 h 93936"/>
                <a:gd name="connsiteX268" fmla="*/ 673379 w 1075613"/>
                <a:gd name="connsiteY268" fmla="*/ 13384 h 93936"/>
                <a:gd name="connsiteX269" fmla="*/ 672776 w 1075613"/>
                <a:gd name="connsiteY269" fmla="*/ 12581 h 93936"/>
                <a:gd name="connsiteX270" fmla="*/ 672576 w 1075613"/>
                <a:gd name="connsiteY270" fmla="*/ 12581 h 93936"/>
                <a:gd name="connsiteX271" fmla="*/ 647697 w 1075613"/>
                <a:gd name="connsiteY271" fmla="*/ 12581 h 93936"/>
                <a:gd name="connsiteX272" fmla="*/ 646359 w 1075613"/>
                <a:gd name="connsiteY272" fmla="*/ 11563 h 93936"/>
                <a:gd name="connsiteX273" fmla="*/ 646359 w 1075613"/>
                <a:gd name="connsiteY273" fmla="*/ 11244 h 93936"/>
                <a:gd name="connsiteX274" fmla="*/ 646359 w 1075613"/>
                <a:gd name="connsiteY274" fmla="*/ 2832 h 93936"/>
                <a:gd name="connsiteX275" fmla="*/ 647379 w 1075613"/>
                <a:gd name="connsiteY275" fmla="*/ 1494 h 93936"/>
                <a:gd name="connsiteX276" fmla="*/ 647697 w 1075613"/>
                <a:gd name="connsiteY276" fmla="*/ 1494 h 93936"/>
                <a:gd name="connsiteX277" fmla="*/ 710966 w 1075613"/>
                <a:gd name="connsiteY277" fmla="*/ 1494 h 93936"/>
                <a:gd name="connsiteX278" fmla="*/ 712304 w 1075613"/>
                <a:gd name="connsiteY278" fmla="*/ 2513 h 93936"/>
                <a:gd name="connsiteX279" fmla="*/ 712304 w 1075613"/>
                <a:gd name="connsiteY279" fmla="*/ 2832 h 93936"/>
                <a:gd name="connsiteX280" fmla="*/ 712304 w 1075613"/>
                <a:gd name="connsiteY280" fmla="*/ 11259 h 93936"/>
                <a:gd name="connsiteX281" fmla="*/ 711284 w 1075613"/>
                <a:gd name="connsiteY281" fmla="*/ 12596 h 93936"/>
                <a:gd name="connsiteX282" fmla="*/ 710966 w 1075613"/>
                <a:gd name="connsiteY282" fmla="*/ 12596 h 93936"/>
                <a:gd name="connsiteX283" fmla="*/ 686086 w 1075613"/>
                <a:gd name="connsiteY283" fmla="*/ 12596 h 93936"/>
                <a:gd name="connsiteX284" fmla="*/ 685284 w 1075613"/>
                <a:gd name="connsiteY284" fmla="*/ 13201 h 93936"/>
                <a:gd name="connsiteX285" fmla="*/ 685284 w 1075613"/>
                <a:gd name="connsiteY285" fmla="*/ 13399 h 93936"/>
                <a:gd name="connsiteX286" fmla="*/ 685284 w 1075613"/>
                <a:gd name="connsiteY286" fmla="*/ 91114 h 93936"/>
                <a:gd name="connsiteX287" fmla="*/ 684264 w 1075613"/>
                <a:gd name="connsiteY287" fmla="*/ 92452 h 93936"/>
                <a:gd name="connsiteX288" fmla="*/ 683946 w 1075613"/>
                <a:gd name="connsiteY288" fmla="*/ 92452 h 93936"/>
                <a:gd name="connsiteX289" fmla="*/ 740393 w 1075613"/>
                <a:gd name="connsiteY289" fmla="*/ 2832 h 93936"/>
                <a:gd name="connsiteX290" fmla="*/ 741999 w 1075613"/>
                <a:gd name="connsiteY290" fmla="*/ 1494 h 93936"/>
                <a:gd name="connsiteX291" fmla="*/ 750693 w 1075613"/>
                <a:gd name="connsiteY291" fmla="*/ 1494 h 93936"/>
                <a:gd name="connsiteX292" fmla="*/ 752432 w 1075613"/>
                <a:gd name="connsiteY292" fmla="*/ 2832 h 93936"/>
                <a:gd name="connsiteX293" fmla="*/ 783598 w 1075613"/>
                <a:gd name="connsiteY293" fmla="*/ 91114 h 93936"/>
                <a:gd name="connsiteX294" fmla="*/ 782662 w 1075613"/>
                <a:gd name="connsiteY294" fmla="*/ 92452 h 93936"/>
                <a:gd name="connsiteX295" fmla="*/ 773299 w 1075613"/>
                <a:gd name="connsiteY295" fmla="*/ 92452 h 93936"/>
                <a:gd name="connsiteX296" fmla="*/ 771560 w 1075613"/>
                <a:gd name="connsiteY296" fmla="*/ 91114 h 93936"/>
                <a:gd name="connsiteX297" fmla="*/ 764604 w 1075613"/>
                <a:gd name="connsiteY297" fmla="*/ 71318 h 93936"/>
                <a:gd name="connsiteX298" fmla="*/ 727820 w 1075613"/>
                <a:gd name="connsiteY298" fmla="*/ 71318 h 93936"/>
                <a:gd name="connsiteX299" fmla="*/ 720864 w 1075613"/>
                <a:gd name="connsiteY299" fmla="*/ 91114 h 93936"/>
                <a:gd name="connsiteX300" fmla="*/ 719125 w 1075613"/>
                <a:gd name="connsiteY300" fmla="*/ 92452 h 93936"/>
                <a:gd name="connsiteX301" fmla="*/ 709762 w 1075613"/>
                <a:gd name="connsiteY301" fmla="*/ 92452 h 93936"/>
                <a:gd name="connsiteX302" fmla="*/ 708826 w 1075613"/>
                <a:gd name="connsiteY302" fmla="*/ 91114 h 93936"/>
                <a:gd name="connsiteX303" fmla="*/ 760725 w 1075613"/>
                <a:gd name="connsiteY303" fmla="*/ 60349 h 93936"/>
                <a:gd name="connsiteX304" fmla="*/ 746413 w 1075613"/>
                <a:gd name="connsiteY304" fmla="*/ 19017 h 93936"/>
                <a:gd name="connsiteX305" fmla="*/ 746145 w 1075613"/>
                <a:gd name="connsiteY305" fmla="*/ 19017 h 93936"/>
                <a:gd name="connsiteX306" fmla="*/ 731699 w 1075613"/>
                <a:gd name="connsiteY306" fmla="*/ 60349 h 93936"/>
                <a:gd name="connsiteX307" fmla="*/ 808478 w 1075613"/>
                <a:gd name="connsiteY307" fmla="*/ 92452 h 93936"/>
                <a:gd name="connsiteX308" fmla="*/ 807140 w 1075613"/>
                <a:gd name="connsiteY308" fmla="*/ 91433 h 93936"/>
                <a:gd name="connsiteX309" fmla="*/ 807140 w 1075613"/>
                <a:gd name="connsiteY309" fmla="*/ 91114 h 93936"/>
                <a:gd name="connsiteX310" fmla="*/ 807140 w 1075613"/>
                <a:gd name="connsiteY310" fmla="*/ 13384 h 93936"/>
                <a:gd name="connsiteX311" fmla="*/ 806537 w 1075613"/>
                <a:gd name="connsiteY311" fmla="*/ 12581 h 93936"/>
                <a:gd name="connsiteX312" fmla="*/ 806338 w 1075613"/>
                <a:gd name="connsiteY312" fmla="*/ 12581 h 93936"/>
                <a:gd name="connsiteX313" fmla="*/ 781458 w 1075613"/>
                <a:gd name="connsiteY313" fmla="*/ 12581 h 93936"/>
                <a:gd name="connsiteX314" fmla="*/ 780121 w 1075613"/>
                <a:gd name="connsiteY314" fmla="*/ 11563 h 93936"/>
                <a:gd name="connsiteX315" fmla="*/ 780121 w 1075613"/>
                <a:gd name="connsiteY315" fmla="*/ 11244 h 93936"/>
                <a:gd name="connsiteX316" fmla="*/ 780121 w 1075613"/>
                <a:gd name="connsiteY316" fmla="*/ 2832 h 93936"/>
                <a:gd name="connsiteX317" fmla="*/ 781140 w 1075613"/>
                <a:gd name="connsiteY317" fmla="*/ 1494 h 93936"/>
                <a:gd name="connsiteX318" fmla="*/ 781458 w 1075613"/>
                <a:gd name="connsiteY318" fmla="*/ 1494 h 93936"/>
                <a:gd name="connsiteX319" fmla="*/ 844727 w 1075613"/>
                <a:gd name="connsiteY319" fmla="*/ 1494 h 93936"/>
                <a:gd name="connsiteX320" fmla="*/ 846065 w 1075613"/>
                <a:gd name="connsiteY320" fmla="*/ 2513 h 93936"/>
                <a:gd name="connsiteX321" fmla="*/ 846065 w 1075613"/>
                <a:gd name="connsiteY321" fmla="*/ 2832 h 93936"/>
                <a:gd name="connsiteX322" fmla="*/ 846065 w 1075613"/>
                <a:gd name="connsiteY322" fmla="*/ 11259 h 93936"/>
                <a:gd name="connsiteX323" fmla="*/ 845046 w 1075613"/>
                <a:gd name="connsiteY323" fmla="*/ 12596 h 93936"/>
                <a:gd name="connsiteX324" fmla="*/ 844727 w 1075613"/>
                <a:gd name="connsiteY324" fmla="*/ 12596 h 93936"/>
                <a:gd name="connsiteX325" fmla="*/ 819848 w 1075613"/>
                <a:gd name="connsiteY325" fmla="*/ 12596 h 93936"/>
                <a:gd name="connsiteX326" fmla="*/ 819045 w 1075613"/>
                <a:gd name="connsiteY326" fmla="*/ 13201 h 93936"/>
                <a:gd name="connsiteX327" fmla="*/ 819045 w 1075613"/>
                <a:gd name="connsiteY327" fmla="*/ 13399 h 93936"/>
                <a:gd name="connsiteX328" fmla="*/ 819045 w 1075613"/>
                <a:gd name="connsiteY328" fmla="*/ 91114 h 93936"/>
                <a:gd name="connsiteX329" fmla="*/ 818026 w 1075613"/>
                <a:gd name="connsiteY329" fmla="*/ 92452 h 93936"/>
                <a:gd name="connsiteX330" fmla="*/ 817708 w 1075613"/>
                <a:gd name="connsiteY330" fmla="*/ 92452 h 93936"/>
                <a:gd name="connsiteX331" fmla="*/ 860259 w 1075613"/>
                <a:gd name="connsiteY331" fmla="*/ 2832 h 93936"/>
                <a:gd name="connsiteX332" fmla="*/ 861278 w 1075613"/>
                <a:gd name="connsiteY332" fmla="*/ 1494 h 93936"/>
                <a:gd name="connsiteX333" fmla="*/ 861596 w 1075613"/>
                <a:gd name="connsiteY333" fmla="*/ 1494 h 93936"/>
                <a:gd name="connsiteX334" fmla="*/ 870811 w 1075613"/>
                <a:gd name="connsiteY334" fmla="*/ 1494 h 93936"/>
                <a:gd name="connsiteX335" fmla="*/ 872149 w 1075613"/>
                <a:gd name="connsiteY335" fmla="*/ 2513 h 93936"/>
                <a:gd name="connsiteX336" fmla="*/ 872149 w 1075613"/>
                <a:gd name="connsiteY336" fmla="*/ 2832 h 93936"/>
                <a:gd name="connsiteX337" fmla="*/ 872149 w 1075613"/>
                <a:gd name="connsiteY337" fmla="*/ 91114 h 93936"/>
                <a:gd name="connsiteX338" fmla="*/ 871129 w 1075613"/>
                <a:gd name="connsiteY338" fmla="*/ 92452 h 93936"/>
                <a:gd name="connsiteX339" fmla="*/ 870811 w 1075613"/>
                <a:gd name="connsiteY339" fmla="*/ 92452 h 93936"/>
                <a:gd name="connsiteX340" fmla="*/ 861596 w 1075613"/>
                <a:gd name="connsiteY340" fmla="*/ 92452 h 93936"/>
                <a:gd name="connsiteX341" fmla="*/ 860259 w 1075613"/>
                <a:gd name="connsiteY341" fmla="*/ 91433 h 93936"/>
                <a:gd name="connsiteX342" fmla="*/ 860259 w 1075613"/>
                <a:gd name="connsiteY342" fmla="*/ 91114 h 93936"/>
                <a:gd name="connsiteX343" fmla="*/ 924732 w 1075613"/>
                <a:gd name="connsiteY343" fmla="*/ 93923 h 93936"/>
                <a:gd name="connsiteX344" fmla="*/ 905271 w 1075613"/>
                <a:gd name="connsiteY344" fmla="*/ 88573 h 93936"/>
                <a:gd name="connsiteX345" fmla="*/ 893833 w 1075613"/>
                <a:gd name="connsiteY345" fmla="*/ 72655 h 93936"/>
                <a:gd name="connsiteX346" fmla="*/ 892694 w 1075613"/>
                <a:gd name="connsiteY346" fmla="*/ 68494 h 93936"/>
                <a:gd name="connsiteX347" fmla="*/ 891960 w 1075613"/>
                <a:gd name="connsiteY347" fmla="*/ 63479 h 93936"/>
                <a:gd name="connsiteX348" fmla="*/ 891559 w 1075613"/>
                <a:gd name="connsiteY348" fmla="*/ 56589 h 93936"/>
                <a:gd name="connsiteX349" fmla="*/ 891425 w 1075613"/>
                <a:gd name="connsiteY349" fmla="*/ 46958 h 93936"/>
                <a:gd name="connsiteX350" fmla="*/ 891559 w 1075613"/>
                <a:gd name="connsiteY350" fmla="*/ 37327 h 93936"/>
                <a:gd name="connsiteX351" fmla="*/ 891960 w 1075613"/>
                <a:gd name="connsiteY351" fmla="*/ 30440 h 93936"/>
                <a:gd name="connsiteX352" fmla="*/ 892694 w 1075613"/>
                <a:gd name="connsiteY352" fmla="*/ 25426 h 93936"/>
                <a:gd name="connsiteX353" fmla="*/ 893833 w 1075613"/>
                <a:gd name="connsiteY353" fmla="*/ 21264 h 93936"/>
                <a:gd name="connsiteX354" fmla="*/ 905256 w 1075613"/>
                <a:gd name="connsiteY354" fmla="*/ 5358 h 93936"/>
                <a:gd name="connsiteX355" fmla="*/ 944314 w 1075613"/>
                <a:gd name="connsiteY355" fmla="*/ 5358 h 93936"/>
                <a:gd name="connsiteX356" fmla="*/ 955752 w 1075613"/>
                <a:gd name="connsiteY356" fmla="*/ 21276 h 93936"/>
                <a:gd name="connsiteX357" fmla="*/ 956891 w 1075613"/>
                <a:gd name="connsiteY357" fmla="*/ 25437 h 93936"/>
                <a:gd name="connsiteX358" fmla="*/ 957625 w 1075613"/>
                <a:gd name="connsiteY358" fmla="*/ 30455 h 93936"/>
                <a:gd name="connsiteX359" fmla="*/ 958026 w 1075613"/>
                <a:gd name="connsiteY359" fmla="*/ 37342 h 93936"/>
                <a:gd name="connsiteX360" fmla="*/ 958160 w 1075613"/>
                <a:gd name="connsiteY360" fmla="*/ 46973 h 93936"/>
                <a:gd name="connsiteX361" fmla="*/ 958026 w 1075613"/>
                <a:gd name="connsiteY361" fmla="*/ 56604 h 93936"/>
                <a:gd name="connsiteX362" fmla="*/ 957625 w 1075613"/>
                <a:gd name="connsiteY362" fmla="*/ 63494 h 93936"/>
                <a:gd name="connsiteX363" fmla="*/ 956891 w 1075613"/>
                <a:gd name="connsiteY363" fmla="*/ 68512 h 93936"/>
                <a:gd name="connsiteX364" fmla="*/ 955752 w 1075613"/>
                <a:gd name="connsiteY364" fmla="*/ 72673 h 93936"/>
                <a:gd name="connsiteX365" fmla="*/ 944314 w 1075613"/>
                <a:gd name="connsiteY365" fmla="*/ 88591 h 93936"/>
                <a:gd name="connsiteX366" fmla="*/ 924717 w 1075613"/>
                <a:gd name="connsiteY366" fmla="*/ 93923 h 93936"/>
                <a:gd name="connsiteX367" fmla="*/ 924732 w 1075613"/>
                <a:gd name="connsiteY367" fmla="*/ 82821 h 93936"/>
                <a:gd name="connsiteX368" fmla="*/ 937171 w 1075613"/>
                <a:gd name="connsiteY368" fmla="*/ 79343 h 93936"/>
                <a:gd name="connsiteX369" fmla="*/ 944127 w 1075613"/>
                <a:gd name="connsiteY369" fmla="*/ 69311 h 93936"/>
                <a:gd name="connsiteX370" fmla="*/ 944861 w 1075613"/>
                <a:gd name="connsiteY370" fmla="*/ 66300 h 93936"/>
                <a:gd name="connsiteX371" fmla="*/ 945530 w 1075613"/>
                <a:gd name="connsiteY371" fmla="*/ 61821 h 93936"/>
                <a:gd name="connsiteX372" fmla="*/ 946000 w 1075613"/>
                <a:gd name="connsiteY372" fmla="*/ 55534 h 93936"/>
                <a:gd name="connsiteX373" fmla="*/ 946134 w 1075613"/>
                <a:gd name="connsiteY373" fmla="*/ 46973 h 93936"/>
                <a:gd name="connsiteX374" fmla="*/ 946000 w 1075613"/>
                <a:gd name="connsiteY374" fmla="*/ 38412 h 93936"/>
                <a:gd name="connsiteX375" fmla="*/ 945530 w 1075613"/>
                <a:gd name="connsiteY375" fmla="*/ 32126 h 93936"/>
                <a:gd name="connsiteX376" fmla="*/ 944861 w 1075613"/>
                <a:gd name="connsiteY376" fmla="*/ 27646 h 93936"/>
                <a:gd name="connsiteX377" fmla="*/ 944127 w 1075613"/>
                <a:gd name="connsiteY377" fmla="*/ 24635 h 93936"/>
                <a:gd name="connsiteX378" fmla="*/ 937171 w 1075613"/>
                <a:gd name="connsiteY378" fmla="*/ 14603 h 93936"/>
                <a:gd name="connsiteX379" fmla="*/ 924732 w 1075613"/>
                <a:gd name="connsiteY379" fmla="*/ 11125 h 93936"/>
                <a:gd name="connsiteX380" fmla="*/ 912357 w 1075613"/>
                <a:gd name="connsiteY380" fmla="*/ 14603 h 93936"/>
                <a:gd name="connsiteX381" fmla="*/ 905467 w 1075613"/>
                <a:gd name="connsiteY381" fmla="*/ 24635 h 93936"/>
                <a:gd name="connsiteX382" fmla="*/ 904733 w 1075613"/>
                <a:gd name="connsiteY382" fmla="*/ 27646 h 93936"/>
                <a:gd name="connsiteX383" fmla="*/ 904064 w 1075613"/>
                <a:gd name="connsiteY383" fmla="*/ 32126 h 93936"/>
                <a:gd name="connsiteX384" fmla="*/ 903594 w 1075613"/>
                <a:gd name="connsiteY384" fmla="*/ 38412 h 93936"/>
                <a:gd name="connsiteX385" fmla="*/ 903461 w 1075613"/>
                <a:gd name="connsiteY385" fmla="*/ 46973 h 93936"/>
                <a:gd name="connsiteX386" fmla="*/ 903594 w 1075613"/>
                <a:gd name="connsiteY386" fmla="*/ 55534 h 93936"/>
                <a:gd name="connsiteX387" fmla="*/ 904064 w 1075613"/>
                <a:gd name="connsiteY387" fmla="*/ 61821 h 93936"/>
                <a:gd name="connsiteX388" fmla="*/ 904733 w 1075613"/>
                <a:gd name="connsiteY388" fmla="*/ 66300 h 93936"/>
                <a:gd name="connsiteX389" fmla="*/ 905467 w 1075613"/>
                <a:gd name="connsiteY389" fmla="*/ 69311 h 93936"/>
                <a:gd name="connsiteX390" fmla="*/ 912357 w 1075613"/>
                <a:gd name="connsiteY390" fmla="*/ 79343 h 93936"/>
                <a:gd name="connsiteX391" fmla="*/ 924717 w 1075613"/>
                <a:gd name="connsiteY391" fmla="*/ 82821 h 93936"/>
                <a:gd name="connsiteX392" fmla="*/ 977434 w 1075613"/>
                <a:gd name="connsiteY392" fmla="*/ 2832 h 93936"/>
                <a:gd name="connsiteX393" fmla="*/ 978453 w 1075613"/>
                <a:gd name="connsiteY393" fmla="*/ 1494 h 93936"/>
                <a:gd name="connsiteX394" fmla="*/ 978771 w 1075613"/>
                <a:gd name="connsiteY394" fmla="*/ 1494 h 93936"/>
                <a:gd name="connsiteX395" fmla="*/ 987332 w 1075613"/>
                <a:gd name="connsiteY395" fmla="*/ 1494 h 93936"/>
                <a:gd name="connsiteX396" fmla="*/ 989606 w 1075613"/>
                <a:gd name="connsiteY396" fmla="*/ 2832 h 93936"/>
                <a:gd name="connsiteX397" fmla="*/ 1030790 w 1075613"/>
                <a:gd name="connsiteY397" fmla="*/ 71050 h 93936"/>
                <a:gd name="connsiteX398" fmla="*/ 1031325 w 1075613"/>
                <a:gd name="connsiteY398" fmla="*/ 71050 h 93936"/>
                <a:gd name="connsiteX399" fmla="*/ 1031325 w 1075613"/>
                <a:gd name="connsiteY399" fmla="*/ 2832 h 93936"/>
                <a:gd name="connsiteX400" fmla="*/ 1032344 w 1075613"/>
                <a:gd name="connsiteY400" fmla="*/ 1494 h 93936"/>
                <a:gd name="connsiteX401" fmla="*/ 1032662 w 1075613"/>
                <a:gd name="connsiteY401" fmla="*/ 1494 h 93936"/>
                <a:gd name="connsiteX402" fmla="*/ 1041089 w 1075613"/>
                <a:gd name="connsiteY402" fmla="*/ 1494 h 93936"/>
                <a:gd name="connsiteX403" fmla="*/ 1042427 w 1075613"/>
                <a:gd name="connsiteY403" fmla="*/ 2513 h 93936"/>
                <a:gd name="connsiteX404" fmla="*/ 1042427 w 1075613"/>
                <a:gd name="connsiteY404" fmla="*/ 2832 h 93936"/>
                <a:gd name="connsiteX405" fmla="*/ 1042427 w 1075613"/>
                <a:gd name="connsiteY405" fmla="*/ 91114 h 93936"/>
                <a:gd name="connsiteX406" fmla="*/ 1041407 w 1075613"/>
                <a:gd name="connsiteY406" fmla="*/ 92452 h 93936"/>
                <a:gd name="connsiteX407" fmla="*/ 1041089 w 1075613"/>
                <a:gd name="connsiteY407" fmla="*/ 92452 h 93936"/>
                <a:gd name="connsiteX408" fmla="*/ 1032529 w 1075613"/>
                <a:gd name="connsiteY408" fmla="*/ 92452 h 93936"/>
                <a:gd name="connsiteX409" fmla="*/ 1030255 w 1075613"/>
                <a:gd name="connsiteY409" fmla="*/ 91114 h 93936"/>
                <a:gd name="connsiteX410" fmla="*/ 988937 w 1075613"/>
                <a:gd name="connsiteY410" fmla="*/ 23164 h 93936"/>
                <a:gd name="connsiteX411" fmla="*/ 988536 w 1075613"/>
                <a:gd name="connsiteY411" fmla="*/ 23164 h 93936"/>
                <a:gd name="connsiteX412" fmla="*/ 988536 w 1075613"/>
                <a:gd name="connsiteY412" fmla="*/ 91114 h 93936"/>
                <a:gd name="connsiteX413" fmla="*/ 987519 w 1075613"/>
                <a:gd name="connsiteY413" fmla="*/ 92454 h 93936"/>
                <a:gd name="connsiteX414" fmla="*/ 987183 w 1075613"/>
                <a:gd name="connsiteY414" fmla="*/ 92452 h 93936"/>
                <a:gd name="connsiteX415" fmla="*/ 978756 w 1075613"/>
                <a:gd name="connsiteY415" fmla="*/ 92452 h 93936"/>
                <a:gd name="connsiteX416" fmla="*/ 977419 w 1075613"/>
                <a:gd name="connsiteY416" fmla="*/ 91433 h 93936"/>
                <a:gd name="connsiteX417" fmla="*/ 977419 w 1075613"/>
                <a:gd name="connsiteY417" fmla="*/ 91114 h 93936"/>
                <a:gd name="connsiteX418" fmla="*/ 1063041 w 1075613"/>
                <a:gd name="connsiteY418" fmla="*/ 79611 h 93936"/>
                <a:gd name="connsiteX419" fmla="*/ 1064061 w 1075613"/>
                <a:gd name="connsiteY419" fmla="*/ 78273 h 93936"/>
                <a:gd name="connsiteX420" fmla="*/ 1064379 w 1075613"/>
                <a:gd name="connsiteY420" fmla="*/ 78273 h 93936"/>
                <a:gd name="connsiteX421" fmla="*/ 1074545 w 1075613"/>
                <a:gd name="connsiteY421" fmla="*/ 78273 h 93936"/>
                <a:gd name="connsiteX422" fmla="*/ 1075882 w 1075613"/>
                <a:gd name="connsiteY422" fmla="*/ 79292 h 93936"/>
                <a:gd name="connsiteX423" fmla="*/ 1075882 w 1075613"/>
                <a:gd name="connsiteY423" fmla="*/ 79611 h 93936"/>
                <a:gd name="connsiteX424" fmla="*/ 1075882 w 1075613"/>
                <a:gd name="connsiteY424" fmla="*/ 91114 h 93936"/>
                <a:gd name="connsiteX425" fmla="*/ 1074863 w 1075613"/>
                <a:gd name="connsiteY425" fmla="*/ 92452 h 93936"/>
                <a:gd name="connsiteX426" fmla="*/ 1074545 w 1075613"/>
                <a:gd name="connsiteY426" fmla="*/ 92452 h 93936"/>
                <a:gd name="connsiteX427" fmla="*/ 1064379 w 1075613"/>
                <a:gd name="connsiteY427" fmla="*/ 92452 h 93936"/>
                <a:gd name="connsiteX428" fmla="*/ 1063041 w 1075613"/>
                <a:gd name="connsiteY428" fmla="*/ 91433 h 93936"/>
                <a:gd name="connsiteX429" fmla="*/ 1063041 w 1075613"/>
                <a:gd name="connsiteY429" fmla="*/ 91114 h 9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Lst>
              <a:rect l="l" t="t" r="r" b="b"/>
              <a:pathLst>
                <a:path w="1075613" h="93936">
                  <a:moveTo>
                    <a:pt x="28649" y="92452"/>
                  </a:moveTo>
                  <a:cubicBezTo>
                    <a:pt x="27998" y="92540"/>
                    <a:pt x="27399" y="92084"/>
                    <a:pt x="27311" y="91433"/>
                  </a:cubicBezTo>
                  <a:cubicBezTo>
                    <a:pt x="27297" y="91327"/>
                    <a:pt x="27297" y="91220"/>
                    <a:pt x="27311" y="91114"/>
                  </a:cubicBezTo>
                  <a:lnTo>
                    <a:pt x="27311" y="13384"/>
                  </a:lnTo>
                  <a:cubicBezTo>
                    <a:pt x="27366" y="12996"/>
                    <a:pt x="27095" y="12636"/>
                    <a:pt x="26706" y="12581"/>
                  </a:cubicBezTo>
                  <a:cubicBezTo>
                    <a:pt x="26641" y="12572"/>
                    <a:pt x="26574" y="12572"/>
                    <a:pt x="26508" y="12581"/>
                  </a:cubicBezTo>
                  <a:lnTo>
                    <a:pt x="1629" y="12581"/>
                  </a:lnTo>
                  <a:cubicBezTo>
                    <a:pt x="978" y="12670"/>
                    <a:pt x="379" y="12213"/>
                    <a:pt x="291" y="11563"/>
                  </a:cubicBezTo>
                  <a:cubicBezTo>
                    <a:pt x="277" y="11457"/>
                    <a:pt x="277" y="11350"/>
                    <a:pt x="291" y="11244"/>
                  </a:cubicBezTo>
                  <a:lnTo>
                    <a:pt x="291" y="2832"/>
                  </a:lnTo>
                  <a:cubicBezTo>
                    <a:pt x="203" y="2181"/>
                    <a:pt x="659" y="1582"/>
                    <a:pt x="1310" y="1494"/>
                  </a:cubicBezTo>
                  <a:cubicBezTo>
                    <a:pt x="1416" y="1480"/>
                    <a:pt x="1523" y="1480"/>
                    <a:pt x="1629" y="1494"/>
                  </a:cubicBezTo>
                  <a:lnTo>
                    <a:pt x="64898" y="1494"/>
                  </a:lnTo>
                  <a:cubicBezTo>
                    <a:pt x="65549" y="1406"/>
                    <a:pt x="66147" y="1862"/>
                    <a:pt x="66235" y="2513"/>
                  </a:cubicBezTo>
                  <a:cubicBezTo>
                    <a:pt x="66250" y="2619"/>
                    <a:pt x="66250" y="2726"/>
                    <a:pt x="66235" y="2832"/>
                  </a:cubicBezTo>
                  <a:lnTo>
                    <a:pt x="66235" y="11259"/>
                  </a:lnTo>
                  <a:cubicBezTo>
                    <a:pt x="66323" y="11909"/>
                    <a:pt x="65867" y="12508"/>
                    <a:pt x="65217" y="12596"/>
                  </a:cubicBezTo>
                  <a:cubicBezTo>
                    <a:pt x="65111" y="12611"/>
                    <a:pt x="65004" y="12611"/>
                    <a:pt x="64898" y="12596"/>
                  </a:cubicBezTo>
                  <a:lnTo>
                    <a:pt x="40018" y="12596"/>
                  </a:lnTo>
                  <a:cubicBezTo>
                    <a:pt x="39630" y="12542"/>
                    <a:pt x="39270" y="12812"/>
                    <a:pt x="39216" y="13201"/>
                  </a:cubicBezTo>
                  <a:cubicBezTo>
                    <a:pt x="39206" y="13266"/>
                    <a:pt x="39206" y="13333"/>
                    <a:pt x="39216" y="13399"/>
                  </a:cubicBezTo>
                  <a:lnTo>
                    <a:pt x="39216" y="91114"/>
                  </a:lnTo>
                  <a:cubicBezTo>
                    <a:pt x="39304" y="91765"/>
                    <a:pt x="38847" y="92364"/>
                    <a:pt x="38197" y="92452"/>
                  </a:cubicBezTo>
                  <a:cubicBezTo>
                    <a:pt x="38091" y="92466"/>
                    <a:pt x="37984" y="92466"/>
                    <a:pt x="37878" y="92452"/>
                  </a:cubicBezTo>
                  <a:close/>
                  <a:moveTo>
                    <a:pt x="133116" y="92452"/>
                  </a:moveTo>
                  <a:cubicBezTo>
                    <a:pt x="132302" y="92446"/>
                    <a:pt x="131592" y="91899"/>
                    <a:pt x="131377" y="91114"/>
                  </a:cubicBezTo>
                  <a:lnTo>
                    <a:pt x="113186" y="53929"/>
                  </a:lnTo>
                  <a:lnTo>
                    <a:pt x="93122" y="53929"/>
                  </a:lnTo>
                  <a:cubicBezTo>
                    <a:pt x="92733" y="53874"/>
                    <a:pt x="92374" y="54144"/>
                    <a:pt x="92319" y="54533"/>
                  </a:cubicBezTo>
                  <a:cubicBezTo>
                    <a:pt x="92310" y="54599"/>
                    <a:pt x="92310" y="54666"/>
                    <a:pt x="92319" y="54731"/>
                  </a:cubicBezTo>
                  <a:lnTo>
                    <a:pt x="92319" y="91114"/>
                  </a:lnTo>
                  <a:cubicBezTo>
                    <a:pt x="92407" y="91765"/>
                    <a:pt x="91951" y="92364"/>
                    <a:pt x="91300" y="92452"/>
                  </a:cubicBezTo>
                  <a:cubicBezTo>
                    <a:pt x="91194" y="92466"/>
                    <a:pt x="91087" y="92466"/>
                    <a:pt x="90981" y="92452"/>
                  </a:cubicBezTo>
                  <a:lnTo>
                    <a:pt x="81767" y="92452"/>
                  </a:lnTo>
                  <a:cubicBezTo>
                    <a:pt x="81116" y="92540"/>
                    <a:pt x="80517" y="92084"/>
                    <a:pt x="80429" y="91433"/>
                  </a:cubicBezTo>
                  <a:cubicBezTo>
                    <a:pt x="80415" y="91327"/>
                    <a:pt x="80415" y="91220"/>
                    <a:pt x="80429" y="91114"/>
                  </a:cubicBezTo>
                  <a:lnTo>
                    <a:pt x="80429" y="2832"/>
                  </a:lnTo>
                  <a:cubicBezTo>
                    <a:pt x="80341" y="2181"/>
                    <a:pt x="80797" y="1582"/>
                    <a:pt x="81448" y="1494"/>
                  </a:cubicBezTo>
                  <a:cubicBezTo>
                    <a:pt x="81554" y="1480"/>
                    <a:pt x="81661" y="1480"/>
                    <a:pt x="81767" y="1494"/>
                  </a:cubicBezTo>
                  <a:lnTo>
                    <a:pt x="114672" y="1494"/>
                  </a:lnTo>
                  <a:cubicBezTo>
                    <a:pt x="118630" y="1441"/>
                    <a:pt x="122568" y="2075"/>
                    <a:pt x="126309" y="3367"/>
                  </a:cubicBezTo>
                  <a:cubicBezTo>
                    <a:pt x="129618" y="4515"/>
                    <a:pt x="132664" y="6310"/>
                    <a:pt x="135271" y="8649"/>
                  </a:cubicBezTo>
                  <a:cubicBezTo>
                    <a:pt x="137788" y="10960"/>
                    <a:pt x="139769" y="13794"/>
                    <a:pt x="141077" y="16951"/>
                  </a:cubicBezTo>
                  <a:cubicBezTo>
                    <a:pt x="142492" y="20362"/>
                    <a:pt x="143200" y="24025"/>
                    <a:pt x="143157" y="27717"/>
                  </a:cubicBezTo>
                  <a:cubicBezTo>
                    <a:pt x="143328" y="33323"/>
                    <a:pt x="141635" y="38828"/>
                    <a:pt x="138342" y="43367"/>
                  </a:cubicBezTo>
                  <a:cubicBezTo>
                    <a:pt x="135044" y="47709"/>
                    <a:pt x="130455" y="50894"/>
                    <a:pt x="125233" y="52463"/>
                  </a:cubicBezTo>
                  <a:lnTo>
                    <a:pt x="144620" y="90847"/>
                  </a:lnTo>
                  <a:cubicBezTo>
                    <a:pt x="144875" y="91170"/>
                    <a:pt x="144927" y="91609"/>
                    <a:pt x="144753" y="91982"/>
                  </a:cubicBezTo>
                  <a:cubicBezTo>
                    <a:pt x="144557" y="92305"/>
                    <a:pt x="144193" y="92488"/>
                    <a:pt x="143817" y="92452"/>
                  </a:cubicBezTo>
                  <a:close/>
                  <a:moveTo>
                    <a:pt x="114390" y="42826"/>
                  </a:moveTo>
                  <a:cubicBezTo>
                    <a:pt x="118883" y="43111"/>
                    <a:pt x="123321" y="41704"/>
                    <a:pt x="126829" y="38882"/>
                  </a:cubicBezTo>
                  <a:cubicBezTo>
                    <a:pt x="129880" y="35995"/>
                    <a:pt x="131497" y="31904"/>
                    <a:pt x="131244" y="27711"/>
                  </a:cubicBezTo>
                  <a:cubicBezTo>
                    <a:pt x="131497" y="23518"/>
                    <a:pt x="129880" y="19428"/>
                    <a:pt x="126829" y="16541"/>
                  </a:cubicBezTo>
                  <a:cubicBezTo>
                    <a:pt x="123321" y="13719"/>
                    <a:pt x="118883" y="12312"/>
                    <a:pt x="114390" y="12596"/>
                  </a:cubicBezTo>
                  <a:lnTo>
                    <a:pt x="93122" y="12596"/>
                  </a:lnTo>
                  <a:cubicBezTo>
                    <a:pt x="92733" y="12542"/>
                    <a:pt x="92374" y="12812"/>
                    <a:pt x="92319" y="13201"/>
                  </a:cubicBezTo>
                  <a:cubicBezTo>
                    <a:pt x="92310" y="13266"/>
                    <a:pt x="92310" y="13333"/>
                    <a:pt x="92319" y="13399"/>
                  </a:cubicBezTo>
                  <a:lnTo>
                    <a:pt x="92319" y="42024"/>
                  </a:lnTo>
                  <a:cubicBezTo>
                    <a:pt x="92264" y="42412"/>
                    <a:pt x="92535" y="42772"/>
                    <a:pt x="92923" y="42826"/>
                  </a:cubicBezTo>
                  <a:cubicBezTo>
                    <a:pt x="92989" y="42836"/>
                    <a:pt x="93056" y="42836"/>
                    <a:pt x="93122" y="42826"/>
                  </a:cubicBezTo>
                  <a:close/>
                  <a:moveTo>
                    <a:pt x="186487" y="2832"/>
                  </a:moveTo>
                  <a:cubicBezTo>
                    <a:pt x="186619" y="2051"/>
                    <a:pt x="187300" y="1483"/>
                    <a:pt x="188092" y="1494"/>
                  </a:cubicBezTo>
                  <a:lnTo>
                    <a:pt x="196802" y="1494"/>
                  </a:lnTo>
                  <a:cubicBezTo>
                    <a:pt x="197633" y="1448"/>
                    <a:pt x="198372" y="2017"/>
                    <a:pt x="198540" y="2832"/>
                  </a:cubicBezTo>
                  <a:lnTo>
                    <a:pt x="229707" y="91114"/>
                  </a:lnTo>
                  <a:cubicBezTo>
                    <a:pt x="229974" y="92006"/>
                    <a:pt x="229662" y="92452"/>
                    <a:pt x="228771" y="92452"/>
                  </a:cubicBezTo>
                  <a:lnTo>
                    <a:pt x="219392" y="92452"/>
                  </a:lnTo>
                  <a:cubicBezTo>
                    <a:pt x="218561" y="92499"/>
                    <a:pt x="217821" y="91929"/>
                    <a:pt x="217654" y="91114"/>
                  </a:cubicBezTo>
                  <a:lnTo>
                    <a:pt x="210698" y="71318"/>
                  </a:lnTo>
                  <a:lnTo>
                    <a:pt x="173914" y="71318"/>
                  </a:lnTo>
                  <a:lnTo>
                    <a:pt x="166958" y="91114"/>
                  </a:lnTo>
                  <a:cubicBezTo>
                    <a:pt x="166744" y="91899"/>
                    <a:pt x="166033" y="92446"/>
                    <a:pt x="165219" y="92452"/>
                  </a:cubicBezTo>
                  <a:lnTo>
                    <a:pt x="155856" y="92452"/>
                  </a:lnTo>
                  <a:cubicBezTo>
                    <a:pt x="154964" y="92452"/>
                    <a:pt x="154652" y="92006"/>
                    <a:pt x="154919" y="91114"/>
                  </a:cubicBezTo>
                  <a:close/>
                  <a:moveTo>
                    <a:pt x="206819" y="60349"/>
                  </a:moveTo>
                  <a:lnTo>
                    <a:pt x="192506" y="19017"/>
                  </a:lnTo>
                  <a:lnTo>
                    <a:pt x="192239" y="19017"/>
                  </a:lnTo>
                  <a:lnTo>
                    <a:pt x="177793" y="60349"/>
                  </a:lnTo>
                  <a:close/>
                  <a:moveTo>
                    <a:pt x="244138" y="2832"/>
                  </a:moveTo>
                  <a:cubicBezTo>
                    <a:pt x="244050" y="2181"/>
                    <a:pt x="244507" y="1582"/>
                    <a:pt x="245157" y="1494"/>
                  </a:cubicBezTo>
                  <a:cubicBezTo>
                    <a:pt x="245263" y="1480"/>
                    <a:pt x="245370" y="1480"/>
                    <a:pt x="245476" y="1494"/>
                  </a:cubicBezTo>
                  <a:lnTo>
                    <a:pt x="254037" y="1494"/>
                  </a:lnTo>
                  <a:cubicBezTo>
                    <a:pt x="254998" y="1429"/>
                    <a:pt x="255900" y="1960"/>
                    <a:pt x="256311" y="2832"/>
                  </a:cubicBezTo>
                  <a:lnTo>
                    <a:pt x="297509" y="71050"/>
                  </a:lnTo>
                  <a:lnTo>
                    <a:pt x="298044" y="71050"/>
                  </a:lnTo>
                  <a:lnTo>
                    <a:pt x="298044" y="2832"/>
                  </a:lnTo>
                  <a:cubicBezTo>
                    <a:pt x="297955" y="2181"/>
                    <a:pt x="298413" y="1582"/>
                    <a:pt x="299064" y="1494"/>
                  </a:cubicBezTo>
                  <a:cubicBezTo>
                    <a:pt x="299168" y="1480"/>
                    <a:pt x="299275" y="1480"/>
                    <a:pt x="299382" y="1494"/>
                  </a:cubicBezTo>
                  <a:lnTo>
                    <a:pt x="307809" y="1494"/>
                  </a:lnTo>
                  <a:cubicBezTo>
                    <a:pt x="308460" y="1406"/>
                    <a:pt x="309057" y="1862"/>
                    <a:pt x="309146" y="2513"/>
                  </a:cubicBezTo>
                  <a:cubicBezTo>
                    <a:pt x="309161" y="2619"/>
                    <a:pt x="309161" y="2726"/>
                    <a:pt x="309146" y="2832"/>
                  </a:cubicBezTo>
                  <a:lnTo>
                    <a:pt x="309146" y="91114"/>
                  </a:lnTo>
                  <a:cubicBezTo>
                    <a:pt x="309236" y="91765"/>
                    <a:pt x="308778" y="92364"/>
                    <a:pt x="308127" y="92452"/>
                  </a:cubicBezTo>
                  <a:cubicBezTo>
                    <a:pt x="308023" y="92466"/>
                    <a:pt x="307916" y="92466"/>
                    <a:pt x="307809" y="92452"/>
                  </a:cubicBezTo>
                  <a:lnTo>
                    <a:pt x="299248" y="92452"/>
                  </a:lnTo>
                  <a:cubicBezTo>
                    <a:pt x="298288" y="92517"/>
                    <a:pt x="297384" y="91986"/>
                    <a:pt x="296974" y="91114"/>
                  </a:cubicBezTo>
                  <a:lnTo>
                    <a:pt x="255657" y="23164"/>
                  </a:lnTo>
                  <a:lnTo>
                    <a:pt x="255240" y="23164"/>
                  </a:lnTo>
                  <a:lnTo>
                    <a:pt x="255240" y="91114"/>
                  </a:lnTo>
                  <a:cubicBezTo>
                    <a:pt x="255328" y="91765"/>
                    <a:pt x="254872" y="92364"/>
                    <a:pt x="254222" y="92452"/>
                  </a:cubicBezTo>
                  <a:cubicBezTo>
                    <a:pt x="254116" y="92466"/>
                    <a:pt x="254009" y="92466"/>
                    <a:pt x="253903" y="92452"/>
                  </a:cubicBezTo>
                  <a:lnTo>
                    <a:pt x="245476" y="92452"/>
                  </a:lnTo>
                  <a:cubicBezTo>
                    <a:pt x="244825" y="92540"/>
                    <a:pt x="244226" y="92084"/>
                    <a:pt x="244138" y="91433"/>
                  </a:cubicBezTo>
                  <a:cubicBezTo>
                    <a:pt x="244124" y="91327"/>
                    <a:pt x="244124" y="91220"/>
                    <a:pt x="244138" y="91114"/>
                  </a:cubicBezTo>
                  <a:close/>
                  <a:moveTo>
                    <a:pt x="359173" y="93923"/>
                  </a:moveTo>
                  <a:cubicBezTo>
                    <a:pt x="355981" y="93926"/>
                    <a:pt x="352794" y="93613"/>
                    <a:pt x="349661" y="92987"/>
                  </a:cubicBezTo>
                  <a:cubicBezTo>
                    <a:pt x="346659" y="92395"/>
                    <a:pt x="343707" y="91567"/>
                    <a:pt x="340833" y="90511"/>
                  </a:cubicBezTo>
                  <a:cubicBezTo>
                    <a:pt x="338196" y="89540"/>
                    <a:pt x="335655" y="88331"/>
                    <a:pt x="333238" y="86899"/>
                  </a:cubicBezTo>
                  <a:cubicBezTo>
                    <a:pt x="331098" y="85646"/>
                    <a:pt x="329083" y="84191"/>
                    <a:pt x="327219" y="82554"/>
                  </a:cubicBezTo>
                  <a:cubicBezTo>
                    <a:pt x="326630" y="82073"/>
                    <a:pt x="326544" y="81206"/>
                    <a:pt x="327023" y="80617"/>
                  </a:cubicBezTo>
                  <a:cubicBezTo>
                    <a:pt x="327044" y="80593"/>
                    <a:pt x="327064" y="80570"/>
                    <a:pt x="327085" y="80547"/>
                  </a:cubicBezTo>
                  <a:lnTo>
                    <a:pt x="332971" y="73592"/>
                  </a:lnTo>
                  <a:cubicBezTo>
                    <a:pt x="333366" y="73043"/>
                    <a:pt x="334133" y="72920"/>
                    <a:pt x="334680" y="73317"/>
                  </a:cubicBezTo>
                  <a:cubicBezTo>
                    <a:pt x="334739" y="73359"/>
                    <a:pt x="334793" y="73406"/>
                    <a:pt x="334843" y="73458"/>
                  </a:cubicBezTo>
                  <a:cubicBezTo>
                    <a:pt x="338226" y="76036"/>
                    <a:pt x="341909" y="78192"/>
                    <a:pt x="345812" y="79878"/>
                  </a:cubicBezTo>
                  <a:cubicBezTo>
                    <a:pt x="350363" y="81878"/>
                    <a:pt x="355288" y="82881"/>
                    <a:pt x="360258" y="82821"/>
                  </a:cubicBezTo>
                  <a:cubicBezTo>
                    <a:pt x="365531" y="83142"/>
                    <a:pt x="370754" y="81630"/>
                    <a:pt x="375037" y="78541"/>
                  </a:cubicBezTo>
                  <a:cubicBezTo>
                    <a:pt x="378485" y="75848"/>
                    <a:pt x="380447" y="71677"/>
                    <a:pt x="380322" y="67305"/>
                  </a:cubicBezTo>
                  <a:cubicBezTo>
                    <a:pt x="380346" y="65479"/>
                    <a:pt x="380028" y="63664"/>
                    <a:pt x="379386" y="61954"/>
                  </a:cubicBezTo>
                  <a:cubicBezTo>
                    <a:pt x="378714" y="60285"/>
                    <a:pt x="377632" y="58813"/>
                    <a:pt x="376241" y="57674"/>
                  </a:cubicBezTo>
                  <a:cubicBezTo>
                    <a:pt x="374502" y="56275"/>
                    <a:pt x="372534" y="55189"/>
                    <a:pt x="370424" y="54464"/>
                  </a:cubicBezTo>
                  <a:cubicBezTo>
                    <a:pt x="367478" y="53450"/>
                    <a:pt x="364426" y="52777"/>
                    <a:pt x="361328" y="52457"/>
                  </a:cubicBezTo>
                  <a:lnTo>
                    <a:pt x="356780" y="51788"/>
                  </a:lnTo>
                  <a:cubicBezTo>
                    <a:pt x="338945" y="49381"/>
                    <a:pt x="330028" y="40998"/>
                    <a:pt x="330028" y="26641"/>
                  </a:cubicBezTo>
                  <a:cubicBezTo>
                    <a:pt x="329980" y="22883"/>
                    <a:pt x="330688" y="19153"/>
                    <a:pt x="332109" y="15673"/>
                  </a:cubicBezTo>
                  <a:cubicBezTo>
                    <a:pt x="333432" y="12453"/>
                    <a:pt x="335465" y="9573"/>
                    <a:pt x="338054" y="7246"/>
                  </a:cubicBezTo>
                  <a:cubicBezTo>
                    <a:pt x="340779" y="4847"/>
                    <a:pt x="343966" y="3026"/>
                    <a:pt x="347417" y="1895"/>
                  </a:cubicBezTo>
                  <a:cubicBezTo>
                    <a:pt x="351388" y="598"/>
                    <a:pt x="355547" y="-35"/>
                    <a:pt x="359723" y="23"/>
                  </a:cubicBezTo>
                  <a:cubicBezTo>
                    <a:pt x="364919" y="-2"/>
                    <a:pt x="370088" y="788"/>
                    <a:pt x="375040" y="2362"/>
                  </a:cubicBezTo>
                  <a:cubicBezTo>
                    <a:pt x="379460" y="3710"/>
                    <a:pt x="383634" y="5766"/>
                    <a:pt x="387397" y="8450"/>
                  </a:cubicBezTo>
                  <a:cubicBezTo>
                    <a:pt x="387971" y="8770"/>
                    <a:pt x="388176" y="9494"/>
                    <a:pt x="387855" y="10067"/>
                  </a:cubicBezTo>
                  <a:cubicBezTo>
                    <a:pt x="387804" y="10161"/>
                    <a:pt x="387739" y="10246"/>
                    <a:pt x="387664" y="10322"/>
                  </a:cubicBezTo>
                  <a:lnTo>
                    <a:pt x="383116" y="17679"/>
                  </a:lnTo>
                  <a:cubicBezTo>
                    <a:pt x="382700" y="18266"/>
                    <a:pt x="381889" y="18405"/>
                    <a:pt x="381300" y="17990"/>
                  </a:cubicBezTo>
                  <a:cubicBezTo>
                    <a:pt x="381282" y="17976"/>
                    <a:pt x="381262" y="17962"/>
                    <a:pt x="381244" y="17947"/>
                  </a:cubicBezTo>
                  <a:cubicBezTo>
                    <a:pt x="377855" y="15794"/>
                    <a:pt x="374217" y="14062"/>
                    <a:pt x="370409" y="12790"/>
                  </a:cubicBezTo>
                  <a:cubicBezTo>
                    <a:pt x="366818" y="11658"/>
                    <a:pt x="363073" y="11095"/>
                    <a:pt x="359307" y="11119"/>
                  </a:cubicBezTo>
                  <a:cubicBezTo>
                    <a:pt x="354664" y="10793"/>
                    <a:pt x="350071" y="12252"/>
                    <a:pt x="346466" y="15197"/>
                  </a:cubicBezTo>
                  <a:cubicBezTo>
                    <a:pt x="343517" y="17930"/>
                    <a:pt x="341906" y="21812"/>
                    <a:pt x="342052" y="25830"/>
                  </a:cubicBezTo>
                  <a:cubicBezTo>
                    <a:pt x="341960" y="29462"/>
                    <a:pt x="343538" y="32936"/>
                    <a:pt x="346332" y="35259"/>
                  </a:cubicBezTo>
                  <a:cubicBezTo>
                    <a:pt x="350722" y="38294"/>
                    <a:pt x="355853" y="40083"/>
                    <a:pt x="361180" y="40434"/>
                  </a:cubicBezTo>
                  <a:lnTo>
                    <a:pt x="365594" y="41102"/>
                  </a:lnTo>
                  <a:cubicBezTo>
                    <a:pt x="372939" y="41695"/>
                    <a:pt x="379930" y="44492"/>
                    <a:pt x="385658" y="49128"/>
                  </a:cubicBezTo>
                  <a:cubicBezTo>
                    <a:pt x="390301" y="53682"/>
                    <a:pt x="392741" y="60025"/>
                    <a:pt x="392346" y="66517"/>
                  </a:cubicBezTo>
                  <a:cubicBezTo>
                    <a:pt x="392388" y="70296"/>
                    <a:pt x="391680" y="74046"/>
                    <a:pt x="390265" y="77551"/>
                  </a:cubicBezTo>
                  <a:cubicBezTo>
                    <a:pt x="388889" y="80885"/>
                    <a:pt x="386731" y="83841"/>
                    <a:pt x="383979" y="86171"/>
                  </a:cubicBezTo>
                  <a:cubicBezTo>
                    <a:pt x="380902" y="88726"/>
                    <a:pt x="377359" y="90658"/>
                    <a:pt x="373545" y="91857"/>
                  </a:cubicBezTo>
                  <a:cubicBezTo>
                    <a:pt x="368896" y="93311"/>
                    <a:pt x="364042" y="94009"/>
                    <a:pt x="359173" y="93923"/>
                  </a:cubicBezTo>
                  <a:close/>
                  <a:moveTo>
                    <a:pt x="412009" y="92452"/>
                  </a:moveTo>
                  <a:cubicBezTo>
                    <a:pt x="411358" y="92540"/>
                    <a:pt x="410761" y="92084"/>
                    <a:pt x="410671" y="91433"/>
                  </a:cubicBezTo>
                  <a:cubicBezTo>
                    <a:pt x="410656" y="91327"/>
                    <a:pt x="410656" y="91220"/>
                    <a:pt x="410671" y="91114"/>
                  </a:cubicBezTo>
                  <a:lnTo>
                    <a:pt x="410671" y="2832"/>
                  </a:lnTo>
                  <a:cubicBezTo>
                    <a:pt x="410582" y="2181"/>
                    <a:pt x="411040" y="1582"/>
                    <a:pt x="411691" y="1494"/>
                  </a:cubicBezTo>
                  <a:cubicBezTo>
                    <a:pt x="411795" y="1480"/>
                    <a:pt x="411902" y="1480"/>
                    <a:pt x="412009" y="1494"/>
                  </a:cubicBezTo>
                  <a:lnTo>
                    <a:pt x="444379" y="1494"/>
                  </a:lnTo>
                  <a:cubicBezTo>
                    <a:pt x="448431" y="1442"/>
                    <a:pt x="452458" y="2099"/>
                    <a:pt x="456284" y="3435"/>
                  </a:cubicBezTo>
                  <a:cubicBezTo>
                    <a:pt x="459664" y="4614"/>
                    <a:pt x="462761" y="6482"/>
                    <a:pt x="465380" y="8919"/>
                  </a:cubicBezTo>
                  <a:cubicBezTo>
                    <a:pt x="467906" y="11326"/>
                    <a:pt x="469892" y="14245"/>
                    <a:pt x="471200" y="17480"/>
                  </a:cubicBezTo>
                  <a:cubicBezTo>
                    <a:pt x="472624" y="21030"/>
                    <a:pt x="473331" y="24826"/>
                    <a:pt x="473281" y="28651"/>
                  </a:cubicBezTo>
                  <a:cubicBezTo>
                    <a:pt x="473331" y="32474"/>
                    <a:pt x="472624" y="36269"/>
                    <a:pt x="471200" y="39818"/>
                  </a:cubicBezTo>
                  <a:cubicBezTo>
                    <a:pt x="469892" y="43054"/>
                    <a:pt x="467906" y="45972"/>
                    <a:pt x="465380" y="48379"/>
                  </a:cubicBezTo>
                  <a:cubicBezTo>
                    <a:pt x="462761" y="50817"/>
                    <a:pt x="459664" y="52684"/>
                    <a:pt x="456284" y="53863"/>
                  </a:cubicBezTo>
                  <a:cubicBezTo>
                    <a:pt x="452458" y="55200"/>
                    <a:pt x="448431" y="55857"/>
                    <a:pt x="444379" y="55804"/>
                  </a:cubicBezTo>
                  <a:lnTo>
                    <a:pt x="423379" y="55804"/>
                  </a:lnTo>
                  <a:cubicBezTo>
                    <a:pt x="422989" y="55750"/>
                    <a:pt x="422630" y="56020"/>
                    <a:pt x="422576" y="56409"/>
                  </a:cubicBezTo>
                  <a:cubicBezTo>
                    <a:pt x="422567" y="56474"/>
                    <a:pt x="422567" y="56541"/>
                    <a:pt x="422576" y="56607"/>
                  </a:cubicBezTo>
                  <a:lnTo>
                    <a:pt x="422576" y="91114"/>
                  </a:lnTo>
                  <a:cubicBezTo>
                    <a:pt x="422665" y="91765"/>
                    <a:pt x="422208" y="92364"/>
                    <a:pt x="421557" y="92452"/>
                  </a:cubicBezTo>
                  <a:cubicBezTo>
                    <a:pt x="421453" y="92466"/>
                    <a:pt x="421346" y="92466"/>
                    <a:pt x="421239" y="92452"/>
                  </a:cubicBezTo>
                  <a:close/>
                  <a:moveTo>
                    <a:pt x="443710" y="44699"/>
                  </a:moveTo>
                  <a:cubicBezTo>
                    <a:pt x="448466" y="44992"/>
                    <a:pt x="453154" y="43461"/>
                    <a:pt x="456819" y="40419"/>
                  </a:cubicBezTo>
                  <a:cubicBezTo>
                    <a:pt x="460023" y="37366"/>
                    <a:pt x="461733" y="33067"/>
                    <a:pt x="461501" y="28648"/>
                  </a:cubicBezTo>
                  <a:cubicBezTo>
                    <a:pt x="461733" y="24229"/>
                    <a:pt x="460023" y="19929"/>
                    <a:pt x="456819" y="16877"/>
                  </a:cubicBezTo>
                  <a:cubicBezTo>
                    <a:pt x="453154" y="13835"/>
                    <a:pt x="448466" y="12304"/>
                    <a:pt x="443710" y="12596"/>
                  </a:cubicBezTo>
                  <a:lnTo>
                    <a:pt x="423379" y="12596"/>
                  </a:lnTo>
                  <a:cubicBezTo>
                    <a:pt x="422989" y="12542"/>
                    <a:pt x="422630" y="12812"/>
                    <a:pt x="422576" y="13201"/>
                  </a:cubicBezTo>
                  <a:cubicBezTo>
                    <a:pt x="422567" y="13266"/>
                    <a:pt x="422567" y="13333"/>
                    <a:pt x="422576" y="13399"/>
                  </a:cubicBezTo>
                  <a:lnTo>
                    <a:pt x="422576" y="43897"/>
                  </a:lnTo>
                  <a:cubicBezTo>
                    <a:pt x="422523" y="44285"/>
                    <a:pt x="422793" y="44644"/>
                    <a:pt x="423180" y="44699"/>
                  </a:cubicBezTo>
                  <a:cubicBezTo>
                    <a:pt x="423245" y="44708"/>
                    <a:pt x="423313" y="44708"/>
                    <a:pt x="423379" y="44699"/>
                  </a:cubicBezTo>
                  <a:close/>
                  <a:moveTo>
                    <a:pt x="519955" y="93923"/>
                  </a:moveTo>
                  <a:cubicBezTo>
                    <a:pt x="513076" y="94146"/>
                    <a:pt x="506290" y="92281"/>
                    <a:pt x="500491" y="88573"/>
                  </a:cubicBezTo>
                  <a:cubicBezTo>
                    <a:pt x="494977" y="84724"/>
                    <a:pt x="490943" y="79109"/>
                    <a:pt x="489053" y="72655"/>
                  </a:cubicBezTo>
                  <a:cubicBezTo>
                    <a:pt x="488601" y="71289"/>
                    <a:pt x="488220" y="69900"/>
                    <a:pt x="487917" y="68494"/>
                  </a:cubicBezTo>
                  <a:cubicBezTo>
                    <a:pt x="487572" y="66839"/>
                    <a:pt x="487326" y="65164"/>
                    <a:pt x="487183" y="63479"/>
                  </a:cubicBezTo>
                  <a:cubicBezTo>
                    <a:pt x="487005" y="61563"/>
                    <a:pt x="486871" y="59266"/>
                    <a:pt x="486782" y="56589"/>
                  </a:cubicBezTo>
                  <a:cubicBezTo>
                    <a:pt x="486692" y="53912"/>
                    <a:pt x="486648" y="50701"/>
                    <a:pt x="486648" y="46958"/>
                  </a:cubicBezTo>
                  <a:cubicBezTo>
                    <a:pt x="486648" y="43213"/>
                    <a:pt x="486692" y="40003"/>
                    <a:pt x="486782" y="37327"/>
                  </a:cubicBezTo>
                  <a:cubicBezTo>
                    <a:pt x="486871" y="34652"/>
                    <a:pt x="487005" y="32356"/>
                    <a:pt x="487183" y="30440"/>
                  </a:cubicBezTo>
                  <a:cubicBezTo>
                    <a:pt x="487326" y="28755"/>
                    <a:pt x="487572" y="27081"/>
                    <a:pt x="487917" y="25426"/>
                  </a:cubicBezTo>
                  <a:cubicBezTo>
                    <a:pt x="488220" y="24019"/>
                    <a:pt x="488601" y="22630"/>
                    <a:pt x="489053" y="21264"/>
                  </a:cubicBezTo>
                  <a:cubicBezTo>
                    <a:pt x="490946" y="14815"/>
                    <a:pt x="494980" y="9204"/>
                    <a:pt x="500494" y="5358"/>
                  </a:cubicBezTo>
                  <a:cubicBezTo>
                    <a:pt x="512535" y="-1776"/>
                    <a:pt x="527511" y="-1776"/>
                    <a:pt x="539552" y="5358"/>
                  </a:cubicBezTo>
                  <a:cubicBezTo>
                    <a:pt x="545066" y="9207"/>
                    <a:pt x="549100" y="14823"/>
                    <a:pt x="550990" y="21276"/>
                  </a:cubicBezTo>
                  <a:cubicBezTo>
                    <a:pt x="551442" y="22642"/>
                    <a:pt x="551822" y="24031"/>
                    <a:pt x="552126" y="25437"/>
                  </a:cubicBezTo>
                  <a:cubicBezTo>
                    <a:pt x="552473" y="27093"/>
                    <a:pt x="552717" y="28769"/>
                    <a:pt x="552863" y="30455"/>
                  </a:cubicBezTo>
                  <a:cubicBezTo>
                    <a:pt x="553041" y="32373"/>
                    <a:pt x="553175" y="34669"/>
                    <a:pt x="553264" y="37342"/>
                  </a:cubicBezTo>
                  <a:cubicBezTo>
                    <a:pt x="553353" y="40015"/>
                    <a:pt x="553398" y="43226"/>
                    <a:pt x="553398" y="46973"/>
                  </a:cubicBezTo>
                  <a:cubicBezTo>
                    <a:pt x="553398" y="50718"/>
                    <a:pt x="553353" y="53929"/>
                    <a:pt x="553264" y="56604"/>
                  </a:cubicBezTo>
                  <a:cubicBezTo>
                    <a:pt x="553175" y="59279"/>
                    <a:pt x="553041" y="61576"/>
                    <a:pt x="552863" y="63494"/>
                  </a:cubicBezTo>
                  <a:cubicBezTo>
                    <a:pt x="552717" y="65180"/>
                    <a:pt x="552473" y="66855"/>
                    <a:pt x="552126" y="68512"/>
                  </a:cubicBezTo>
                  <a:cubicBezTo>
                    <a:pt x="551822" y="69918"/>
                    <a:pt x="551442" y="71307"/>
                    <a:pt x="550990" y="72673"/>
                  </a:cubicBezTo>
                  <a:cubicBezTo>
                    <a:pt x="549100" y="79126"/>
                    <a:pt x="545066" y="84742"/>
                    <a:pt x="539552" y="88591"/>
                  </a:cubicBezTo>
                  <a:cubicBezTo>
                    <a:pt x="533708" y="92304"/>
                    <a:pt x="526874" y="94163"/>
                    <a:pt x="519955" y="93923"/>
                  </a:cubicBezTo>
                  <a:close/>
                  <a:moveTo>
                    <a:pt x="519955" y="82821"/>
                  </a:moveTo>
                  <a:cubicBezTo>
                    <a:pt x="524366" y="83016"/>
                    <a:pt x="528723" y="81797"/>
                    <a:pt x="532394" y="79343"/>
                  </a:cubicBezTo>
                  <a:cubicBezTo>
                    <a:pt x="535735" y="76839"/>
                    <a:pt x="538176" y="73319"/>
                    <a:pt x="539350" y="69311"/>
                  </a:cubicBezTo>
                  <a:cubicBezTo>
                    <a:pt x="539662" y="68325"/>
                    <a:pt x="539909" y="67319"/>
                    <a:pt x="540087" y="66300"/>
                  </a:cubicBezTo>
                  <a:cubicBezTo>
                    <a:pt x="540310" y="65095"/>
                    <a:pt x="540533" y="63602"/>
                    <a:pt x="540756" y="61821"/>
                  </a:cubicBezTo>
                  <a:cubicBezTo>
                    <a:pt x="540979" y="60039"/>
                    <a:pt x="541136" y="57944"/>
                    <a:pt x="541226" y="55534"/>
                  </a:cubicBezTo>
                  <a:cubicBezTo>
                    <a:pt x="541315" y="53126"/>
                    <a:pt x="541359" y="50273"/>
                    <a:pt x="541359" y="46973"/>
                  </a:cubicBezTo>
                  <a:cubicBezTo>
                    <a:pt x="541359" y="43674"/>
                    <a:pt x="541315" y="40820"/>
                    <a:pt x="541226" y="38412"/>
                  </a:cubicBezTo>
                  <a:cubicBezTo>
                    <a:pt x="541136" y="36005"/>
                    <a:pt x="540979" y="33909"/>
                    <a:pt x="540756" y="32126"/>
                  </a:cubicBezTo>
                  <a:cubicBezTo>
                    <a:pt x="540533" y="30342"/>
                    <a:pt x="540310" y="28849"/>
                    <a:pt x="540087" y="27646"/>
                  </a:cubicBezTo>
                  <a:cubicBezTo>
                    <a:pt x="539909" y="26627"/>
                    <a:pt x="539662" y="25621"/>
                    <a:pt x="539350" y="24635"/>
                  </a:cubicBezTo>
                  <a:cubicBezTo>
                    <a:pt x="538176" y="20627"/>
                    <a:pt x="535735" y="17107"/>
                    <a:pt x="532394" y="14603"/>
                  </a:cubicBezTo>
                  <a:cubicBezTo>
                    <a:pt x="528723" y="12149"/>
                    <a:pt x="524366" y="10931"/>
                    <a:pt x="519955" y="11125"/>
                  </a:cubicBezTo>
                  <a:cubicBezTo>
                    <a:pt x="515564" y="10923"/>
                    <a:pt x="511224" y="12143"/>
                    <a:pt x="507580" y="14603"/>
                  </a:cubicBezTo>
                  <a:cubicBezTo>
                    <a:pt x="504272" y="17126"/>
                    <a:pt x="501858" y="20641"/>
                    <a:pt x="500693" y="24635"/>
                  </a:cubicBezTo>
                  <a:cubicBezTo>
                    <a:pt x="500381" y="25621"/>
                    <a:pt x="500134" y="26627"/>
                    <a:pt x="499959" y="27646"/>
                  </a:cubicBezTo>
                  <a:cubicBezTo>
                    <a:pt x="499736" y="28849"/>
                    <a:pt x="499513" y="30342"/>
                    <a:pt x="499290" y="32126"/>
                  </a:cubicBezTo>
                  <a:cubicBezTo>
                    <a:pt x="499067" y="33909"/>
                    <a:pt x="498909" y="36005"/>
                    <a:pt x="498820" y="38412"/>
                  </a:cubicBezTo>
                  <a:cubicBezTo>
                    <a:pt x="498731" y="40820"/>
                    <a:pt x="498686" y="43674"/>
                    <a:pt x="498686" y="46973"/>
                  </a:cubicBezTo>
                  <a:cubicBezTo>
                    <a:pt x="498686" y="50273"/>
                    <a:pt x="498731" y="53126"/>
                    <a:pt x="498820" y="55534"/>
                  </a:cubicBezTo>
                  <a:cubicBezTo>
                    <a:pt x="498909" y="57941"/>
                    <a:pt x="499067" y="60037"/>
                    <a:pt x="499290" y="61821"/>
                  </a:cubicBezTo>
                  <a:cubicBezTo>
                    <a:pt x="499513" y="63604"/>
                    <a:pt x="499736" y="65097"/>
                    <a:pt x="499959" y="66300"/>
                  </a:cubicBezTo>
                  <a:cubicBezTo>
                    <a:pt x="500134" y="67319"/>
                    <a:pt x="500381" y="68325"/>
                    <a:pt x="500693" y="69311"/>
                  </a:cubicBezTo>
                  <a:cubicBezTo>
                    <a:pt x="501858" y="73305"/>
                    <a:pt x="504272" y="76821"/>
                    <a:pt x="507580" y="79343"/>
                  </a:cubicBezTo>
                  <a:cubicBezTo>
                    <a:pt x="511224" y="81803"/>
                    <a:pt x="515564" y="83023"/>
                    <a:pt x="519955" y="82821"/>
                  </a:cubicBezTo>
                  <a:close/>
                  <a:moveTo>
                    <a:pt x="625359" y="92452"/>
                  </a:moveTo>
                  <a:cubicBezTo>
                    <a:pt x="624544" y="92446"/>
                    <a:pt x="623834" y="91899"/>
                    <a:pt x="623620" y="91114"/>
                  </a:cubicBezTo>
                  <a:lnTo>
                    <a:pt x="605428" y="53929"/>
                  </a:lnTo>
                  <a:lnTo>
                    <a:pt x="585364" y="53929"/>
                  </a:lnTo>
                  <a:cubicBezTo>
                    <a:pt x="584974" y="53874"/>
                    <a:pt x="584615" y="54144"/>
                    <a:pt x="584561" y="54533"/>
                  </a:cubicBezTo>
                  <a:cubicBezTo>
                    <a:pt x="584552" y="54599"/>
                    <a:pt x="584552" y="54666"/>
                    <a:pt x="584561" y="54731"/>
                  </a:cubicBezTo>
                  <a:lnTo>
                    <a:pt x="584561" y="91114"/>
                  </a:lnTo>
                  <a:cubicBezTo>
                    <a:pt x="584651" y="91765"/>
                    <a:pt x="584193" y="92364"/>
                    <a:pt x="583542" y="92452"/>
                  </a:cubicBezTo>
                  <a:cubicBezTo>
                    <a:pt x="583438" y="92466"/>
                    <a:pt x="583331" y="92466"/>
                    <a:pt x="583224" y="92452"/>
                  </a:cubicBezTo>
                  <a:lnTo>
                    <a:pt x="573994" y="92452"/>
                  </a:lnTo>
                  <a:cubicBezTo>
                    <a:pt x="573343" y="92540"/>
                    <a:pt x="572746" y="92084"/>
                    <a:pt x="572657" y="91433"/>
                  </a:cubicBezTo>
                  <a:cubicBezTo>
                    <a:pt x="572642" y="91327"/>
                    <a:pt x="572642" y="91220"/>
                    <a:pt x="572657" y="91114"/>
                  </a:cubicBezTo>
                  <a:lnTo>
                    <a:pt x="572657" y="2832"/>
                  </a:lnTo>
                  <a:cubicBezTo>
                    <a:pt x="572567" y="2181"/>
                    <a:pt x="573025" y="1582"/>
                    <a:pt x="573676" y="1494"/>
                  </a:cubicBezTo>
                  <a:cubicBezTo>
                    <a:pt x="573780" y="1480"/>
                    <a:pt x="573887" y="1480"/>
                    <a:pt x="573994" y="1494"/>
                  </a:cubicBezTo>
                  <a:lnTo>
                    <a:pt x="606900" y="1494"/>
                  </a:lnTo>
                  <a:cubicBezTo>
                    <a:pt x="610859" y="1441"/>
                    <a:pt x="614794" y="2075"/>
                    <a:pt x="618537" y="3367"/>
                  </a:cubicBezTo>
                  <a:cubicBezTo>
                    <a:pt x="621845" y="4516"/>
                    <a:pt x="624892" y="6312"/>
                    <a:pt x="627499" y="8652"/>
                  </a:cubicBezTo>
                  <a:cubicBezTo>
                    <a:pt x="630019" y="10959"/>
                    <a:pt x="632005" y="13790"/>
                    <a:pt x="633319" y="16945"/>
                  </a:cubicBezTo>
                  <a:cubicBezTo>
                    <a:pt x="634734" y="20356"/>
                    <a:pt x="635441" y="24019"/>
                    <a:pt x="635400" y="27711"/>
                  </a:cubicBezTo>
                  <a:cubicBezTo>
                    <a:pt x="635572" y="33317"/>
                    <a:pt x="633878" y="38822"/>
                    <a:pt x="630584" y="43361"/>
                  </a:cubicBezTo>
                  <a:cubicBezTo>
                    <a:pt x="627288" y="47703"/>
                    <a:pt x="622698" y="50888"/>
                    <a:pt x="617476" y="52457"/>
                  </a:cubicBezTo>
                  <a:lnTo>
                    <a:pt x="636871" y="90847"/>
                  </a:lnTo>
                  <a:cubicBezTo>
                    <a:pt x="637127" y="91170"/>
                    <a:pt x="637177" y="91609"/>
                    <a:pt x="637005" y="91982"/>
                  </a:cubicBezTo>
                  <a:cubicBezTo>
                    <a:pt x="636809" y="92305"/>
                    <a:pt x="636446" y="92488"/>
                    <a:pt x="636068" y="92452"/>
                  </a:cubicBezTo>
                  <a:close/>
                  <a:moveTo>
                    <a:pt x="606632" y="42826"/>
                  </a:moveTo>
                  <a:cubicBezTo>
                    <a:pt x="611126" y="43111"/>
                    <a:pt x="615564" y="41704"/>
                    <a:pt x="619072" y="38882"/>
                  </a:cubicBezTo>
                  <a:cubicBezTo>
                    <a:pt x="622122" y="35995"/>
                    <a:pt x="623739" y="31904"/>
                    <a:pt x="623486" y="27711"/>
                  </a:cubicBezTo>
                  <a:cubicBezTo>
                    <a:pt x="623739" y="23519"/>
                    <a:pt x="622122" y="19431"/>
                    <a:pt x="619072" y="16544"/>
                  </a:cubicBezTo>
                  <a:cubicBezTo>
                    <a:pt x="615564" y="13722"/>
                    <a:pt x="611126" y="12315"/>
                    <a:pt x="606632" y="12599"/>
                  </a:cubicBezTo>
                  <a:lnTo>
                    <a:pt x="585364" y="12599"/>
                  </a:lnTo>
                  <a:cubicBezTo>
                    <a:pt x="584974" y="12545"/>
                    <a:pt x="584615" y="12815"/>
                    <a:pt x="584561" y="13204"/>
                  </a:cubicBezTo>
                  <a:cubicBezTo>
                    <a:pt x="584552" y="13269"/>
                    <a:pt x="584552" y="13336"/>
                    <a:pt x="584561" y="13402"/>
                  </a:cubicBezTo>
                  <a:lnTo>
                    <a:pt x="584561" y="42027"/>
                  </a:lnTo>
                  <a:cubicBezTo>
                    <a:pt x="584508" y="42415"/>
                    <a:pt x="584778" y="42775"/>
                    <a:pt x="585165" y="42829"/>
                  </a:cubicBezTo>
                  <a:cubicBezTo>
                    <a:pt x="585230" y="42839"/>
                    <a:pt x="585299" y="42839"/>
                    <a:pt x="585364" y="42829"/>
                  </a:cubicBezTo>
                  <a:close/>
                  <a:moveTo>
                    <a:pt x="674717" y="92452"/>
                  </a:moveTo>
                  <a:cubicBezTo>
                    <a:pt x="674066" y="92540"/>
                    <a:pt x="673468" y="92084"/>
                    <a:pt x="673379" y="91433"/>
                  </a:cubicBezTo>
                  <a:cubicBezTo>
                    <a:pt x="673364" y="91327"/>
                    <a:pt x="673364" y="91220"/>
                    <a:pt x="673379" y="91114"/>
                  </a:cubicBezTo>
                  <a:lnTo>
                    <a:pt x="673379" y="13384"/>
                  </a:lnTo>
                  <a:cubicBezTo>
                    <a:pt x="673432" y="12996"/>
                    <a:pt x="673162" y="12636"/>
                    <a:pt x="672776" y="12581"/>
                  </a:cubicBezTo>
                  <a:cubicBezTo>
                    <a:pt x="672710" y="12572"/>
                    <a:pt x="672642" y="12572"/>
                    <a:pt x="672576" y="12581"/>
                  </a:cubicBezTo>
                  <a:lnTo>
                    <a:pt x="647697" y="12581"/>
                  </a:lnTo>
                  <a:cubicBezTo>
                    <a:pt x="647046" y="12670"/>
                    <a:pt x="646448" y="12213"/>
                    <a:pt x="646359" y="11563"/>
                  </a:cubicBezTo>
                  <a:cubicBezTo>
                    <a:pt x="646344" y="11457"/>
                    <a:pt x="646344" y="11350"/>
                    <a:pt x="646359" y="11244"/>
                  </a:cubicBezTo>
                  <a:lnTo>
                    <a:pt x="646359" y="2832"/>
                  </a:lnTo>
                  <a:cubicBezTo>
                    <a:pt x="646270" y="2181"/>
                    <a:pt x="646728" y="1582"/>
                    <a:pt x="647379" y="1494"/>
                  </a:cubicBezTo>
                  <a:cubicBezTo>
                    <a:pt x="647483" y="1480"/>
                    <a:pt x="647590" y="1480"/>
                    <a:pt x="647697" y="1494"/>
                  </a:cubicBezTo>
                  <a:lnTo>
                    <a:pt x="710966" y="1494"/>
                  </a:lnTo>
                  <a:cubicBezTo>
                    <a:pt x="711617" y="1406"/>
                    <a:pt x="712214" y="1862"/>
                    <a:pt x="712304" y="2513"/>
                  </a:cubicBezTo>
                  <a:cubicBezTo>
                    <a:pt x="712318" y="2619"/>
                    <a:pt x="712318" y="2726"/>
                    <a:pt x="712304" y="2832"/>
                  </a:cubicBezTo>
                  <a:lnTo>
                    <a:pt x="712304" y="11259"/>
                  </a:lnTo>
                  <a:cubicBezTo>
                    <a:pt x="712393" y="11909"/>
                    <a:pt x="711935" y="12508"/>
                    <a:pt x="711284" y="12596"/>
                  </a:cubicBezTo>
                  <a:cubicBezTo>
                    <a:pt x="711180" y="12611"/>
                    <a:pt x="711073" y="12611"/>
                    <a:pt x="710966" y="12596"/>
                  </a:cubicBezTo>
                  <a:lnTo>
                    <a:pt x="686086" y="12596"/>
                  </a:lnTo>
                  <a:cubicBezTo>
                    <a:pt x="685697" y="12542"/>
                    <a:pt x="685337" y="12812"/>
                    <a:pt x="685284" y="13201"/>
                  </a:cubicBezTo>
                  <a:cubicBezTo>
                    <a:pt x="685275" y="13266"/>
                    <a:pt x="685275" y="13333"/>
                    <a:pt x="685284" y="13399"/>
                  </a:cubicBezTo>
                  <a:lnTo>
                    <a:pt x="685284" y="91114"/>
                  </a:lnTo>
                  <a:cubicBezTo>
                    <a:pt x="685373" y="91765"/>
                    <a:pt x="684915" y="92364"/>
                    <a:pt x="684264" y="92452"/>
                  </a:cubicBezTo>
                  <a:cubicBezTo>
                    <a:pt x="684160" y="92466"/>
                    <a:pt x="684053" y="92466"/>
                    <a:pt x="683946" y="92452"/>
                  </a:cubicBezTo>
                  <a:close/>
                  <a:moveTo>
                    <a:pt x="740393" y="2832"/>
                  </a:moveTo>
                  <a:cubicBezTo>
                    <a:pt x="740524" y="2051"/>
                    <a:pt x="741208" y="1483"/>
                    <a:pt x="741999" y="1494"/>
                  </a:cubicBezTo>
                  <a:lnTo>
                    <a:pt x="750693" y="1494"/>
                  </a:lnTo>
                  <a:cubicBezTo>
                    <a:pt x="751525" y="1448"/>
                    <a:pt x="752263" y="2017"/>
                    <a:pt x="752432" y="2832"/>
                  </a:cubicBezTo>
                  <a:lnTo>
                    <a:pt x="783598" y="91114"/>
                  </a:lnTo>
                  <a:cubicBezTo>
                    <a:pt x="783866" y="92006"/>
                    <a:pt x="783554" y="92452"/>
                    <a:pt x="782662" y="92452"/>
                  </a:cubicBezTo>
                  <a:lnTo>
                    <a:pt x="773299" y="92452"/>
                  </a:lnTo>
                  <a:cubicBezTo>
                    <a:pt x="772467" y="92499"/>
                    <a:pt x="771729" y="91929"/>
                    <a:pt x="771560" y="91114"/>
                  </a:cubicBezTo>
                  <a:lnTo>
                    <a:pt x="764604" y="71318"/>
                  </a:lnTo>
                  <a:lnTo>
                    <a:pt x="727820" y="71318"/>
                  </a:lnTo>
                  <a:lnTo>
                    <a:pt x="720864" y="91114"/>
                  </a:lnTo>
                  <a:cubicBezTo>
                    <a:pt x="720650" y="91899"/>
                    <a:pt x="719940" y="92446"/>
                    <a:pt x="719125" y="92452"/>
                  </a:cubicBezTo>
                  <a:lnTo>
                    <a:pt x="709762" y="92452"/>
                  </a:lnTo>
                  <a:cubicBezTo>
                    <a:pt x="708870" y="92452"/>
                    <a:pt x="708558" y="92006"/>
                    <a:pt x="708826" y="91114"/>
                  </a:cubicBezTo>
                  <a:close/>
                  <a:moveTo>
                    <a:pt x="760725" y="60349"/>
                  </a:moveTo>
                  <a:lnTo>
                    <a:pt x="746413" y="19017"/>
                  </a:lnTo>
                  <a:lnTo>
                    <a:pt x="746145" y="19017"/>
                  </a:lnTo>
                  <a:lnTo>
                    <a:pt x="731699" y="60349"/>
                  </a:lnTo>
                  <a:close/>
                  <a:moveTo>
                    <a:pt x="808478" y="92452"/>
                  </a:moveTo>
                  <a:cubicBezTo>
                    <a:pt x="807827" y="92540"/>
                    <a:pt x="807230" y="92084"/>
                    <a:pt x="807140" y="91433"/>
                  </a:cubicBezTo>
                  <a:cubicBezTo>
                    <a:pt x="807126" y="91327"/>
                    <a:pt x="807126" y="91220"/>
                    <a:pt x="807140" y="91114"/>
                  </a:cubicBezTo>
                  <a:lnTo>
                    <a:pt x="807140" y="13384"/>
                  </a:lnTo>
                  <a:cubicBezTo>
                    <a:pt x="807194" y="12996"/>
                    <a:pt x="806923" y="12636"/>
                    <a:pt x="806537" y="12581"/>
                  </a:cubicBezTo>
                  <a:cubicBezTo>
                    <a:pt x="806472" y="12572"/>
                    <a:pt x="806403" y="12572"/>
                    <a:pt x="806338" y="12581"/>
                  </a:cubicBezTo>
                  <a:lnTo>
                    <a:pt x="781458" y="12581"/>
                  </a:lnTo>
                  <a:cubicBezTo>
                    <a:pt x="780807" y="12670"/>
                    <a:pt x="780210" y="12213"/>
                    <a:pt x="780121" y="11563"/>
                  </a:cubicBezTo>
                  <a:cubicBezTo>
                    <a:pt x="780106" y="11457"/>
                    <a:pt x="780106" y="11350"/>
                    <a:pt x="780121" y="11244"/>
                  </a:cubicBezTo>
                  <a:lnTo>
                    <a:pt x="780121" y="2832"/>
                  </a:lnTo>
                  <a:cubicBezTo>
                    <a:pt x="780031" y="2181"/>
                    <a:pt x="780489" y="1582"/>
                    <a:pt x="781140" y="1494"/>
                  </a:cubicBezTo>
                  <a:cubicBezTo>
                    <a:pt x="781244" y="1480"/>
                    <a:pt x="781351" y="1480"/>
                    <a:pt x="781458" y="1494"/>
                  </a:cubicBezTo>
                  <a:lnTo>
                    <a:pt x="844727" y="1494"/>
                  </a:lnTo>
                  <a:cubicBezTo>
                    <a:pt x="845378" y="1406"/>
                    <a:pt x="845976" y="1862"/>
                    <a:pt x="846065" y="2513"/>
                  </a:cubicBezTo>
                  <a:cubicBezTo>
                    <a:pt x="846080" y="2619"/>
                    <a:pt x="846080" y="2726"/>
                    <a:pt x="846065" y="2832"/>
                  </a:cubicBezTo>
                  <a:lnTo>
                    <a:pt x="846065" y="11259"/>
                  </a:lnTo>
                  <a:cubicBezTo>
                    <a:pt x="846154" y="11909"/>
                    <a:pt x="845696" y="12508"/>
                    <a:pt x="845046" y="12596"/>
                  </a:cubicBezTo>
                  <a:cubicBezTo>
                    <a:pt x="844941" y="12611"/>
                    <a:pt x="844834" y="12611"/>
                    <a:pt x="844727" y="12596"/>
                  </a:cubicBezTo>
                  <a:lnTo>
                    <a:pt x="819848" y="12596"/>
                  </a:lnTo>
                  <a:cubicBezTo>
                    <a:pt x="819458" y="12542"/>
                    <a:pt x="819099" y="12812"/>
                    <a:pt x="819045" y="13201"/>
                  </a:cubicBezTo>
                  <a:cubicBezTo>
                    <a:pt x="819036" y="13266"/>
                    <a:pt x="819036" y="13333"/>
                    <a:pt x="819045" y="13399"/>
                  </a:cubicBezTo>
                  <a:lnTo>
                    <a:pt x="819045" y="91114"/>
                  </a:lnTo>
                  <a:cubicBezTo>
                    <a:pt x="819134" y="91765"/>
                    <a:pt x="818677" y="92364"/>
                    <a:pt x="818026" y="92452"/>
                  </a:cubicBezTo>
                  <a:cubicBezTo>
                    <a:pt x="817922" y="92466"/>
                    <a:pt x="817815" y="92466"/>
                    <a:pt x="817708" y="92452"/>
                  </a:cubicBezTo>
                  <a:close/>
                  <a:moveTo>
                    <a:pt x="860259" y="2832"/>
                  </a:moveTo>
                  <a:cubicBezTo>
                    <a:pt x="860169" y="2181"/>
                    <a:pt x="860627" y="1582"/>
                    <a:pt x="861278" y="1494"/>
                  </a:cubicBezTo>
                  <a:cubicBezTo>
                    <a:pt x="861382" y="1480"/>
                    <a:pt x="861489" y="1480"/>
                    <a:pt x="861596" y="1494"/>
                  </a:cubicBezTo>
                  <a:lnTo>
                    <a:pt x="870811" y="1494"/>
                  </a:lnTo>
                  <a:cubicBezTo>
                    <a:pt x="871462" y="1406"/>
                    <a:pt x="872059" y="1862"/>
                    <a:pt x="872149" y="2513"/>
                  </a:cubicBezTo>
                  <a:cubicBezTo>
                    <a:pt x="872163" y="2619"/>
                    <a:pt x="872163" y="2726"/>
                    <a:pt x="872149" y="2832"/>
                  </a:cubicBezTo>
                  <a:lnTo>
                    <a:pt x="872149" y="91114"/>
                  </a:lnTo>
                  <a:cubicBezTo>
                    <a:pt x="872238" y="91765"/>
                    <a:pt x="871780" y="92364"/>
                    <a:pt x="871129" y="92452"/>
                  </a:cubicBezTo>
                  <a:cubicBezTo>
                    <a:pt x="871025" y="92466"/>
                    <a:pt x="870918" y="92466"/>
                    <a:pt x="870811" y="92452"/>
                  </a:cubicBezTo>
                  <a:lnTo>
                    <a:pt x="861596" y="92452"/>
                  </a:lnTo>
                  <a:cubicBezTo>
                    <a:pt x="860945" y="92540"/>
                    <a:pt x="860348" y="92084"/>
                    <a:pt x="860259" y="91433"/>
                  </a:cubicBezTo>
                  <a:cubicBezTo>
                    <a:pt x="860244" y="91327"/>
                    <a:pt x="860244" y="91220"/>
                    <a:pt x="860259" y="91114"/>
                  </a:cubicBezTo>
                  <a:close/>
                  <a:moveTo>
                    <a:pt x="924732" y="93923"/>
                  </a:moveTo>
                  <a:cubicBezTo>
                    <a:pt x="917853" y="94145"/>
                    <a:pt x="911070" y="92280"/>
                    <a:pt x="905271" y="88573"/>
                  </a:cubicBezTo>
                  <a:cubicBezTo>
                    <a:pt x="899757" y="84724"/>
                    <a:pt x="895723" y="79109"/>
                    <a:pt x="893833" y="72655"/>
                  </a:cubicBezTo>
                  <a:cubicBezTo>
                    <a:pt x="893381" y="71289"/>
                    <a:pt x="893000" y="69900"/>
                    <a:pt x="892694" y="68494"/>
                  </a:cubicBezTo>
                  <a:cubicBezTo>
                    <a:pt x="892350" y="66839"/>
                    <a:pt x="892103" y="65164"/>
                    <a:pt x="891960" y="63479"/>
                  </a:cubicBezTo>
                  <a:cubicBezTo>
                    <a:pt x="891782" y="61563"/>
                    <a:pt x="891648" y="59266"/>
                    <a:pt x="891559" y="56589"/>
                  </a:cubicBezTo>
                  <a:cubicBezTo>
                    <a:pt x="891470" y="53912"/>
                    <a:pt x="891425" y="50701"/>
                    <a:pt x="891425" y="46958"/>
                  </a:cubicBezTo>
                  <a:cubicBezTo>
                    <a:pt x="891425" y="43213"/>
                    <a:pt x="891470" y="40003"/>
                    <a:pt x="891559" y="37327"/>
                  </a:cubicBezTo>
                  <a:cubicBezTo>
                    <a:pt x="891648" y="34652"/>
                    <a:pt x="891782" y="32356"/>
                    <a:pt x="891960" y="30440"/>
                  </a:cubicBezTo>
                  <a:cubicBezTo>
                    <a:pt x="892103" y="28755"/>
                    <a:pt x="892350" y="27081"/>
                    <a:pt x="892694" y="25426"/>
                  </a:cubicBezTo>
                  <a:cubicBezTo>
                    <a:pt x="893000" y="24019"/>
                    <a:pt x="893381" y="22630"/>
                    <a:pt x="893833" y="21264"/>
                  </a:cubicBezTo>
                  <a:cubicBezTo>
                    <a:pt x="895720" y="14817"/>
                    <a:pt x="899751" y="9207"/>
                    <a:pt x="905256" y="5358"/>
                  </a:cubicBezTo>
                  <a:cubicBezTo>
                    <a:pt x="917298" y="-1776"/>
                    <a:pt x="932273" y="-1776"/>
                    <a:pt x="944314" y="5358"/>
                  </a:cubicBezTo>
                  <a:cubicBezTo>
                    <a:pt x="949828" y="9207"/>
                    <a:pt x="953862" y="14823"/>
                    <a:pt x="955752" y="21276"/>
                  </a:cubicBezTo>
                  <a:cubicBezTo>
                    <a:pt x="956204" y="22642"/>
                    <a:pt x="956585" y="24031"/>
                    <a:pt x="956891" y="25437"/>
                  </a:cubicBezTo>
                  <a:cubicBezTo>
                    <a:pt x="957236" y="27094"/>
                    <a:pt x="957482" y="28769"/>
                    <a:pt x="957625" y="30455"/>
                  </a:cubicBezTo>
                  <a:cubicBezTo>
                    <a:pt x="957803" y="32373"/>
                    <a:pt x="957937" y="34669"/>
                    <a:pt x="958026" y="37342"/>
                  </a:cubicBezTo>
                  <a:cubicBezTo>
                    <a:pt x="958116" y="40015"/>
                    <a:pt x="958160" y="43226"/>
                    <a:pt x="958160" y="46973"/>
                  </a:cubicBezTo>
                  <a:cubicBezTo>
                    <a:pt x="958160" y="50718"/>
                    <a:pt x="958116" y="53929"/>
                    <a:pt x="958026" y="56604"/>
                  </a:cubicBezTo>
                  <a:cubicBezTo>
                    <a:pt x="957937" y="59279"/>
                    <a:pt x="957803" y="61576"/>
                    <a:pt x="957625" y="63494"/>
                  </a:cubicBezTo>
                  <a:cubicBezTo>
                    <a:pt x="957482" y="65180"/>
                    <a:pt x="957236" y="66855"/>
                    <a:pt x="956891" y="68512"/>
                  </a:cubicBezTo>
                  <a:cubicBezTo>
                    <a:pt x="956585" y="69918"/>
                    <a:pt x="956204" y="71307"/>
                    <a:pt x="955752" y="72673"/>
                  </a:cubicBezTo>
                  <a:cubicBezTo>
                    <a:pt x="953862" y="79126"/>
                    <a:pt x="949828" y="84742"/>
                    <a:pt x="944314" y="88591"/>
                  </a:cubicBezTo>
                  <a:cubicBezTo>
                    <a:pt x="938470" y="92304"/>
                    <a:pt x="931637" y="94163"/>
                    <a:pt x="924717" y="93923"/>
                  </a:cubicBezTo>
                  <a:close/>
                  <a:moveTo>
                    <a:pt x="924732" y="82821"/>
                  </a:moveTo>
                  <a:cubicBezTo>
                    <a:pt x="929143" y="83016"/>
                    <a:pt x="933500" y="81797"/>
                    <a:pt x="937171" y="79343"/>
                  </a:cubicBezTo>
                  <a:cubicBezTo>
                    <a:pt x="940513" y="76839"/>
                    <a:pt x="942953" y="73319"/>
                    <a:pt x="944127" y="69311"/>
                  </a:cubicBezTo>
                  <a:cubicBezTo>
                    <a:pt x="944439" y="68325"/>
                    <a:pt x="944686" y="67319"/>
                    <a:pt x="944861" y="66300"/>
                  </a:cubicBezTo>
                  <a:cubicBezTo>
                    <a:pt x="945084" y="65095"/>
                    <a:pt x="945307" y="63602"/>
                    <a:pt x="945530" y="61821"/>
                  </a:cubicBezTo>
                  <a:cubicBezTo>
                    <a:pt x="945753" y="60039"/>
                    <a:pt x="945908" y="57944"/>
                    <a:pt x="946000" y="55534"/>
                  </a:cubicBezTo>
                  <a:cubicBezTo>
                    <a:pt x="946089" y="53126"/>
                    <a:pt x="946134" y="50273"/>
                    <a:pt x="946134" y="46973"/>
                  </a:cubicBezTo>
                  <a:cubicBezTo>
                    <a:pt x="946134" y="43674"/>
                    <a:pt x="946089" y="40820"/>
                    <a:pt x="946000" y="38412"/>
                  </a:cubicBezTo>
                  <a:cubicBezTo>
                    <a:pt x="945911" y="36005"/>
                    <a:pt x="945753" y="33909"/>
                    <a:pt x="945530" y="32126"/>
                  </a:cubicBezTo>
                  <a:cubicBezTo>
                    <a:pt x="945307" y="30342"/>
                    <a:pt x="945084" y="28849"/>
                    <a:pt x="944861" y="27646"/>
                  </a:cubicBezTo>
                  <a:cubicBezTo>
                    <a:pt x="944686" y="26627"/>
                    <a:pt x="944439" y="25621"/>
                    <a:pt x="944127" y="24635"/>
                  </a:cubicBezTo>
                  <a:cubicBezTo>
                    <a:pt x="942953" y="20627"/>
                    <a:pt x="940513" y="17107"/>
                    <a:pt x="937171" y="14603"/>
                  </a:cubicBezTo>
                  <a:cubicBezTo>
                    <a:pt x="933500" y="12149"/>
                    <a:pt x="929143" y="10931"/>
                    <a:pt x="924732" y="11125"/>
                  </a:cubicBezTo>
                  <a:cubicBezTo>
                    <a:pt x="920341" y="10923"/>
                    <a:pt x="916002" y="12143"/>
                    <a:pt x="912357" y="14603"/>
                  </a:cubicBezTo>
                  <a:cubicBezTo>
                    <a:pt x="909049" y="17125"/>
                    <a:pt x="906632" y="20641"/>
                    <a:pt x="905467" y="24635"/>
                  </a:cubicBezTo>
                  <a:cubicBezTo>
                    <a:pt x="905155" y="25621"/>
                    <a:pt x="904908" y="26627"/>
                    <a:pt x="904733" y="27646"/>
                  </a:cubicBezTo>
                  <a:cubicBezTo>
                    <a:pt x="904510" y="28849"/>
                    <a:pt x="904287" y="30342"/>
                    <a:pt x="904064" y="32126"/>
                  </a:cubicBezTo>
                  <a:cubicBezTo>
                    <a:pt x="903841" y="33909"/>
                    <a:pt x="903684" y="36005"/>
                    <a:pt x="903594" y="38412"/>
                  </a:cubicBezTo>
                  <a:cubicBezTo>
                    <a:pt x="903505" y="40820"/>
                    <a:pt x="903461" y="43674"/>
                    <a:pt x="903461" y="46973"/>
                  </a:cubicBezTo>
                  <a:cubicBezTo>
                    <a:pt x="903461" y="50273"/>
                    <a:pt x="903505" y="53126"/>
                    <a:pt x="903594" y="55534"/>
                  </a:cubicBezTo>
                  <a:cubicBezTo>
                    <a:pt x="903684" y="57941"/>
                    <a:pt x="903841" y="60037"/>
                    <a:pt x="904064" y="61821"/>
                  </a:cubicBezTo>
                  <a:cubicBezTo>
                    <a:pt x="904287" y="63604"/>
                    <a:pt x="904510" y="65097"/>
                    <a:pt x="904733" y="66300"/>
                  </a:cubicBezTo>
                  <a:cubicBezTo>
                    <a:pt x="904908" y="67319"/>
                    <a:pt x="905155" y="68325"/>
                    <a:pt x="905467" y="69311"/>
                  </a:cubicBezTo>
                  <a:cubicBezTo>
                    <a:pt x="906632" y="73305"/>
                    <a:pt x="909049" y="76821"/>
                    <a:pt x="912357" y="79343"/>
                  </a:cubicBezTo>
                  <a:cubicBezTo>
                    <a:pt x="915996" y="81800"/>
                    <a:pt x="920329" y="83020"/>
                    <a:pt x="924717" y="82821"/>
                  </a:cubicBezTo>
                  <a:close/>
                  <a:moveTo>
                    <a:pt x="977434" y="2832"/>
                  </a:moveTo>
                  <a:cubicBezTo>
                    <a:pt x="977345" y="2181"/>
                    <a:pt x="977802" y="1582"/>
                    <a:pt x="978453" y="1494"/>
                  </a:cubicBezTo>
                  <a:cubicBezTo>
                    <a:pt x="978557" y="1480"/>
                    <a:pt x="978664" y="1480"/>
                    <a:pt x="978771" y="1494"/>
                  </a:cubicBezTo>
                  <a:lnTo>
                    <a:pt x="987332" y="1494"/>
                  </a:lnTo>
                  <a:cubicBezTo>
                    <a:pt x="988292" y="1429"/>
                    <a:pt x="989196" y="1960"/>
                    <a:pt x="989606" y="2832"/>
                  </a:cubicBezTo>
                  <a:lnTo>
                    <a:pt x="1030790" y="71050"/>
                  </a:lnTo>
                  <a:lnTo>
                    <a:pt x="1031325" y="71050"/>
                  </a:lnTo>
                  <a:lnTo>
                    <a:pt x="1031325" y="2832"/>
                  </a:lnTo>
                  <a:cubicBezTo>
                    <a:pt x="1031236" y="2181"/>
                    <a:pt x="1031693" y="1582"/>
                    <a:pt x="1032344" y="1494"/>
                  </a:cubicBezTo>
                  <a:cubicBezTo>
                    <a:pt x="1032448" y="1480"/>
                    <a:pt x="1032555" y="1480"/>
                    <a:pt x="1032662" y="1494"/>
                  </a:cubicBezTo>
                  <a:lnTo>
                    <a:pt x="1041089" y="1494"/>
                  </a:lnTo>
                  <a:cubicBezTo>
                    <a:pt x="1041740" y="1406"/>
                    <a:pt x="1042338" y="1862"/>
                    <a:pt x="1042427" y="2513"/>
                  </a:cubicBezTo>
                  <a:cubicBezTo>
                    <a:pt x="1042442" y="2619"/>
                    <a:pt x="1042442" y="2726"/>
                    <a:pt x="1042427" y="2832"/>
                  </a:cubicBezTo>
                  <a:lnTo>
                    <a:pt x="1042427" y="91114"/>
                  </a:lnTo>
                  <a:cubicBezTo>
                    <a:pt x="1042516" y="91765"/>
                    <a:pt x="1042058" y="92364"/>
                    <a:pt x="1041407" y="92452"/>
                  </a:cubicBezTo>
                  <a:cubicBezTo>
                    <a:pt x="1041303" y="92466"/>
                    <a:pt x="1041196" y="92466"/>
                    <a:pt x="1041089" y="92452"/>
                  </a:cubicBezTo>
                  <a:lnTo>
                    <a:pt x="1032529" y="92452"/>
                  </a:lnTo>
                  <a:cubicBezTo>
                    <a:pt x="1031568" y="92517"/>
                    <a:pt x="1030665" y="91986"/>
                    <a:pt x="1030255" y="91114"/>
                  </a:cubicBezTo>
                  <a:lnTo>
                    <a:pt x="988937" y="23164"/>
                  </a:lnTo>
                  <a:lnTo>
                    <a:pt x="988536" y="23164"/>
                  </a:lnTo>
                  <a:lnTo>
                    <a:pt x="988536" y="91114"/>
                  </a:lnTo>
                  <a:cubicBezTo>
                    <a:pt x="988625" y="91765"/>
                    <a:pt x="988170" y="92365"/>
                    <a:pt x="987519" y="92454"/>
                  </a:cubicBezTo>
                  <a:cubicBezTo>
                    <a:pt x="987409" y="92469"/>
                    <a:pt x="987293" y="92469"/>
                    <a:pt x="987183" y="92452"/>
                  </a:cubicBezTo>
                  <a:lnTo>
                    <a:pt x="978756" y="92452"/>
                  </a:lnTo>
                  <a:cubicBezTo>
                    <a:pt x="978106" y="92540"/>
                    <a:pt x="977508" y="92084"/>
                    <a:pt x="977419" y="91433"/>
                  </a:cubicBezTo>
                  <a:cubicBezTo>
                    <a:pt x="977404" y="91327"/>
                    <a:pt x="977404" y="91220"/>
                    <a:pt x="977419" y="91114"/>
                  </a:cubicBezTo>
                  <a:close/>
                  <a:moveTo>
                    <a:pt x="1063041" y="79611"/>
                  </a:moveTo>
                  <a:cubicBezTo>
                    <a:pt x="1062952" y="78960"/>
                    <a:pt x="1063410" y="78361"/>
                    <a:pt x="1064061" y="78273"/>
                  </a:cubicBezTo>
                  <a:cubicBezTo>
                    <a:pt x="1064165" y="78259"/>
                    <a:pt x="1064272" y="78259"/>
                    <a:pt x="1064379" y="78273"/>
                  </a:cubicBezTo>
                  <a:lnTo>
                    <a:pt x="1074545" y="78273"/>
                  </a:lnTo>
                  <a:cubicBezTo>
                    <a:pt x="1075196" y="78185"/>
                    <a:pt x="1075793" y="78642"/>
                    <a:pt x="1075882" y="79292"/>
                  </a:cubicBezTo>
                  <a:cubicBezTo>
                    <a:pt x="1075897" y="79398"/>
                    <a:pt x="1075897" y="79505"/>
                    <a:pt x="1075882" y="79611"/>
                  </a:cubicBezTo>
                  <a:lnTo>
                    <a:pt x="1075882" y="91114"/>
                  </a:lnTo>
                  <a:cubicBezTo>
                    <a:pt x="1075971" y="91765"/>
                    <a:pt x="1075514" y="92364"/>
                    <a:pt x="1074863" y="92452"/>
                  </a:cubicBezTo>
                  <a:cubicBezTo>
                    <a:pt x="1074759" y="92466"/>
                    <a:pt x="1074652" y="92466"/>
                    <a:pt x="1074545" y="92452"/>
                  </a:cubicBezTo>
                  <a:lnTo>
                    <a:pt x="1064379" y="92452"/>
                  </a:lnTo>
                  <a:cubicBezTo>
                    <a:pt x="1063728" y="92540"/>
                    <a:pt x="1063130" y="92084"/>
                    <a:pt x="1063041" y="91433"/>
                  </a:cubicBezTo>
                  <a:cubicBezTo>
                    <a:pt x="1063026" y="91327"/>
                    <a:pt x="1063026" y="91220"/>
                    <a:pt x="1063041" y="91114"/>
                  </a:cubicBezTo>
                  <a:close/>
                </a:path>
              </a:pathLst>
            </a:custGeom>
            <a:solidFill>
              <a:schemeClr val="bg1"/>
            </a:solidFill>
            <a:ln w="2965" cap="flat">
              <a:noFill/>
              <a:prstDash val="solid"/>
              <a:miter/>
            </a:ln>
          </p:spPr>
          <p:txBody>
            <a:bodyPr rtlCol="0" anchor="ctr"/>
            <a:lstStyle/>
            <a:p>
              <a:endParaRPr lang="de-DE"/>
            </a:p>
          </p:txBody>
        </p:sp>
        <p:sp>
          <p:nvSpPr>
            <p:cNvPr id="44" name="Freeform: Shape 43">
              <a:extLst>
                <a:ext uri="{FF2B5EF4-FFF2-40B4-BE49-F238E27FC236}">
                  <a16:creationId xmlns:a16="http://schemas.microsoft.com/office/drawing/2014/main" id="{3C0EFA0D-E168-424D-B927-58B187D4D854}"/>
                </a:ext>
              </a:extLst>
            </p:cNvPr>
            <p:cNvSpPr/>
            <p:nvPr/>
          </p:nvSpPr>
          <p:spPr>
            <a:xfrm>
              <a:off x="1246399" y="810525"/>
              <a:ext cx="1193687" cy="93972"/>
            </a:xfrm>
            <a:custGeom>
              <a:avLst/>
              <a:gdLst>
                <a:gd name="connsiteX0" fmla="*/ 31941 w 1193687"/>
                <a:gd name="connsiteY0" fmla="*/ 2904 h 93972"/>
                <a:gd name="connsiteX1" fmla="*/ 33546 w 1193687"/>
                <a:gd name="connsiteY1" fmla="*/ 1567 h 93972"/>
                <a:gd name="connsiteX2" fmla="*/ 42240 w 1193687"/>
                <a:gd name="connsiteY2" fmla="*/ 1567 h 93972"/>
                <a:gd name="connsiteX3" fmla="*/ 43979 w 1193687"/>
                <a:gd name="connsiteY3" fmla="*/ 2904 h 93972"/>
                <a:gd name="connsiteX4" fmla="*/ 75145 w 1193687"/>
                <a:gd name="connsiteY4" fmla="*/ 91187 h 93972"/>
                <a:gd name="connsiteX5" fmla="*/ 74209 w 1193687"/>
                <a:gd name="connsiteY5" fmla="*/ 92524 h 93972"/>
                <a:gd name="connsiteX6" fmla="*/ 64846 w 1193687"/>
                <a:gd name="connsiteY6" fmla="*/ 92524 h 93972"/>
                <a:gd name="connsiteX7" fmla="*/ 63107 w 1193687"/>
                <a:gd name="connsiteY7" fmla="*/ 91187 h 93972"/>
                <a:gd name="connsiteX8" fmla="*/ 56151 w 1193687"/>
                <a:gd name="connsiteY8" fmla="*/ 71390 h 93972"/>
                <a:gd name="connsiteX9" fmla="*/ 19367 w 1193687"/>
                <a:gd name="connsiteY9" fmla="*/ 71390 h 93972"/>
                <a:gd name="connsiteX10" fmla="*/ 12411 w 1193687"/>
                <a:gd name="connsiteY10" fmla="*/ 91187 h 93972"/>
                <a:gd name="connsiteX11" fmla="*/ 10672 w 1193687"/>
                <a:gd name="connsiteY11" fmla="*/ 92524 h 93972"/>
                <a:gd name="connsiteX12" fmla="*/ 1309 w 1193687"/>
                <a:gd name="connsiteY12" fmla="*/ 92524 h 93972"/>
                <a:gd name="connsiteX13" fmla="*/ 373 w 1193687"/>
                <a:gd name="connsiteY13" fmla="*/ 91187 h 93972"/>
                <a:gd name="connsiteX14" fmla="*/ 52272 w 1193687"/>
                <a:gd name="connsiteY14" fmla="*/ 60422 h 93972"/>
                <a:gd name="connsiteX15" fmla="*/ 37960 w 1193687"/>
                <a:gd name="connsiteY15" fmla="*/ 19089 h 93972"/>
                <a:gd name="connsiteX16" fmla="*/ 37692 w 1193687"/>
                <a:gd name="connsiteY16" fmla="*/ 19089 h 93972"/>
                <a:gd name="connsiteX17" fmla="*/ 23246 w 1193687"/>
                <a:gd name="connsiteY17" fmla="*/ 60422 h 93972"/>
                <a:gd name="connsiteX18" fmla="*/ 105911 w 1193687"/>
                <a:gd name="connsiteY18" fmla="*/ 92524 h 93972"/>
                <a:gd name="connsiteX19" fmla="*/ 104305 w 1193687"/>
                <a:gd name="connsiteY19" fmla="*/ 91187 h 93972"/>
                <a:gd name="connsiteX20" fmla="*/ 74878 w 1193687"/>
                <a:gd name="connsiteY20" fmla="*/ 3172 h 93972"/>
                <a:gd name="connsiteX21" fmla="*/ 74878 w 1193687"/>
                <a:gd name="connsiteY21" fmla="*/ 1968 h 93972"/>
                <a:gd name="connsiteX22" fmla="*/ 75814 w 1193687"/>
                <a:gd name="connsiteY22" fmla="*/ 1567 h 93972"/>
                <a:gd name="connsiteX23" fmla="*/ 84910 w 1193687"/>
                <a:gd name="connsiteY23" fmla="*/ 1567 h 93972"/>
                <a:gd name="connsiteX24" fmla="*/ 86783 w 1193687"/>
                <a:gd name="connsiteY24" fmla="*/ 2904 h 93972"/>
                <a:gd name="connsiteX25" fmla="*/ 110057 w 1193687"/>
                <a:gd name="connsiteY25" fmla="*/ 73129 h 93972"/>
                <a:gd name="connsiteX26" fmla="*/ 110325 w 1193687"/>
                <a:gd name="connsiteY26" fmla="*/ 73129 h 93972"/>
                <a:gd name="connsiteX27" fmla="*/ 132797 w 1193687"/>
                <a:gd name="connsiteY27" fmla="*/ 2904 h 93972"/>
                <a:gd name="connsiteX28" fmla="*/ 134536 w 1193687"/>
                <a:gd name="connsiteY28" fmla="*/ 1567 h 93972"/>
                <a:gd name="connsiteX29" fmla="*/ 143750 w 1193687"/>
                <a:gd name="connsiteY29" fmla="*/ 1567 h 93972"/>
                <a:gd name="connsiteX30" fmla="*/ 144687 w 1193687"/>
                <a:gd name="connsiteY30" fmla="*/ 3172 h 93972"/>
                <a:gd name="connsiteX31" fmla="*/ 115408 w 1193687"/>
                <a:gd name="connsiteY31" fmla="*/ 91187 h 93972"/>
                <a:gd name="connsiteX32" fmla="*/ 113803 w 1193687"/>
                <a:gd name="connsiteY32" fmla="*/ 92524 h 93972"/>
                <a:gd name="connsiteX33" fmla="*/ 158613 w 1193687"/>
                <a:gd name="connsiteY33" fmla="*/ 2904 h 93972"/>
                <a:gd name="connsiteX34" fmla="*/ 159632 w 1193687"/>
                <a:gd name="connsiteY34" fmla="*/ 1567 h 93972"/>
                <a:gd name="connsiteX35" fmla="*/ 159950 w 1193687"/>
                <a:gd name="connsiteY35" fmla="*/ 1567 h 93972"/>
                <a:gd name="connsiteX36" fmla="*/ 169165 w 1193687"/>
                <a:gd name="connsiteY36" fmla="*/ 1567 h 93972"/>
                <a:gd name="connsiteX37" fmla="*/ 170503 w 1193687"/>
                <a:gd name="connsiteY37" fmla="*/ 2586 h 93972"/>
                <a:gd name="connsiteX38" fmla="*/ 170503 w 1193687"/>
                <a:gd name="connsiteY38" fmla="*/ 2904 h 93972"/>
                <a:gd name="connsiteX39" fmla="*/ 170503 w 1193687"/>
                <a:gd name="connsiteY39" fmla="*/ 91187 h 93972"/>
                <a:gd name="connsiteX40" fmla="*/ 169484 w 1193687"/>
                <a:gd name="connsiteY40" fmla="*/ 92524 h 93972"/>
                <a:gd name="connsiteX41" fmla="*/ 169165 w 1193687"/>
                <a:gd name="connsiteY41" fmla="*/ 92524 h 93972"/>
                <a:gd name="connsiteX42" fmla="*/ 159950 w 1193687"/>
                <a:gd name="connsiteY42" fmla="*/ 92524 h 93972"/>
                <a:gd name="connsiteX43" fmla="*/ 158613 w 1193687"/>
                <a:gd name="connsiteY43" fmla="*/ 91505 h 93972"/>
                <a:gd name="connsiteX44" fmla="*/ 158613 w 1193687"/>
                <a:gd name="connsiteY44" fmla="*/ 91187 h 93972"/>
                <a:gd name="connsiteX45" fmla="*/ 216531 w 1193687"/>
                <a:gd name="connsiteY45" fmla="*/ 2904 h 93972"/>
                <a:gd name="connsiteX46" fmla="*/ 218137 w 1193687"/>
                <a:gd name="connsiteY46" fmla="*/ 1567 h 93972"/>
                <a:gd name="connsiteX47" fmla="*/ 226831 w 1193687"/>
                <a:gd name="connsiteY47" fmla="*/ 1567 h 93972"/>
                <a:gd name="connsiteX48" fmla="*/ 228570 w 1193687"/>
                <a:gd name="connsiteY48" fmla="*/ 2904 h 93972"/>
                <a:gd name="connsiteX49" fmla="*/ 259736 w 1193687"/>
                <a:gd name="connsiteY49" fmla="*/ 91187 h 93972"/>
                <a:gd name="connsiteX50" fmla="*/ 258800 w 1193687"/>
                <a:gd name="connsiteY50" fmla="*/ 92524 h 93972"/>
                <a:gd name="connsiteX51" fmla="*/ 249437 w 1193687"/>
                <a:gd name="connsiteY51" fmla="*/ 92524 h 93972"/>
                <a:gd name="connsiteX52" fmla="*/ 247698 w 1193687"/>
                <a:gd name="connsiteY52" fmla="*/ 91187 h 93972"/>
                <a:gd name="connsiteX53" fmla="*/ 240742 w 1193687"/>
                <a:gd name="connsiteY53" fmla="*/ 71390 h 93972"/>
                <a:gd name="connsiteX54" fmla="*/ 203958 w 1193687"/>
                <a:gd name="connsiteY54" fmla="*/ 71390 h 93972"/>
                <a:gd name="connsiteX55" fmla="*/ 197002 w 1193687"/>
                <a:gd name="connsiteY55" fmla="*/ 91187 h 93972"/>
                <a:gd name="connsiteX56" fmla="*/ 195263 w 1193687"/>
                <a:gd name="connsiteY56" fmla="*/ 92524 h 93972"/>
                <a:gd name="connsiteX57" fmla="*/ 185900 w 1193687"/>
                <a:gd name="connsiteY57" fmla="*/ 92524 h 93972"/>
                <a:gd name="connsiteX58" fmla="*/ 184964 w 1193687"/>
                <a:gd name="connsiteY58" fmla="*/ 91187 h 93972"/>
                <a:gd name="connsiteX59" fmla="*/ 236863 w 1193687"/>
                <a:gd name="connsiteY59" fmla="*/ 60422 h 93972"/>
                <a:gd name="connsiteX60" fmla="*/ 222551 w 1193687"/>
                <a:gd name="connsiteY60" fmla="*/ 19089 h 93972"/>
                <a:gd name="connsiteX61" fmla="*/ 222283 w 1193687"/>
                <a:gd name="connsiteY61" fmla="*/ 19089 h 93972"/>
                <a:gd name="connsiteX62" fmla="*/ 207837 w 1193687"/>
                <a:gd name="connsiteY62" fmla="*/ 60422 h 93972"/>
                <a:gd name="connsiteX63" fmla="*/ 284616 w 1193687"/>
                <a:gd name="connsiteY63" fmla="*/ 92524 h 93972"/>
                <a:gd name="connsiteX64" fmla="*/ 283278 w 1193687"/>
                <a:gd name="connsiteY64" fmla="*/ 91505 h 93972"/>
                <a:gd name="connsiteX65" fmla="*/ 283278 w 1193687"/>
                <a:gd name="connsiteY65" fmla="*/ 91187 h 93972"/>
                <a:gd name="connsiteX66" fmla="*/ 283278 w 1193687"/>
                <a:gd name="connsiteY66" fmla="*/ 13457 h 93972"/>
                <a:gd name="connsiteX67" fmla="*/ 282674 w 1193687"/>
                <a:gd name="connsiteY67" fmla="*/ 12654 h 93972"/>
                <a:gd name="connsiteX68" fmla="*/ 282476 w 1193687"/>
                <a:gd name="connsiteY68" fmla="*/ 12654 h 93972"/>
                <a:gd name="connsiteX69" fmla="*/ 257596 w 1193687"/>
                <a:gd name="connsiteY69" fmla="*/ 12654 h 93972"/>
                <a:gd name="connsiteX70" fmla="*/ 256259 w 1193687"/>
                <a:gd name="connsiteY70" fmla="*/ 11635 h 93972"/>
                <a:gd name="connsiteX71" fmla="*/ 256259 w 1193687"/>
                <a:gd name="connsiteY71" fmla="*/ 11316 h 93972"/>
                <a:gd name="connsiteX72" fmla="*/ 256259 w 1193687"/>
                <a:gd name="connsiteY72" fmla="*/ 2904 h 93972"/>
                <a:gd name="connsiteX73" fmla="*/ 257278 w 1193687"/>
                <a:gd name="connsiteY73" fmla="*/ 1567 h 93972"/>
                <a:gd name="connsiteX74" fmla="*/ 257596 w 1193687"/>
                <a:gd name="connsiteY74" fmla="*/ 1567 h 93972"/>
                <a:gd name="connsiteX75" fmla="*/ 320865 w 1193687"/>
                <a:gd name="connsiteY75" fmla="*/ 1567 h 93972"/>
                <a:gd name="connsiteX76" fmla="*/ 322203 w 1193687"/>
                <a:gd name="connsiteY76" fmla="*/ 2586 h 93972"/>
                <a:gd name="connsiteX77" fmla="*/ 322203 w 1193687"/>
                <a:gd name="connsiteY77" fmla="*/ 2904 h 93972"/>
                <a:gd name="connsiteX78" fmla="*/ 322203 w 1193687"/>
                <a:gd name="connsiteY78" fmla="*/ 11331 h 93972"/>
                <a:gd name="connsiteX79" fmla="*/ 321183 w 1193687"/>
                <a:gd name="connsiteY79" fmla="*/ 12669 h 93972"/>
                <a:gd name="connsiteX80" fmla="*/ 320865 w 1193687"/>
                <a:gd name="connsiteY80" fmla="*/ 12669 h 93972"/>
                <a:gd name="connsiteX81" fmla="*/ 295986 w 1193687"/>
                <a:gd name="connsiteY81" fmla="*/ 12669 h 93972"/>
                <a:gd name="connsiteX82" fmla="*/ 295183 w 1193687"/>
                <a:gd name="connsiteY82" fmla="*/ 13273 h 93972"/>
                <a:gd name="connsiteX83" fmla="*/ 295183 w 1193687"/>
                <a:gd name="connsiteY83" fmla="*/ 13471 h 93972"/>
                <a:gd name="connsiteX84" fmla="*/ 295183 w 1193687"/>
                <a:gd name="connsiteY84" fmla="*/ 91187 h 93972"/>
                <a:gd name="connsiteX85" fmla="*/ 294164 w 1193687"/>
                <a:gd name="connsiteY85" fmla="*/ 92524 h 93972"/>
                <a:gd name="connsiteX86" fmla="*/ 293846 w 1193687"/>
                <a:gd name="connsiteY86" fmla="*/ 92524 h 93972"/>
                <a:gd name="connsiteX87" fmla="*/ 336382 w 1193687"/>
                <a:gd name="connsiteY87" fmla="*/ 2904 h 93972"/>
                <a:gd name="connsiteX88" fmla="*/ 337401 w 1193687"/>
                <a:gd name="connsiteY88" fmla="*/ 1567 h 93972"/>
                <a:gd name="connsiteX89" fmla="*/ 337719 w 1193687"/>
                <a:gd name="connsiteY89" fmla="*/ 1567 h 93972"/>
                <a:gd name="connsiteX90" fmla="*/ 346934 w 1193687"/>
                <a:gd name="connsiteY90" fmla="*/ 1567 h 93972"/>
                <a:gd name="connsiteX91" fmla="*/ 348272 w 1193687"/>
                <a:gd name="connsiteY91" fmla="*/ 2586 h 93972"/>
                <a:gd name="connsiteX92" fmla="*/ 348272 w 1193687"/>
                <a:gd name="connsiteY92" fmla="*/ 2904 h 93972"/>
                <a:gd name="connsiteX93" fmla="*/ 348272 w 1193687"/>
                <a:gd name="connsiteY93" fmla="*/ 91187 h 93972"/>
                <a:gd name="connsiteX94" fmla="*/ 347252 w 1193687"/>
                <a:gd name="connsiteY94" fmla="*/ 92524 h 93972"/>
                <a:gd name="connsiteX95" fmla="*/ 346934 w 1193687"/>
                <a:gd name="connsiteY95" fmla="*/ 92524 h 93972"/>
                <a:gd name="connsiteX96" fmla="*/ 337719 w 1193687"/>
                <a:gd name="connsiteY96" fmla="*/ 92524 h 93972"/>
                <a:gd name="connsiteX97" fmla="*/ 336382 w 1193687"/>
                <a:gd name="connsiteY97" fmla="*/ 91505 h 93972"/>
                <a:gd name="connsiteX98" fmla="*/ 336382 w 1193687"/>
                <a:gd name="connsiteY98" fmla="*/ 91187 h 93972"/>
                <a:gd name="connsiteX99" fmla="*/ 400855 w 1193687"/>
                <a:gd name="connsiteY99" fmla="*/ 93996 h 93972"/>
                <a:gd name="connsiteX100" fmla="*/ 381391 w 1193687"/>
                <a:gd name="connsiteY100" fmla="*/ 88645 h 93972"/>
                <a:gd name="connsiteX101" fmla="*/ 369956 w 1193687"/>
                <a:gd name="connsiteY101" fmla="*/ 72728 h 93972"/>
                <a:gd name="connsiteX102" fmla="*/ 368820 w 1193687"/>
                <a:gd name="connsiteY102" fmla="*/ 68566 h 93972"/>
                <a:gd name="connsiteX103" fmla="*/ 368083 w 1193687"/>
                <a:gd name="connsiteY103" fmla="*/ 63552 h 93972"/>
                <a:gd name="connsiteX104" fmla="*/ 367682 w 1193687"/>
                <a:gd name="connsiteY104" fmla="*/ 56661 h 93972"/>
                <a:gd name="connsiteX105" fmla="*/ 367533 w 1193687"/>
                <a:gd name="connsiteY105" fmla="*/ 47046 h 93972"/>
                <a:gd name="connsiteX106" fmla="*/ 367667 w 1193687"/>
                <a:gd name="connsiteY106" fmla="*/ 37415 h 93972"/>
                <a:gd name="connsiteX107" fmla="*/ 368068 w 1193687"/>
                <a:gd name="connsiteY107" fmla="*/ 30527 h 93972"/>
                <a:gd name="connsiteX108" fmla="*/ 368805 w 1193687"/>
                <a:gd name="connsiteY108" fmla="*/ 25513 h 93972"/>
                <a:gd name="connsiteX109" fmla="*/ 369941 w 1193687"/>
                <a:gd name="connsiteY109" fmla="*/ 21351 h 93972"/>
                <a:gd name="connsiteX110" fmla="*/ 381391 w 1193687"/>
                <a:gd name="connsiteY110" fmla="*/ 5431 h 93972"/>
                <a:gd name="connsiteX111" fmla="*/ 420449 w 1193687"/>
                <a:gd name="connsiteY111" fmla="*/ 5431 h 93972"/>
                <a:gd name="connsiteX112" fmla="*/ 431887 w 1193687"/>
                <a:gd name="connsiteY112" fmla="*/ 21348 h 93972"/>
                <a:gd name="connsiteX113" fmla="*/ 433023 w 1193687"/>
                <a:gd name="connsiteY113" fmla="*/ 25510 h 93972"/>
                <a:gd name="connsiteX114" fmla="*/ 433760 w 1193687"/>
                <a:gd name="connsiteY114" fmla="*/ 30527 h 93972"/>
                <a:gd name="connsiteX115" fmla="*/ 434161 w 1193687"/>
                <a:gd name="connsiteY115" fmla="*/ 37415 h 93972"/>
                <a:gd name="connsiteX116" fmla="*/ 434295 w 1193687"/>
                <a:gd name="connsiteY116" fmla="*/ 47046 h 93972"/>
                <a:gd name="connsiteX117" fmla="*/ 434161 w 1193687"/>
                <a:gd name="connsiteY117" fmla="*/ 56676 h 93972"/>
                <a:gd name="connsiteX118" fmla="*/ 433760 w 1193687"/>
                <a:gd name="connsiteY118" fmla="*/ 63567 h 93972"/>
                <a:gd name="connsiteX119" fmla="*/ 433023 w 1193687"/>
                <a:gd name="connsiteY119" fmla="*/ 68584 h 93972"/>
                <a:gd name="connsiteX120" fmla="*/ 431887 w 1193687"/>
                <a:gd name="connsiteY120" fmla="*/ 72746 h 93972"/>
                <a:gd name="connsiteX121" fmla="*/ 420449 w 1193687"/>
                <a:gd name="connsiteY121" fmla="*/ 88663 h 93972"/>
                <a:gd name="connsiteX122" fmla="*/ 400855 w 1193687"/>
                <a:gd name="connsiteY122" fmla="*/ 93996 h 93972"/>
                <a:gd name="connsiteX123" fmla="*/ 400855 w 1193687"/>
                <a:gd name="connsiteY123" fmla="*/ 82894 h 93972"/>
                <a:gd name="connsiteX124" fmla="*/ 413295 w 1193687"/>
                <a:gd name="connsiteY124" fmla="*/ 79416 h 93972"/>
                <a:gd name="connsiteX125" fmla="*/ 420250 w 1193687"/>
                <a:gd name="connsiteY125" fmla="*/ 69384 h 93972"/>
                <a:gd name="connsiteX126" fmla="*/ 420987 w 1193687"/>
                <a:gd name="connsiteY126" fmla="*/ 66373 h 93972"/>
                <a:gd name="connsiteX127" fmla="*/ 421656 w 1193687"/>
                <a:gd name="connsiteY127" fmla="*/ 61893 h 93972"/>
                <a:gd name="connsiteX128" fmla="*/ 422126 w 1193687"/>
                <a:gd name="connsiteY128" fmla="*/ 55606 h 93972"/>
                <a:gd name="connsiteX129" fmla="*/ 422260 w 1193687"/>
                <a:gd name="connsiteY129" fmla="*/ 47046 h 93972"/>
                <a:gd name="connsiteX130" fmla="*/ 422126 w 1193687"/>
                <a:gd name="connsiteY130" fmla="*/ 38485 h 93972"/>
                <a:gd name="connsiteX131" fmla="*/ 421656 w 1193687"/>
                <a:gd name="connsiteY131" fmla="*/ 32198 h 93972"/>
                <a:gd name="connsiteX132" fmla="*/ 420987 w 1193687"/>
                <a:gd name="connsiteY132" fmla="*/ 27718 h 93972"/>
                <a:gd name="connsiteX133" fmla="*/ 420250 w 1193687"/>
                <a:gd name="connsiteY133" fmla="*/ 24707 h 93972"/>
                <a:gd name="connsiteX134" fmla="*/ 413295 w 1193687"/>
                <a:gd name="connsiteY134" fmla="*/ 14675 h 93972"/>
                <a:gd name="connsiteX135" fmla="*/ 400855 w 1193687"/>
                <a:gd name="connsiteY135" fmla="*/ 11197 h 93972"/>
                <a:gd name="connsiteX136" fmla="*/ 388480 w 1193687"/>
                <a:gd name="connsiteY136" fmla="*/ 14675 h 93972"/>
                <a:gd name="connsiteX137" fmla="*/ 381593 w 1193687"/>
                <a:gd name="connsiteY137" fmla="*/ 24707 h 93972"/>
                <a:gd name="connsiteX138" fmla="*/ 380859 w 1193687"/>
                <a:gd name="connsiteY138" fmla="*/ 27718 h 93972"/>
                <a:gd name="connsiteX139" fmla="*/ 380190 w 1193687"/>
                <a:gd name="connsiteY139" fmla="*/ 32198 h 93972"/>
                <a:gd name="connsiteX140" fmla="*/ 379720 w 1193687"/>
                <a:gd name="connsiteY140" fmla="*/ 38485 h 93972"/>
                <a:gd name="connsiteX141" fmla="*/ 379587 w 1193687"/>
                <a:gd name="connsiteY141" fmla="*/ 47046 h 93972"/>
                <a:gd name="connsiteX142" fmla="*/ 379720 w 1193687"/>
                <a:gd name="connsiteY142" fmla="*/ 55606 h 93972"/>
                <a:gd name="connsiteX143" fmla="*/ 380190 w 1193687"/>
                <a:gd name="connsiteY143" fmla="*/ 61893 h 93972"/>
                <a:gd name="connsiteX144" fmla="*/ 380859 w 1193687"/>
                <a:gd name="connsiteY144" fmla="*/ 66373 h 93972"/>
                <a:gd name="connsiteX145" fmla="*/ 381593 w 1193687"/>
                <a:gd name="connsiteY145" fmla="*/ 69384 h 93972"/>
                <a:gd name="connsiteX146" fmla="*/ 388480 w 1193687"/>
                <a:gd name="connsiteY146" fmla="*/ 79416 h 93972"/>
                <a:gd name="connsiteX147" fmla="*/ 400855 w 1193687"/>
                <a:gd name="connsiteY147" fmla="*/ 82894 h 93972"/>
                <a:gd name="connsiteX148" fmla="*/ 453557 w 1193687"/>
                <a:gd name="connsiteY148" fmla="*/ 2904 h 93972"/>
                <a:gd name="connsiteX149" fmla="*/ 454576 w 1193687"/>
                <a:gd name="connsiteY149" fmla="*/ 1567 h 93972"/>
                <a:gd name="connsiteX150" fmla="*/ 454894 w 1193687"/>
                <a:gd name="connsiteY150" fmla="*/ 1567 h 93972"/>
                <a:gd name="connsiteX151" fmla="*/ 463455 w 1193687"/>
                <a:gd name="connsiteY151" fmla="*/ 1567 h 93972"/>
                <a:gd name="connsiteX152" fmla="*/ 465729 w 1193687"/>
                <a:gd name="connsiteY152" fmla="*/ 2904 h 93972"/>
                <a:gd name="connsiteX153" fmla="*/ 506928 w 1193687"/>
                <a:gd name="connsiteY153" fmla="*/ 71123 h 93972"/>
                <a:gd name="connsiteX154" fmla="*/ 507463 w 1193687"/>
                <a:gd name="connsiteY154" fmla="*/ 71123 h 93972"/>
                <a:gd name="connsiteX155" fmla="*/ 507463 w 1193687"/>
                <a:gd name="connsiteY155" fmla="*/ 2904 h 93972"/>
                <a:gd name="connsiteX156" fmla="*/ 508482 w 1193687"/>
                <a:gd name="connsiteY156" fmla="*/ 1567 h 93972"/>
                <a:gd name="connsiteX157" fmla="*/ 508800 w 1193687"/>
                <a:gd name="connsiteY157" fmla="*/ 1567 h 93972"/>
                <a:gd name="connsiteX158" fmla="*/ 517227 w 1193687"/>
                <a:gd name="connsiteY158" fmla="*/ 1567 h 93972"/>
                <a:gd name="connsiteX159" fmla="*/ 518565 w 1193687"/>
                <a:gd name="connsiteY159" fmla="*/ 2586 h 93972"/>
                <a:gd name="connsiteX160" fmla="*/ 518565 w 1193687"/>
                <a:gd name="connsiteY160" fmla="*/ 2904 h 93972"/>
                <a:gd name="connsiteX161" fmla="*/ 518565 w 1193687"/>
                <a:gd name="connsiteY161" fmla="*/ 91187 h 93972"/>
                <a:gd name="connsiteX162" fmla="*/ 517545 w 1193687"/>
                <a:gd name="connsiteY162" fmla="*/ 92524 h 93972"/>
                <a:gd name="connsiteX163" fmla="*/ 517227 w 1193687"/>
                <a:gd name="connsiteY163" fmla="*/ 92524 h 93972"/>
                <a:gd name="connsiteX164" fmla="*/ 508667 w 1193687"/>
                <a:gd name="connsiteY164" fmla="*/ 92524 h 93972"/>
                <a:gd name="connsiteX165" fmla="*/ 506393 w 1193687"/>
                <a:gd name="connsiteY165" fmla="*/ 91187 h 93972"/>
                <a:gd name="connsiteX166" fmla="*/ 465060 w 1193687"/>
                <a:gd name="connsiteY166" fmla="*/ 23236 h 93972"/>
                <a:gd name="connsiteX167" fmla="*/ 464659 w 1193687"/>
                <a:gd name="connsiteY167" fmla="*/ 23236 h 93972"/>
                <a:gd name="connsiteX168" fmla="*/ 464659 w 1193687"/>
                <a:gd name="connsiteY168" fmla="*/ 91187 h 93972"/>
                <a:gd name="connsiteX169" fmla="*/ 463639 w 1193687"/>
                <a:gd name="connsiteY169" fmla="*/ 92524 h 93972"/>
                <a:gd name="connsiteX170" fmla="*/ 463321 w 1193687"/>
                <a:gd name="connsiteY170" fmla="*/ 92524 h 93972"/>
                <a:gd name="connsiteX171" fmla="*/ 454894 w 1193687"/>
                <a:gd name="connsiteY171" fmla="*/ 92524 h 93972"/>
                <a:gd name="connsiteX172" fmla="*/ 453557 w 1193687"/>
                <a:gd name="connsiteY172" fmla="*/ 91505 h 93972"/>
                <a:gd name="connsiteX173" fmla="*/ 453557 w 1193687"/>
                <a:gd name="connsiteY173" fmla="*/ 91187 h 93972"/>
                <a:gd name="connsiteX174" fmla="*/ 539164 w 1193687"/>
                <a:gd name="connsiteY174" fmla="*/ 79683 h 93972"/>
                <a:gd name="connsiteX175" fmla="*/ 540184 w 1193687"/>
                <a:gd name="connsiteY175" fmla="*/ 78346 h 93972"/>
                <a:gd name="connsiteX176" fmla="*/ 540502 w 1193687"/>
                <a:gd name="connsiteY176" fmla="*/ 78346 h 93972"/>
                <a:gd name="connsiteX177" fmla="*/ 550668 w 1193687"/>
                <a:gd name="connsiteY177" fmla="*/ 78346 h 93972"/>
                <a:gd name="connsiteX178" fmla="*/ 552005 w 1193687"/>
                <a:gd name="connsiteY178" fmla="*/ 79365 h 93972"/>
                <a:gd name="connsiteX179" fmla="*/ 552005 w 1193687"/>
                <a:gd name="connsiteY179" fmla="*/ 79683 h 93972"/>
                <a:gd name="connsiteX180" fmla="*/ 552005 w 1193687"/>
                <a:gd name="connsiteY180" fmla="*/ 91187 h 93972"/>
                <a:gd name="connsiteX181" fmla="*/ 550986 w 1193687"/>
                <a:gd name="connsiteY181" fmla="*/ 92524 h 93972"/>
                <a:gd name="connsiteX182" fmla="*/ 550668 w 1193687"/>
                <a:gd name="connsiteY182" fmla="*/ 92524 h 93972"/>
                <a:gd name="connsiteX183" fmla="*/ 540502 w 1193687"/>
                <a:gd name="connsiteY183" fmla="*/ 92524 h 93972"/>
                <a:gd name="connsiteX184" fmla="*/ 539164 w 1193687"/>
                <a:gd name="connsiteY184" fmla="*/ 91505 h 93972"/>
                <a:gd name="connsiteX185" fmla="*/ 539164 w 1193687"/>
                <a:gd name="connsiteY185" fmla="*/ 91187 h 93972"/>
                <a:gd name="connsiteX186" fmla="*/ 601883 w 1193687"/>
                <a:gd name="connsiteY186" fmla="*/ 2904 h 93972"/>
                <a:gd name="connsiteX187" fmla="*/ 602903 w 1193687"/>
                <a:gd name="connsiteY187" fmla="*/ 1567 h 93972"/>
                <a:gd name="connsiteX188" fmla="*/ 603221 w 1193687"/>
                <a:gd name="connsiteY188" fmla="*/ 1567 h 93972"/>
                <a:gd name="connsiteX189" fmla="*/ 612465 w 1193687"/>
                <a:gd name="connsiteY189" fmla="*/ 1567 h 93972"/>
                <a:gd name="connsiteX190" fmla="*/ 613803 w 1193687"/>
                <a:gd name="connsiteY190" fmla="*/ 2586 h 93972"/>
                <a:gd name="connsiteX191" fmla="*/ 613803 w 1193687"/>
                <a:gd name="connsiteY191" fmla="*/ 2904 h 93972"/>
                <a:gd name="connsiteX192" fmla="*/ 613803 w 1193687"/>
                <a:gd name="connsiteY192" fmla="*/ 80620 h 93972"/>
                <a:gd name="connsiteX193" fmla="*/ 614406 w 1193687"/>
                <a:gd name="connsiteY193" fmla="*/ 81422 h 93972"/>
                <a:gd name="connsiteX194" fmla="*/ 614606 w 1193687"/>
                <a:gd name="connsiteY194" fmla="*/ 81422 h 93972"/>
                <a:gd name="connsiteX195" fmla="*/ 657944 w 1193687"/>
                <a:gd name="connsiteY195" fmla="*/ 81422 h 93972"/>
                <a:gd name="connsiteX196" fmla="*/ 659282 w 1193687"/>
                <a:gd name="connsiteY196" fmla="*/ 82441 h 93972"/>
                <a:gd name="connsiteX197" fmla="*/ 659282 w 1193687"/>
                <a:gd name="connsiteY197" fmla="*/ 82760 h 93972"/>
                <a:gd name="connsiteX198" fmla="*/ 659282 w 1193687"/>
                <a:gd name="connsiteY198" fmla="*/ 91187 h 93972"/>
                <a:gd name="connsiteX199" fmla="*/ 658262 w 1193687"/>
                <a:gd name="connsiteY199" fmla="*/ 92524 h 93972"/>
                <a:gd name="connsiteX200" fmla="*/ 657944 w 1193687"/>
                <a:gd name="connsiteY200" fmla="*/ 92524 h 93972"/>
                <a:gd name="connsiteX201" fmla="*/ 603251 w 1193687"/>
                <a:gd name="connsiteY201" fmla="*/ 92524 h 93972"/>
                <a:gd name="connsiteX202" fmla="*/ 601913 w 1193687"/>
                <a:gd name="connsiteY202" fmla="*/ 91505 h 93972"/>
                <a:gd name="connsiteX203" fmla="*/ 601913 w 1193687"/>
                <a:gd name="connsiteY203" fmla="*/ 91187 h 93972"/>
                <a:gd name="connsiteX204" fmla="*/ 703958 w 1193687"/>
                <a:gd name="connsiteY204" fmla="*/ 93996 h 93972"/>
                <a:gd name="connsiteX205" fmla="*/ 684495 w 1193687"/>
                <a:gd name="connsiteY205" fmla="*/ 88645 h 93972"/>
                <a:gd name="connsiteX206" fmla="*/ 673056 w 1193687"/>
                <a:gd name="connsiteY206" fmla="*/ 72728 h 93972"/>
                <a:gd name="connsiteX207" fmla="*/ 671921 w 1193687"/>
                <a:gd name="connsiteY207" fmla="*/ 68566 h 93972"/>
                <a:gd name="connsiteX208" fmla="*/ 671187 w 1193687"/>
                <a:gd name="connsiteY208" fmla="*/ 63552 h 93972"/>
                <a:gd name="connsiteX209" fmla="*/ 670785 w 1193687"/>
                <a:gd name="connsiteY209" fmla="*/ 56661 h 93972"/>
                <a:gd name="connsiteX210" fmla="*/ 670652 w 1193687"/>
                <a:gd name="connsiteY210" fmla="*/ 47031 h 93972"/>
                <a:gd name="connsiteX211" fmla="*/ 670785 w 1193687"/>
                <a:gd name="connsiteY211" fmla="*/ 37400 h 93972"/>
                <a:gd name="connsiteX212" fmla="*/ 671187 w 1193687"/>
                <a:gd name="connsiteY212" fmla="*/ 30513 h 93972"/>
                <a:gd name="connsiteX213" fmla="*/ 671915 w 1193687"/>
                <a:gd name="connsiteY213" fmla="*/ 25510 h 93972"/>
                <a:gd name="connsiteX214" fmla="*/ 673051 w 1193687"/>
                <a:gd name="connsiteY214" fmla="*/ 21348 h 93972"/>
                <a:gd name="connsiteX215" fmla="*/ 684495 w 1193687"/>
                <a:gd name="connsiteY215" fmla="*/ 5431 h 93972"/>
                <a:gd name="connsiteX216" fmla="*/ 723553 w 1193687"/>
                <a:gd name="connsiteY216" fmla="*/ 5431 h 93972"/>
                <a:gd name="connsiteX217" fmla="*/ 734991 w 1193687"/>
                <a:gd name="connsiteY217" fmla="*/ 21348 h 93972"/>
                <a:gd name="connsiteX218" fmla="*/ 736126 w 1193687"/>
                <a:gd name="connsiteY218" fmla="*/ 25510 h 93972"/>
                <a:gd name="connsiteX219" fmla="*/ 736864 w 1193687"/>
                <a:gd name="connsiteY219" fmla="*/ 30527 h 93972"/>
                <a:gd name="connsiteX220" fmla="*/ 737265 w 1193687"/>
                <a:gd name="connsiteY220" fmla="*/ 37415 h 93972"/>
                <a:gd name="connsiteX221" fmla="*/ 737399 w 1193687"/>
                <a:gd name="connsiteY221" fmla="*/ 47046 h 93972"/>
                <a:gd name="connsiteX222" fmla="*/ 737265 w 1193687"/>
                <a:gd name="connsiteY222" fmla="*/ 56676 h 93972"/>
                <a:gd name="connsiteX223" fmla="*/ 736864 w 1193687"/>
                <a:gd name="connsiteY223" fmla="*/ 63567 h 93972"/>
                <a:gd name="connsiteX224" fmla="*/ 736126 w 1193687"/>
                <a:gd name="connsiteY224" fmla="*/ 68584 h 93972"/>
                <a:gd name="connsiteX225" fmla="*/ 734991 w 1193687"/>
                <a:gd name="connsiteY225" fmla="*/ 72746 h 93972"/>
                <a:gd name="connsiteX226" fmla="*/ 723553 w 1193687"/>
                <a:gd name="connsiteY226" fmla="*/ 88663 h 93972"/>
                <a:gd name="connsiteX227" fmla="*/ 703958 w 1193687"/>
                <a:gd name="connsiteY227" fmla="*/ 93996 h 93972"/>
                <a:gd name="connsiteX228" fmla="*/ 703958 w 1193687"/>
                <a:gd name="connsiteY228" fmla="*/ 82894 h 93972"/>
                <a:gd name="connsiteX229" fmla="*/ 716398 w 1193687"/>
                <a:gd name="connsiteY229" fmla="*/ 79416 h 93972"/>
                <a:gd name="connsiteX230" fmla="*/ 723354 w 1193687"/>
                <a:gd name="connsiteY230" fmla="*/ 69384 h 93972"/>
                <a:gd name="connsiteX231" fmla="*/ 724091 w 1193687"/>
                <a:gd name="connsiteY231" fmla="*/ 66373 h 93972"/>
                <a:gd name="connsiteX232" fmla="*/ 724760 w 1193687"/>
                <a:gd name="connsiteY232" fmla="*/ 61893 h 93972"/>
                <a:gd name="connsiteX233" fmla="*/ 725229 w 1193687"/>
                <a:gd name="connsiteY233" fmla="*/ 55606 h 93972"/>
                <a:gd name="connsiteX234" fmla="*/ 725363 w 1193687"/>
                <a:gd name="connsiteY234" fmla="*/ 47046 h 93972"/>
                <a:gd name="connsiteX235" fmla="*/ 725229 w 1193687"/>
                <a:gd name="connsiteY235" fmla="*/ 38485 h 93972"/>
                <a:gd name="connsiteX236" fmla="*/ 724760 w 1193687"/>
                <a:gd name="connsiteY236" fmla="*/ 32198 h 93972"/>
                <a:gd name="connsiteX237" fmla="*/ 724091 w 1193687"/>
                <a:gd name="connsiteY237" fmla="*/ 27718 h 93972"/>
                <a:gd name="connsiteX238" fmla="*/ 723354 w 1193687"/>
                <a:gd name="connsiteY238" fmla="*/ 24707 h 93972"/>
                <a:gd name="connsiteX239" fmla="*/ 716398 w 1193687"/>
                <a:gd name="connsiteY239" fmla="*/ 14675 h 93972"/>
                <a:gd name="connsiteX240" fmla="*/ 703958 w 1193687"/>
                <a:gd name="connsiteY240" fmla="*/ 11197 h 93972"/>
                <a:gd name="connsiteX241" fmla="*/ 691584 w 1193687"/>
                <a:gd name="connsiteY241" fmla="*/ 14675 h 93972"/>
                <a:gd name="connsiteX242" fmla="*/ 684697 w 1193687"/>
                <a:gd name="connsiteY242" fmla="*/ 24707 h 93972"/>
                <a:gd name="connsiteX243" fmla="*/ 683962 w 1193687"/>
                <a:gd name="connsiteY243" fmla="*/ 27718 h 93972"/>
                <a:gd name="connsiteX244" fmla="*/ 683294 w 1193687"/>
                <a:gd name="connsiteY244" fmla="*/ 32198 h 93972"/>
                <a:gd name="connsiteX245" fmla="*/ 682824 w 1193687"/>
                <a:gd name="connsiteY245" fmla="*/ 38485 h 93972"/>
                <a:gd name="connsiteX246" fmla="*/ 682690 w 1193687"/>
                <a:gd name="connsiteY246" fmla="*/ 47046 h 93972"/>
                <a:gd name="connsiteX247" fmla="*/ 682824 w 1193687"/>
                <a:gd name="connsiteY247" fmla="*/ 55606 h 93972"/>
                <a:gd name="connsiteX248" fmla="*/ 683294 w 1193687"/>
                <a:gd name="connsiteY248" fmla="*/ 61893 h 93972"/>
                <a:gd name="connsiteX249" fmla="*/ 683962 w 1193687"/>
                <a:gd name="connsiteY249" fmla="*/ 66373 h 93972"/>
                <a:gd name="connsiteX250" fmla="*/ 684697 w 1193687"/>
                <a:gd name="connsiteY250" fmla="*/ 69384 h 93972"/>
                <a:gd name="connsiteX251" fmla="*/ 691584 w 1193687"/>
                <a:gd name="connsiteY251" fmla="*/ 79416 h 93972"/>
                <a:gd name="connsiteX252" fmla="*/ 703958 w 1193687"/>
                <a:gd name="connsiteY252" fmla="*/ 82894 h 93972"/>
                <a:gd name="connsiteX253" fmla="*/ 755858 w 1193687"/>
                <a:gd name="connsiteY253" fmla="*/ 72728 h 93972"/>
                <a:gd name="connsiteX254" fmla="*/ 754788 w 1193687"/>
                <a:gd name="connsiteY254" fmla="*/ 68566 h 93972"/>
                <a:gd name="connsiteX255" fmla="*/ 754053 w 1193687"/>
                <a:gd name="connsiteY255" fmla="*/ 63552 h 93972"/>
                <a:gd name="connsiteX256" fmla="*/ 753584 w 1193687"/>
                <a:gd name="connsiteY256" fmla="*/ 56661 h 93972"/>
                <a:gd name="connsiteX257" fmla="*/ 753450 w 1193687"/>
                <a:gd name="connsiteY257" fmla="*/ 47031 h 93972"/>
                <a:gd name="connsiteX258" fmla="*/ 753584 w 1193687"/>
                <a:gd name="connsiteY258" fmla="*/ 37400 h 93972"/>
                <a:gd name="connsiteX259" fmla="*/ 754053 w 1193687"/>
                <a:gd name="connsiteY259" fmla="*/ 30513 h 93972"/>
                <a:gd name="connsiteX260" fmla="*/ 754788 w 1193687"/>
                <a:gd name="connsiteY260" fmla="*/ 25498 h 93972"/>
                <a:gd name="connsiteX261" fmla="*/ 755858 w 1193687"/>
                <a:gd name="connsiteY261" fmla="*/ 21337 h 93972"/>
                <a:gd name="connsiteX262" fmla="*/ 767361 w 1193687"/>
                <a:gd name="connsiteY262" fmla="*/ 5431 h 93972"/>
                <a:gd name="connsiteX263" fmla="*/ 787024 w 1193687"/>
                <a:gd name="connsiteY263" fmla="*/ 80 h 93972"/>
                <a:gd name="connsiteX264" fmla="*/ 797859 w 1193687"/>
                <a:gd name="connsiteY264" fmla="*/ 1483 h 93972"/>
                <a:gd name="connsiteX265" fmla="*/ 806420 w 1193687"/>
                <a:gd name="connsiteY265" fmla="*/ 5362 h 93972"/>
                <a:gd name="connsiteX266" fmla="*/ 812840 w 1193687"/>
                <a:gd name="connsiteY266" fmla="*/ 11114 h 93972"/>
                <a:gd name="connsiteX267" fmla="*/ 817254 w 1193687"/>
                <a:gd name="connsiteY267" fmla="*/ 18135 h 93972"/>
                <a:gd name="connsiteX268" fmla="*/ 817061 w 1193687"/>
                <a:gd name="connsiteY268" fmla="*/ 19873 h 93972"/>
                <a:gd name="connsiteX269" fmla="*/ 816853 w 1193687"/>
                <a:gd name="connsiteY269" fmla="*/ 20008 h 93972"/>
                <a:gd name="connsiteX270" fmla="*/ 808827 w 1193687"/>
                <a:gd name="connsiteY270" fmla="*/ 23872 h 93972"/>
                <a:gd name="connsiteX271" fmla="*/ 806955 w 1193687"/>
                <a:gd name="connsiteY271" fmla="*/ 23203 h 93972"/>
                <a:gd name="connsiteX272" fmla="*/ 798929 w 1193687"/>
                <a:gd name="connsiteY272" fmla="*/ 14107 h 93972"/>
                <a:gd name="connsiteX273" fmla="*/ 787039 w 1193687"/>
                <a:gd name="connsiteY273" fmla="*/ 11165 h 93972"/>
                <a:gd name="connsiteX274" fmla="*/ 774397 w 1193687"/>
                <a:gd name="connsiteY274" fmla="*/ 14643 h 93972"/>
                <a:gd name="connsiteX275" fmla="*/ 767373 w 1193687"/>
                <a:gd name="connsiteY275" fmla="*/ 24675 h 93972"/>
                <a:gd name="connsiteX276" fmla="*/ 766571 w 1193687"/>
                <a:gd name="connsiteY276" fmla="*/ 27617 h 93972"/>
                <a:gd name="connsiteX277" fmla="*/ 765976 w 1193687"/>
                <a:gd name="connsiteY277" fmla="*/ 31898 h 93972"/>
                <a:gd name="connsiteX278" fmla="*/ 765643 w 1193687"/>
                <a:gd name="connsiteY278" fmla="*/ 38116 h 93972"/>
                <a:gd name="connsiteX279" fmla="*/ 765489 w 1193687"/>
                <a:gd name="connsiteY279" fmla="*/ 47046 h 93972"/>
                <a:gd name="connsiteX280" fmla="*/ 765622 w 1193687"/>
                <a:gd name="connsiteY280" fmla="*/ 55942 h 93972"/>
                <a:gd name="connsiteX281" fmla="*/ 765955 w 1193687"/>
                <a:gd name="connsiteY281" fmla="*/ 62161 h 93972"/>
                <a:gd name="connsiteX282" fmla="*/ 766550 w 1193687"/>
                <a:gd name="connsiteY282" fmla="*/ 66441 h 93972"/>
                <a:gd name="connsiteX283" fmla="*/ 767352 w 1193687"/>
                <a:gd name="connsiteY283" fmla="*/ 69384 h 93972"/>
                <a:gd name="connsiteX284" fmla="*/ 774376 w 1193687"/>
                <a:gd name="connsiteY284" fmla="*/ 79416 h 93972"/>
                <a:gd name="connsiteX285" fmla="*/ 787018 w 1193687"/>
                <a:gd name="connsiteY285" fmla="*/ 82894 h 93972"/>
                <a:gd name="connsiteX286" fmla="*/ 799205 w 1193687"/>
                <a:gd name="connsiteY286" fmla="*/ 79550 h 93972"/>
                <a:gd name="connsiteX287" fmla="*/ 806562 w 1193687"/>
                <a:gd name="connsiteY287" fmla="*/ 69785 h 93972"/>
                <a:gd name="connsiteX288" fmla="*/ 807751 w 1193687"/>
                <a:gd name="connsiteY288" fmla="*/ 64033 h 93972"/>
                <a:gd name="connsiteX289" fmla="*/ 808286 w 1193687"/>
                <a:gd name="connsiteY289" fmla="*/ 55472 h 93972"/>
                <a:gd name="connsiteX290" fmla="*/ 807683 w 1193687"/>
                <a:gd name="connsiteY290" fmla="*/ 54670 h 93972"/>
                <a:gd name="connsiteX291" fmla="*/ 807484 w 1193687"/>
                <a:gd name="connsiteY291" fmla="*/ 54670 h 93972"/>
                <a:gd name="connsiteX292" fmla="*/ 789827 w 1193687"/>
                <a:gd name="connsiteY292" fmla="*/ 54670 h 93972"/>
                <a:gd name="connsiteX293" fmla="*/ 788490 w 1193687"/>
                <a:gd name="connsiteY293" fmla="*/ 53651 h 93972"/>
                <a:gd name="connsiteX294" fmla="*/ 788490 w 1193687"/>
                <a:gd name="connsiteY294" fmla="*/ 53332 h 93972"/>
                <a:gd name="connsiteX295" fmla="*/ 788490 w 1193687"/>
                <a:gd name="connsiteY295" fmla="*/ 45559 h 93972"/>
                <a:gd name="connsiteX296" fmla="*/ 789509 w 1193687"/>
                <a:gd name="connsiteY296" fmla="*/ 44222 h 93972"/>
                <a:gd name="connsiteX297" fmla="*/ 789827 w 1193687"/>
                <a:gd name="connsiteY297" fmla="*/ 44222 h 93972"/>
                <a:gd name="connsiteX298" fmla="*/ 818854 w 1193687"/>
                <a:gd name="connsiteY298" fmla="*/ 44222 h 93972"/>
                <a:gd name="connsiteX299" fmla="*/ 820191 w 1193687"/>
                <a:gd name="connsiteY299" fmla="*/ 45241 h 93972"/>
                <a:gd name="connsiteX300" fmla="*/ 820191 w 1193687"/>
                <a:gd name="connsiteY300" fmla="*/ 45559 h 93972"/>
                <a:gd name="connsiteX301" fmla="*/ 820191 w 1193687"/>
                <a:gd name="connsiteY301" fmla="*/ 52396 h 93972"/>
                <a:gd name="connsiteX302" fmla="*/ 819597 w 1193687"/>
                <a:gd name="connsiteY302" fmla="*/ 63831 h 93972"/>
                <a:gd name="connsiteX303" fmla="*/ 817926 w 1193687"/>
                <a:gd name="connsiteY303" fmla="*/ 72451 h 93972"/>
                <a:gd name="connsiteX304" fmla="*/ 806488 w 1193687"/>
                <a:gd name="connsiteY304" fmla="*/ 88434 h 93972"/>
                <a:gd name="connsiteX305" fmla="*/ 787027 w 1193687"/>
                <a:gd name="connsiteY305" fmla="*/ 93987 h 93972"/>
                <a:gd name="connsiteX306" fmla="*/ 767364 w 1193687"/>
                <a:gd name="connsiteY306" fmla="*/ 88636 h 93972"/>
                <a:gd name="connsiteX307" fmla="*/ 755858 w 1193687"/>
                <a:gd name="connsiteY307" fmla="*/ 72728 h 93972"/>
                <a:gd name="connsiteX308" fmla="*/ 839459 w 1193687"/>
                <a:gd name="connsiteY308" fmla="*/ 2904 h 93972"/>
                <a:gd name="connsiteX309" fmla="*/ 840478 w 1193687"/>
                <a:gd name="connsiteY309" fmla="*/ 1567 h 93972"/>
                <a:gd name="connsiteX310" fmla="*/ 840796 w 1193687"/>
                <a:gd name="connsiteY310" fmla="*/ 1567 h 93972"/>
                <a:gd name="connsiteX311" fmla="*/ 850011 w 1193687"/>
                <a:gd name="connsiteY311" fmla="*/ 1567 h 93972"/>
                <a:gd name="connsiteX312" fmla="*/ 851349 w 1193687"/>
                <a:gd name="connsiteY312" fmla="*/ 2586 h 93972"/>
                <a:gd name="connsiteX313" fmla="*/ 851349 w 1193687"/>
                <a:gd name="connsiteY313" fmla="*/ 2904 h 93972"/>
                <a:gd name="connsiteX314" fmla="*/ 851349 w 1193687"/>
                <a:gd name="connsiteY314" fmla="*/ 91187 h 93972"/>
                <a:gd name="connsiteX315" fmla="*/ 850329 w 1193687"/>
                <a:gd name="connsiteY315" fmla="*/ 92524 h 93972"/>
                <a:gd name="connsiteX316" fmla="*/ 850011 w 1193687"/>
                <a:gd name="connsiteY316" fmla="*/ 92524 h 93972"/>
                <a:gd name="connsiteX317" fmla="*/ 840796 w 1193687"/>
                <a:gd name="connsiteY317" fmla="*/ 92524 h 93972"/>
                <a:gd name="connsiteX318" fmla="*/ 839459 w 1193687"/>
                <a:gd name="connsiteY318" fmla="*/ 91505 h 93972"/>
                <a:gd name="connsiteX319" fmla="*/ 839459 w 1193687"/>
                <a:gd name="connsiteY319" fmla="*/ 91187 h 93972"/>
                <a:gd name="connsiteX320" fmla="*/ 901390 w 1193687"/>
                <a:gd name="connsiteY320" fmla="*/ 93996 h 93972"/>
                <a:gd name="connsiteX321" fmla="*/ 891893 w 1193687"/>
                <a:gd name="connsiteY321" fmla="*/ 93059 h 93972"/>
                <a:gd name="connsiteX322" fmla="*/ 883065 w 1193687"/>
                <a:gd name="connsiteY322" fmla="*/ 90583 h 93972"/>
                <a:gd name="connsiteX323" fmla="*/ 875441 w 1193687"/>
                <a:gd name="connsiteY323" fmla="*/ 86972 h 93972"/>
                <a:gd name="connsiteX324" fmla="*/ 869421 w 1193687"/>
                <a:gd name="connsiteY324" fmla="*/ 82626 h 93972"/>
                <a:gd name="connsiteX325" fmla="*/ 869225 w 1193687"/>
                <a:gd name="connsiteY325" fmla="*/ 80689 h 93972"/>
                <a:gd name="connsiteX326" fmla="*/ 869288 w 1193687"/>
                <a:gd name="connsiteY326" fmla="*/ 80620 h 93972"/>
                <a:gd name="connsiteX327" fmla="*/ 875173 w 1193687"/>
                <a:gd name="connsiteY327" fmla="*/ 73664 h 93972"/>
                <a:gd name="connsiteX328" fmla="*/ 876882 w 1193687"/>
                <a:gd name="connsiteY328" fmla="*/ 73389 h 93972"/>
                <a:gd name="connsiteX329" fmla="*/ 877046 w 1193687"/>
                <a:gd name="connsiteY329" fmla="*/ 73530 h 93972"/>
                <a:gd name="connsiteX330" fmla="*/ 888014 w 1193687"/>
                <a:gd name="connsiteY330" fmla="*/ 79951 h 93972"/>
                <a:gd name="connsiteX331" fmla="*/ 902460 w 1193687"/>
                <a:gd name="connsiteY331" fmla="*/ 82894 h 93972"/>
                <a:gd name="connsiteX332" fmla="*/ 917242 w 1193687"/>
                <a:gd name="connsiteY332" fmla="*/ 78613 h 93972"/>
                <a:gd name="connsiteX333" fmla="*/ 922525 w 1193687"/>
                <a:gd name="connsiteY333" fmla="*/ 67377 h 93972"/>
                <a:gd name="connsiteX334" fmla="*/ 921588 w 1193687"/>
                <a:gd name="connsiteY334" fmla="*/ 62027 h 93972"/>
                <a:gd name="connsiteX335" fmla="*/ 918446 w 1193687"/>
                <a:gd name="connsiteY335" fmla="*/ 57746 h 93972"/>
                <a:gd name="connsiteX336" fmla="*/ 912626 w 1193687"/>
                <a:gd name="connsiteY336" fmla="*/ 54536 h 93972"/>
                <a:gd name="connsiteX337" fmla="*/ 903531 w 1193687"/>
                <a:gd name="connsiteY337" fmla="*/ 52530 h 93972"/>
                <a:gd name="connsiteX338" fmla="*/ 898983 w 1193687"/>
                <a:gd name="connsiteY338" fmla="*/ 51861 h 93972"/>
                <a:gd name="connsiteX339" fmla="*/ 872230 w 1193687"/>
                <a:gd name="connsiteY339" fmla="*/ 26714 h 93972"/>
                <a:gd name="connsiteX340" fmla="*/ 874311 w 1193687"/>
                <a:gd name="connsiteY340" fmla="*/ 15745 h 93972"/>
                <a:gd name="connsiteX341" fmla="*/ 880256 w 1193687"/>
                <a:gd name="connsiteY341" fmla="*/ 7318 h 93972"/>
                <a:gd name="connsiteX342" fmla="*/ 889619 w 1193687"/>
                <a:gd name="connsiteY342" fmla="*/ 1968 h 93972"/>
                <a:gd name="connsiteX343" fmla="*/ 901925 w 1193687"/>
                <a:gd name="connsiteY343" fmla="*/ 95 h 93972"/>
                <a:gd name="connsiteX344" fmla="*/ 917240 w 1193687"/>
                <a:gd name="connsiteY344" fmla="*/ 2435 h 93972"/>
                <a:gd name="connsiteX345" fmla="*/ 929629 w 1193687"/>
                <a:gd name="connsiteY345" fmla="*/ 8522 h 93972"/>
                <a:gd name="connsiteX346" fmla="*/ 930087 w 1193687"/>
                <a:gd name="connsiteY346" fmla="*/ 10140 h 93972"/>
                <a:gd name="connsiteX347" fmla="*/ 929896 w 1193687"/>
                <a:gd name="connsiteY347" fmla="*/ 10395 h 93972"/>
                <a:gd name="connsiteX348" fmla="*/ 925348 w 1193687"/>
                <a:gd name="connsiteY348" fmla="*/ 17752 h 93972"/>
                <a:gd name="connsiteX349" fmla="*/ 923532 w 1193687"/>
                <a:gd name="connsiteY349" fmla="*/ 18063 h 93972"/>
                <a:gd name="connsiteX350" fmla="*/ 923476 w 1193687"/>
                <a:gd name="connsiteY350" fmla="*/ 18019 h 93972"/>
                <a:gd name="connsiteX351" fmla="*/ 912626 w 1193687"/>
                <a:gd name="connsiteY351" fmla="*/ 12862 h 93972"/>
                <a:gd name="connsiteX352" fmla="*/ 901524 w 1193687"/>
                <a:gd name="connsiteY352" fmla="*/ 11191 h 93972"/>
                <a:gd name="connsiteX353" fmla="*/ 888683 w 1193687"/>
                <a:gd name="connsiteY353" fmla="*/ 15270 h 93972"/>
                <a:gd name="connsiteX354" fmla="*/ 884269 w 1193687"/>
                <a:gd name="connsiteY354" fmla="*/ 25902 h 93972"/>
                <a:gd name="connsiteX355" fmla="*/ 888549 w 1193687"/>
                <a:gd name="connsiteY355" fmla="*/ 35331 h 93972"/>
                <a:gd name="connsiteX356" fmla="*/ 903397 w 1193687"/>
                <a:gd name="connsiteY356" fmla="*/ 40482 h 93972"/>
                <a:gd name="connsiteX357" fmla="*/ 907811 w 1193687"/>
                <a:gd name="connsiteY357" fmla="*/ 41151 h 93972"/>
                <a:gd name="connsiteX358" fmla="*/ 927875 w 1193687"/>
                <a:gd name="connsiteY358" fmla="*/ 49177 h 93972"/>
                <a:gd name="connsiteX359" fmla="*/ 934563 w 1193687"/>
                <a:gd name="connsiteY359" fmla="*/ 66566 h 93972"/>
                <a:gd name="connsiteX360" fmla="*/ 932482 w 1193687"/>
                <a:gd name="connsiteY360" fmla="*/ 77600 h 93972"/>
                <a:gd name="connsiteX361" fmla="*/ 926196 w 1193687"/>
                <a:gd name="connsiteY361" fmla="*/ 86220 h 93972"/>
                <a:gd name="connsiteX362" fmla="*/ 915762 w 1193687"/>
                <a:gd name="connsiteY362" fmla="*/ 91906 h 93972"/>
                <a:gd name="connsiteX363" fmla="*/ 901390 w 1193687"/>
                <a:gd name="connsiteY363" fmla="*/ 93996 h 93972"/>
                <a:gd name="connsiteX364" fmla="*/ 971348 w 1193687"/>
                <a:gd name="connsiteY364" fmla="*/ 92524 h 93972"/>
                <a:gd name="connsiteX365" fmla="*/ 970010 w 1193687"/>
                <a:gd name="connsiteY365" fmla="*/ 91505 h 93972"/>
                <a:gd name="connsiteX366" fmla="*/ 970010 w 1193687"/>
                <a:gd name="connsiteY366" fmla="*/ 91187 h 93972"/>
                <a:gd name="connsiteX367" fmla="*/ 970010 w 1193687"/>
                <a:gd name="connsiteY367" fmla="*/ 13457 h 93972"/>
                <a:gd name="connsiteX368" fmla="*/ 969407 w 1193687"/>
                <a:gd name="connsiteY368" fmla="*/ 12654 h 93972"/>
                <a:gd name="connsiteX369" fmla="*/ 969207 w 1193687"/>
                <a:gd name="connsiteY369" fmla="*/ 12654 h 93972"/>
                <a:gd name="connsiteX370" fmla="*/ 944328 w 1193687"/>
                <a:gd name="connsiteY370" fmla="*/ 12654 h 93972"/>
                <a:gd name="connsiteX371" fmla="*/ 942990 w 1193687"/>
                <a:gd name="connsiteY371" fmla="*/ 11635 h 93972"/>
                <a:gd name="connsiteX372" fmla="*/ 942990 w 1193687"/>
                <a:gd name="connsiteY372" fmla="*/ 11316 h 93972"/>
                <a:gd name="connsiteX373" fmla="*/ 942990 w 1193687"/>
                <a:gd name="connsiteY373" fmla="*/ 2904 h 93972"/>
                <a:gd name="connsiteX374" fmla="*/ 944010 w 1193687"/>
                <a:gd name="connsiteY374" fmla="*/ 1567 h 93972"/>
                <a:gd name="connsiteX375" fmla="*/ 944328 w 1193687"/>
                <a:gd name="connsiteY375" fmla="*/ 1567 h 93972"/>
                <a:gd name="connsiteX376" fmla="*/ 1007597 w 1193687"/>
                <a:gd name="connsiteY376" fmla="*/ 1567 h 93972"/>
                <a:gd name="connsiteX377" fmla="*/ 1008935 w 1193687"/>
                <a:gd name="connsiteY377" fmla="*/ 2586 h 93972"/>
                <a:gd name="connsiteX378" fmla="*/ 1008935 w 1193687"/>
                <a:gd name="connsiteY378" fmla="*/ 2904 h 93972"/>
                <a:gd name="connsiteX379" fmla="*/ 1008935 w 1193687"/>
                <a:gd name="connsiteY379" fmla="*/ 11331 h 93972"/>
                <a:gd name="connsiteX380" fmla="*/ 1007915 w 1193687"/>
                <a:gd name="connsiteY380" fmla="*/ 12669 h 93972"/>
                <a:gd name="connsiteX381" fmla="*/ 1007597 w 1193687"/>
                <a:gd name="connsiteY381" fmla="*/ 12669 h 93972"/>
                <a:gd name="connsiteX382" fmla="*/ 982717 w 1193687"/>
                <a:gd name="connsiteY382" fmla="*/ 12669 h 93972"/>
                <a:gd name="connsiteX383" fmla="*/ 981915 w 1193687"/>
                <a:gd name="connsiteY383" fmla="*/ 13273 h 93972"/>
                <a:gd name="connsiteX384" fmla="*/ 981915 w 1193687"/>
                <a:gd name="connsiteY384" fmla="*/ 13471 h 93972"/>
                <a:gd name="connsiteX385" fmla="*/ 981915 w 1193687"/>
                <a:gd name="connsiteY385" fmla="*/ 91187 h 93972"/>
                <a:gd name="connsiteX386" fmla="*/ 980895 w 1193687"/>
                <a:gd name="connsiteY386" fmla="*/ 92524 h 93972"/>
                <a:gd name="connsiteX387" fmla="*/ 980577 w 1193687"/>
                <a:gd name="connsiteY387" fmla="*/ 92524 h 93972"/>
                <a:gd name="connsiteX388" fmla="*/ 1023113 w 1193687"/>
                <a:gd name="connsiteY388" fmla="*/ 2904 h 93972"/>
                <a:gd name="connsiteX389" fmla="*/ 1024133 w 1193687"/>
                <a:gd name="connsiteY389" fmla="*/ 1567 h 93972"/>
                <a:gd name="connsiteX390" fmla="*/ 1024451 w 1193687"/>
                <a:gd name="connsiteY390" fmla="*/ 1567 h 93972"/>
                <a:gd name="connsiteX391" fmla="*/ 1033666 w 1193687"/>
                <a:gd name="connsiteY391" fmla="*/ 1567 h 93972"/>
                <a:gd name="connsiteX392" fmla="*/ 1035003 w 1193687"/>
                <a:gd name="connsiteY392" fmla="*/ 2586 h 93972"/>
                <a:gd name="connsiteX393" fmla="*/ 1035003 w 1193687"/>
                <a:gd name="connsiteY393" fmla="*/ 2904 h 93972"/>
                <a:gd name="connsiteX394" fmla="*/ 1035003 w 1193687"/>
                <a:gd name="connsiteY394" fmla="*/ 91187 h 93972"/>
                <a:gd name="connsiteX395" fmla="*/ 1033984 w 1193687"/>
                <a:gd name="connsiteY395" fmla="*/ 92524 h 93972"/>
                <a:gd name="connsiteX396" fmla="*/ 1033666 w 1193687"/>
                <a:gd name="connsiteY396" fmla="*/ 92524 h 93972"/>
                <a:gd name="connsiteX397" fmla="*/ 1024451 w 1193687"/>
                <a:gd name="connsiteY397" fmla="*/ 92524 h 93972"/>
                <a:gd name="connsiteX398" fmla="*/ 1023113 w 1193687"/>
                <a:gd name="connsiteY398" fmla="*/ 91505 h 93972"/>
                <a:gd name="connsiteX399" fmla="*/ 1023113 w 1193687"/>
                <a:gd name="connsiteY399" fmla="*/ 91187 h 93972"/>
                <a:gd name="connsiteX400" fmla="*/ 1056702 w 1193687"/>
                <a:gd name="connsiteY400" fmla="*/ 72594 h 93972"/>
                <a:gd name="connsiteX401" fmla="*/ 1055564 w 1193687"/>
                <a:gd name="connsiteY401" fmla="*/ 68516 h 93972"/>
                <a:gd name="connsiteX402" fmla="*/ 1054830 w 1193687"/>
                <a:gd name="connsiteY402" fmla="*/ 63567 h 93972"/>
                <a:gd name="connsiteX403" fmla="*/ 1054428 w 1193687"/>
                <a:gd name="connsiteY403" fmla="*/ 56676 h 93972"/>
                <a:gd name="connsiteX404" fmla="*/ 1054295 w 1193687"/>
                <a:gd name="connsiteY404" fmla="*/ 47046 h 93972"/>
                <a:gd name="connsiteX405" fmla="*/ 1054428 w 1193687"/>
                <a:gd name="connsiteY405" fmla="*/ 37415 h 93972"/>
                <a:gd name="connsiteX406" fmla="*/ 1054830 w 1193687"/>
                <a:gd name="connsiteY406" fmla="*/ 30527 h 93972"/>
                <a:gd name="connsiteX407" fmla="*/ 1055564 w 1193687"/>
                <a:gd name="connsiteY407" fmla="*/ 25578 h 93972"/>
                <a:gd name="connsiteX408" fmla="*/ 1056702 w 1193687"/>
                <a:gd name="connsiteY408" fmla="*/ 21500 h 93972"/>
                <a:gd name="connsiteX409" fmla="*/ 1067938 w 1193687"/>
                <a:gd name="connsiteY409" fmla="*/ 5383 h 93972"/>
                <a:gd name="connsiteX410" fmla="*/ 1086932 w 1193687"/>
                <a:gd name="connsiteY410" fmla="*/ 98 h 93972"/>
                <a:gd name="connsiteX411" fmla="*/ 1104654 w 1193687"/>
                <a:gd name="connsiteY411" fmla="*/ 4854 h 93972"/>
                <a:gd name="connsiteX412" fmla="*/ 1116092 w 1193687"/>
                <a:gd name="connsiteY412" fmla="*/ 18429 h 93972"/>
                <a:gd name="connsiteX413" fmla="*/ 1115557 w 1193687"/>
                <a:gd name="connsiteY413" fmla="*/ 20168 h 93972"/>
                <a:gd name="connsiteX414" fmla="*/ 1107532 w 1193687"/>
                <a:gd name="connsiteY414" fmla="*/ 24047 h 93972"/>
                <a:gd name="connsiteX415" fmla="*/ 1105867 w 1193687"/>
                <a:gd name="connsiteY415" fmla="*/ 23816 h 93972"/>
                <a:gd name="connsiteX416" fmla="*/ 1105659 w 1193687"/>
                <a:gd name="connsiteY416" fmla="*/ 23379 h 93972"/>
                <a:gd name="connsiteX417" fmla="*/ 1098570 w 1193687"/>
                <a:gd name="connsiteY417" fmla="*/ 14619 h 93972"/>
                <a:gd name="connsiteX418" fmla="*/ 1086932 w 1193687"/>
                <a:gd name="connsiteY418" fmla="*/ 11209 h 93972"/>
                <a:gd name="connsiteX419" fmla="*/ 1074894 w 1193687"/>
                <a:gd name="connsiteY419" fmla="*/ 14687 h 93972"/>
                <a:gd name="connsiteX420" fmla="*/ 1068057 w 1193687"/>
                <a:gd name="connsiteY420" fmla="*/ 24585 h 93972"/>
                <a:gd name="connsiteX421" fmla="*/ 1067323 w 1193687"/>
                <a:gd name="connsiteY421" fmla="*/ 27730 h 93972"/>
                <a:gd name="connsiteX422" fmla="*/ 1066788 w 1193687"/>
                <a:gd name="connsiteY422" fmla="*/ 31892 h 93972"/>
                <a:gd name="connsiteX423" fmla="*/ 1066455 w 1193687"/>
                <a:gd name="connsiteY423" fmla="*/ 38045 h 93972"/>
                <a:gd name="connsiteX424" fmla="*/ 1066321 w 1193687"/>
                <a:gd name="connsiteY424" fmla="*/ 47075 h 93972"/>
                <a:gd name="connsiteX425" fmla="*/ 1066455 w 1193687"/>
                <a:gd name="connsiteY425" fmla="*/ 56103 h 93972"/>
                <a:gd name="connsiteX426" fmla="*/ 1066788 w 1193687"/>
                <a:gd name="connsiteY426" fmla="*/ 62256 h 93972"/>
                <a:gd name="connsiteX427" fmla="*/ 1067323 w 1193687"/>
                <a:gd name="connsiteY427" fmla="*/ 66471 h 93972"/>
                <a:gd name="connsiteX428" fmla="*/ 1068057 w 1193687"/>
                <a:gd name="connsiteY428" fmla="*/ 69547 h 93972"/>
                <a:gd name="connsiteX429" fmla="*/ 1074894 w 1193687"/>
                <a:gd name="connsiteY429" fmla="*/ 79446 h 93972"/>
                <a:gd name="connsiteX430" fmla="*/ 1086932 w 1193687"/>
                <a:gd name="connsiteY430" fmla="*/ 82923 h 93972"/>
                <a:gd name="connsiteX431" fmla="*/ 1098570 w 1193687"/>
                <a:gd name="connsiteY431" fmla="*/ 79511 h 93972"/>
                <a:gd name="connsiteX432" fmla="*/ 1105659 w 1193687"/>
                <a:gd name="connsiteY432" fmla="*/ 70751 h 93972"/>
                <a:gd name="connsiteX433" fmla="*/ 1107095 w 1193687"/>
                <a:gd name="connsiteY433" fmla="*/ 69875 h 93972"/>
                <a:gd name="connsiteX434" fmla="*/ 1107532 w 1193687"/>
                <a:gd name="connsiteY434" fmla="*/ 70082 h 93972"/>
                <a:gd name="connsiteX435" fmla="*/ 1115557 w 1193687"/>
                <a:gd name="connsiteY435" fmla="*/ 73946 h 93972"/>
                <a:gd name="connsiteX436" fmla="*/ 1116092 w 1193687"/>
                <a:gd name="connsiteY436" fmla="*/ 75685 h 93972"/>
                <a:gd name="connsiteX437" fmla="*/ 1104654 w 1193687"/>
                <a:gd name="connsiteY437" fmla="*/ 89261 h 93972"/>
                <a:gd name="connsiteX438" fmla="*/ 1086932 w 1193687"/>
                <a:gd name="connsiteY438" fmla="*/ 94017 h 93972"/>
                <a:gd name="connsiteX439" fmla="*/ 1067938 w 1193687"/>
                <a:gd name="connsiteY439" fmla="*/ 88732 h 93972"/>
                <a:gd name="connsiteX440" fmla="*/ 1056687 w 1193687"/>
                <a:gd name="connsiteY440" fmla="*/ 72609 h 93972"/>
                <a:gd name="connsiteX441" fmla="*/ 1160769 w 1193687"/>
                <a:gd name="connsiteY441" fmla="*/ 93996 h 93972"/>
                <a:gd name="connsiteX442" fmla="*/ 1151272 w 1193687"/>
                <a:gd name="connsiteY442" fmla="*/ 93059 h 93972"/>
                <a:gd name="connsiteX443" fmla="*/ 1142443 w 1193687"/>
                <a:gd name="connsiteY443" fmla="*/ 90583 h 93972"/>
                <a:gd name="connsiteX444" fmla="*/ 1134819 w 1193687"/>
                <a:gd name="connsiteY444" fmla="*/ 86972 h 93972"/>
                <a:gd name="connsiteX445" fmla="*/ 1128785 w 1193687"/>
                <a:gd name="connsiteY445" fmla="*/ 82626 h 93972"/>
                <a:gd name="connsiteX446" fmla="*/ 1128589 w 1193687"/>
                <a:gd name="connsiteY446" fmla="*/ 80689 h 93972"/>
                <a:gd name="connsiteX447" fmla="*/ 1128651 w 1193687"/>
                <a:gd name="connsiteY447" fmla="*/ 80620 h 93972"/>
                <a:gd name="connsiteX448" fmla="*/ 1134537 w 1193687"/>
                <a:gd name="connsiteY448" fmla="*/ 73664 h 93972"/>
                <a:gd name="connsiteX449" fmla="*/ 1136246 w 1193687"/>
                <a:gd name="connsiteY449" fmla="*/ 73389 h 93972"/>
                <a:gd name="connsiteX450" fmla="*/ 1136409 w 1193687"/>
                <a:gd name="connsiteY450" fmla="*/ 73530 h 93972"/>
                <a:gd name="connsiteX451" fmla="*/ 1147378 w 1193687"/>
                <a:gd name="connsiteY451" fmla="*/ 79951 h 93972"/>
                <a:gd name="connsiteX452" fmla="*/ 1161824 w 1193687"/>
                <a:gd name="connsiteY452" fmla="*/ 82894 h 93972"/>
                <a:gd name="connsiteX453" fmla="*/ 1176606 w 1193687"/>
                <a:gd name="connsiteY453" fmla="*/ 78613 h 93972"/>
                <a:gd name="connsiteX454" fmla="*/ 1181888 w 1193687"/>
                <a:gd name="connsiteY454" fmla="*/ 67377 h 93972"/>
                <a:gd name="connsiteX455" fmla="*/ 1180952 w 1193687"/>
                <a:gd name="connsiteY455" fmla="*/ 62027 h 93972"/>
                <a:gd name="connsiteX456" fmla="*/ 1177810 w 1193687"/>
                <a:gd name="connsiteY456" fmla="*/ 57746 h 93972"/>
                <a:gd name="connsiteX457" fmla="*/ 1171990 w 1193687"/>
                <a:gd name="connsiteY457" fmla="*/ 54536 h 93972"/>
                <a:gd name="connsiteX458" fmla="*/ 1162894 w 1193687"/>
                <a:gd name="connsiteY458" fmla="*/ 52530 h 93972"/>
                <a:gd name="connsiteX459" fmla="*/ 1158346 w 1193687"/>
                <a:gd name="connsiteY459" fmla="*/ 51861 h 93972"/>
                <a:gd name="connsiteX460" fmla="*/ 1131594 w 1193687"/>
                <a:gd name="connsiteY460" fmla="*/ 26714 h 93972"/>
                <a:gd name="connsiteX461" fmla="*/ 1133675 w 1193687"/>
                <a:gd name="connsiteY461" fmla="*/ 15745 h 93972"/>
                <a:gd name="connsiteX462" fmla="*/ 1139620 w 1193687"/>
                <a:gd name="connsiteY462" fmla="*/ 7318 h 93972"/>
                <a:gd name="connsiteX463" fmla="*/ 1148983 w 1193687"/>
                <a:gd name="connsiteY463" fmla="*/ 1968 h 93972"/>
                <a:gd name="connsiteX464" fmla="*/ 1161289 w 1193687"/>
                <a:gd name="connsiteY464" fmla="*/ 95 h 93972"/>
                <a:gd name="connsiteX465" fmla="*/ 1176603 w 1193687"/>
                <a:gd name="connsiteY465" fmla="*/ 2435 h 93972"/>
                <a:gd name="connsiteX466" fmla="*/ 1188978 w 1193687"/>
                <a:gd name="connsiteY466" fmla="*/ 8522 h 93972"/>
                <a:gd name="connsiteX467" fmla="*/ 1189435 w 1193687"/>
                <a:gd name="connsiteY467" fmla="*/ 10140 h 93972"/>
                <a:gd name="connsiteX468" fmla="*/ 1189245 w 1193687"/>
                <a:gd name="connsiteY468" fmla="*/ 10395 h 93972"/>
                <a:gd name="connsiteX469" fmla="*/ 1184697 w 1193687"/>
                <a:gd name="connsiteY469" fmla="*/ 17752 h 93972"/>
                <a:gd name="connsiteX470" fmla="*/ 1182881 w 1193687"/>
                <a:gd name="connsiteY470" fmla="*/ 18063 h 93972"/>
                <a:gd name="connsiteX471" fmla="*/ 1182825 w 1193687"/>
                <a:gd name="connsiteY471" fmla="*/ 18019 h 93972"/>
                <a:gd name="connsiteX472" fmla="*/ 1171990 w 1193687"/>
                <a:gd name="connsiteY472" fmla="*/ 12862 h 93972"/>
                <a:gd name="connsiteX473" fmla="*/ 1160888 w 1193687"/>
                <a:gd name="connsiteY473" fmla="*/ 11197 h 93972"/>
                <a:gd name="connsiteX474" fmla="*/ 1148047 w 1193687"/>
                <a:gd name="connsiteY474" fmla="*/ 15276 h 93972"/>
                <a:gd name="connsiteX475" fmla="*/ 1143647 w 1193687"/>
                <a:gd name="connsiteY475" fmla="*/ 25911 h 93972"/>
                <a:gd name="connsiteX476" fmla="*/ 1147928 w 1193687"/>
                <a:gd name="connsiteY476" fmla="*/ 35340 h 93972"/>
                <a:gd name="connsiteX477" fmla="*/ 1162760 w 1193687"/>
                <a:gd name="connsiteY477" fmla="*/ 40506 h 93972"/>
                <a:gd name="connsiteX478" fmla="*/ 1167174 w 1193687"/>
                <a:gd name="connsiteY478" fmla="*/ 41175 h 93972"/>
                <a:gd name="connsiteX479" fmla="*/ 1187239 w 1193687"/>
                <a:gd name="connsiteY479" fmla="*/ 49201 h 93972"/>
                <a:gd name="connsiteX480" fmla="*/ 1193927 w 1193687"/>
                <a:gd name="connsiteY480" fmla="*/ 66590 h 93972"/>
                <a:gd name="connsiteX481" fmla="*/ 1191846 w 1193687"/>
                <a:gd name="connsiteY481" fmla="*/ 77623 h 93972"/>
                <a:gd name="connsiteX482" fmla="*/ 1185559 w 1193687"/>
                <a:gd name="connsiteY482" fmla="*/ 86244 h 93972"/>
                <a:gd name="connsiteX483" fmla="*/ 1175126 w 1193687"/>
                <a:gd name="connsiteY483" fmla="*/ 91930 h 93972"/>
                <a:gd name="connsiteX484" fmla="*/ 1160754 w 1193687"/>
                <a:gd name="connsiteY484" fmla="*/ 93996 h 93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Lst>
              <a:rect l="l" t="t" r="r" b="b"/>
              <a:pathLst>
                <a:path w="1193687" h="93972">
                  <a:moveTo>
                    <a:pt x="31941" y="2904"/>
                  </a:moveTo>
                  <a:cubicBezTo>
                    <a:pt x="32072" y="2123"/>
                    <a:pt x="32754" y="1556"/>
                    <a:pt x="33546" y="1567"/>
                  </a:cubicBezTo>
                  <a:lnTo>
                    <a:pt x="42240" y="1567"/>
                  </a:lnTo>
                  <a:cubicBezTo>
                    <a:pt x="43071" y="1520"/>
                    <a:pt x="43811" y="2089"/>
                    <a:pt x="43979" y="2904"/>
                  </a:cubicBezTo>
                  <a:lnTo>
                    <a:pt x="75145" y="91187"/>
                  </a:lnTo>
                  <a:cubicBezTo>
                    <a:pt x="75413" y="92079"/>
                    <a:pt x="75101" y="92524"/>
                    <a:pt x="74209" y="92524"/>
                  </a:cubicBezTo>
                  <a:lnTo>
                    <a:pt x="64846" y="92524"/>
                  </a:lnTo>
                  <a:cubicBezTo>
                    <a:pt x="64015" y="92571"/>
                    <a:pt x="63275" y="92002"/>
                    <a:pt x="63107" y="91187"/>
                  </a:cubicBezTo>
                  <a:lnTo>
                    <a:pt x="56151" y="71390"/>
                  </a:lnTo>
                  <a:lnTo>
                    <a:pt x="19367" y="71390"/>
                  </a:lnTo>
                  <a:lnTo>
                    <a:pt x="12411" y="91187"/>
                  </a:lnTo>
                  <a:cubicBezTo>
                    <a:pt x="12197" y="91972"/>
                    <a:pt x="11486" y="92518"/>
                    <a:pt x="10672" y="92524"/>
                  </a:cubicBezTo>
                  <a:lnTo>
                    <a:pt x="1309" y="92524"/>
                  </a:lnTo>
                  <a:cubicBezTo>
                    <a:pt x="417" y="92524"/>
                    <a:pt x="105" y="92079"/>
                    <a:pt x="373" y="91187"/>
                  </a:cubicBezTo>
                  <a:close/>
                  <a:moveTo>
                    <a:pt x="52272" y="60422"/>
                  </a:moveTo>
                  <a:lnTo>
                    <a:pt x="37960" y="19089"/>
                  </a:lnTo>
                  <a:lnTo>
                    <a:pt x="37692" y="19089"/>
                  </a:lnTo>
                  <a:lnTo>
                    <a:pt x="23246" y="60422"/>
                  </a:lnTo>
                  <a:close/>
                  <a:moveTo>
                    <a:pt x="105911" y="92524"/>
                  </a:moveTo>
                  <a:cubicBezTo>
                    <a:pt x="105119" y="92535"/>
                    <a:pt x="104437" y="91968"/>
                    <a:pt x="104305" y="91187"/>
                  </a:cubicBezTo>
                  <a:lnTo>
                    <a:pt x="74878" y="3172"/>
                  </a:lnTo>
                  <a:cubicBezTo>
                    <a:pt x="74695" y="2791"/>
                    <a:pt x="74695" y="2348"/>
                    <a:pt x="74878" y="1968"/>
                  </a:cubicBezTo>
                  <a:cubicBezTo>
                    <a:pt x="75099" y="1680"/>
                    <a:pt x="75453" y="1528"/>
                    <a:pt x="75814" y="1567"/>
                  </a:cubicBezTo>
                  <a:lnTo>
                    <a:pt x="84910" y="1567"/>
                  </a:lnTo>
                  <a:cubicBezTo>
                    <a:pt x="85780" y="1487"/>
                    <a:pt x="86576" y="2056"/>
                    <a:pt x="86783" y="2904"/>
                  </a:cubicBezTo>
                  <a:lnTo>
                    <a:pt x="110057" y="73129"/>
                  </a:lnTo>
                  <a:lnTo>
                    <a:pt x="110325" y="73129"/>
                  </a:lnTo>
                  <a:lnTo>
                    <a:pt x="132797" y="2904"/>
                  </a:lnTo>
                  <a:cubicBezTo>
                    <a:pt x="132965" y="2089"/>
                    <a:pt x="133704" y="1520"/>
                    <a:pt x="134536" y="1567"/>
                  </a:cubicBezTo>
                  <a:lnTo>
                    <a:pt x="143750" y="1567"/>
                  </a:lnTo>
                  <a:cubicBezTo>
                    <a:pt x="144741" y="1567"/>
                    <a:pt x="145053" y="2102"/>
                    <a:pt x="144687" y="3172"/>
                  </a:cubicBezTo>
                  <a:lnTo>
                    <a:pt x="115408" y="91187"/>
                  </a:lnTo>
                  <a:cubicBezTo>
                    <a:pt x="115276" y="91968"/>
                    <a:pt x="114594" y="92535"/>
                    <a:pt x="113803" y="92524"/>
                  </a:cubicBezTo>
                  <a:close/>
                  <a:moveTo>
                    <a:pt x="158613" y="2904"/>
                  </a:moveTo>
                  <a:cubicBezTo>
                    <a:pt x="158525" y="2253"/>
                    <a:pt x="158981" y="1655"/>
                    <a:pt x="159632" y="1567"/>
                  </a:cubicBezTo>
                  <a:cubicBezTo>
                    <a:pt x="159737" y="1552"/>
                    <a:pt x="159844" y="1552"/>
                    <a:pt x="159950" y="1567"/>
                  </a:cubicBezTo>
                  <a:lnTo>
                    <a:pt x="169165" y="1567"/>
                  </a:lnTo>
                  <a:cubicBezTo>
                    <a:pt x="169816" y="1479"/>
                    <a:pt x="170415" y="1935"/>
                    <a:pt x="170503" y="2586"/>
                  </a:cubicBezTo>
                  <a:cubicBezTo>
                    <a:pt x="170517" y="2691"/>
                    <a:pt x="170517" y="2798"/>
                    <a:pt x="170503" y="2904"/>
                  </a:cubicBezTo>
                  <a:lnTo>
                    <a:pt x="170503" y="91187"/>
                  </a:lnTo>
                  <a:cubicBezTo>
                    <a:pt x="170591" y="91837"/>
                    <a:pt x="170134" y="92436"/>
                    <a:pt x="169484" y="92524"/>
                  </a:cubicBezTo>
                  <a:cubicBezTo>
                    <a:pt x="169378" y="92539"/>
                    <a:pt x="169271" y="92539"/>
                    <a:pt x="169165" y="92524"/>
                  </a:cubicBezTo>
                  <a:lnTo>
                    <a:pt x="159950" y="92524"/>
                  </a:lnTo>
                  <a:cubicBezTo>
                    <a:pt x="159300" y="92612"/>
                    <a:pt x="158701" y="92156"/>
                    <a:pt x="158613" y="91505"/>
                  </a:cubicBezTo>
                  <a:cubicBezTo>
                    <a:pt x="158598" y="91400"/>
                    <a:pt x="158598" y="91293"/>
                    <a:pt x="158613" y="91187"/>
                  </a:cubicBezTo>
                  <a:close/>
                  <a:moveTo>
                    <a:pt x="216531" y="2904"/>
                  </a:moveTo>
                  <a:cubicBezTo>
                    <a:pt x="216663" y="2123"/>
                    <a:pt x="217345" y="1556"/>
                    <a:pt x="218137" y="1567"/>
                  </a:cubicBezTo>
                  <a:lnTo>
                    <a:pt x="226831" y="1567"/>
                  </a:lnTo>
                  <a:cubicBezTo>
                    <a:pt x="227662" y="1520"/>
                    <a:pt x="228402" y="2089"/>
                    <a:pt x="228570" y="2904"/>
                  </a:cubicBezTo>
                  <a:lnTo>
                    <a:pt x="259736" y="91187"/>
                  </a:lnTo>
                  <a:cubicBezTo>
                    <a:pt x="260004" y="92079"/>
                    <a:pt x="259692" y="92524"/>
                    <a:pt x="258800" y="92524"/>
                  </a:cubicBezTo>
                  <a:lnTo>
                    <a:pt x="249437" y="92524"/>
                  </a:lnTo>
                  <a:cubicBezTo>
                    <a:pt x="248606" y="92571"/>
                    <a:pt x="247866" y="92002"/>
                    <a:pt x="247698" y="91187"/>
                  </a:cubicBezTo>
                  <a:lnTo>
                    <a:pt x="240742" y="71390"/>
                  </a:lnTo>
                  <a:lnTo>
                    <a:pt x="203958" y="71390"/>
                  </a:lnTo>
                  <a:lnTo>
                    <a:pt x="197002" y="91187"/>
                  </a:lnTo>
                  <a:cubicBezTo>
                    <a:pt x="196788" y="91972"/>
                    <a:pt x="196077" y="92518"/>
                    <a:pt x="195263" y="92524"/>
                  </a:cubicBezTo>
                  <a:lnTo>
                    <a:pt x="185900" y="92524"/>
                  </a:lnTo>
                  <a:cubicBezTo>
                    <a:pt x="185008" y="92524"/>
                    <a:pt x="184696" y="92079"/>
                    <a:pt x="184964" y="91187"/>
                  </a:cubicBezTo>
                  <a:close/>
                  <a:moveTo>
                    <a:pt x="236863" y="60422"/>
                  </a:moveTo>
                  <a:lnTo>
                    <a:pt x="222551" y="19089"/>
                  </a:lnTo>
                  <a:lnTo>
                    <a:pt x="222283" y="19089"/>
                  </a:lnTo>
                  <a:lnTo>
                    <a:pt x="207837" y="60422"/>
                  </a:lnTo>
                  <a:close/>
                  <a:moveTo>
                    <a:pt x="284616" y="92524"/>
                  </a:moveTo>
                  <a:cubicBezTo>
                    <a:pt x="283965" y="92612"/>
                    <a:pt x="283366" y="92156"/>
                    <a:pt x="283278" y="91505"/>
                  </a:cubicBezTo>
                  <a:cubicBezTo>
                    <a:pt x="283264" y="91400"/>
                    <a:pt x="283264" y="91293"/>
                    <a:pt x="283278" y="91187"/>
                  </a:cubicBezTo>
                  <a:lnTo>
                    <a:pt x="283278" y="13457"/>
                  </a:lnTo>
                  <a:cubicBezTo>
                    <a:pt x="283333" y="13068"/>
                    <a:pt x="283063" y="12709"/>
                    <a:pt x="282674" y="12654"/>
                  </a:cubicBezTo>
                  <a:cubicBezTo>
                    <a:pt x="282608" y="12645"/>
                    <a:pt x="282542" y="12645"/>
                    <a:pt x="282476" y="12654"/>
                  </a:cubicBezTo>
                  <a:lnTo>
                    <a:pt x="257596" y="12654"/>
                  </a:lnTo>
                  <a:cubicBezTo>
                    <a:pt x="256946" y="12742"/>
                    <a:pt x="256347" y="12286"/>
                    <a:pt x="256259" y="11635"/>
                  </a:cubicBezTo>
                  <a:cubicBezTo>
                    <a:pt x="256244" y="11529"/>
                    <a:pt x="256244" y="11422"/>
                    <a:pt x="256259" y="11316"/>
                  </a:cubicBezTo>
                  <a:lnTo>
                    <a:pt x="256259" y="2904"/>
                  </a:lnTo>
                  <a:cubicBezTo>
                    <a:pt x="256171" y="2253"/>
                    <a:pt x="256627" y="1655"/>
                    <a:pt x="257278" y="1567"/>
                  </a:cubicBezTo>
                  <a:cubicBezTo>
                    <a:pt x="257383" y="1552"/>
                    <a:pt x="257490" y="1552"/>
                    <a:pt x="257596" y="1567"/>
                  </a:cubicBezTo>
                  <a:lnTo>
                    <a:pt x="320865" y="1567"/>
                  </a:lnTo>
                  <a:cubicBezTo>
                    <a:pt x="321516" y="1479"/>
                    <a:pt x="322114" y="1935"/>
                    <a:pt x="322203" y="2586"/>
                  </a:cubicBezTo>
                  <a:cubicBezTo>
                    <a:pt x="322218" y="2691"/>
                    <a:pt x="322218" y="2798"/>
                    <a:pt x="322203" y="2904"/>
                  </a:cubicBezTo>
                  <a:lnTo>
                    <a:pt x="322203" y="11331"/>
                  </a:lnTo>
                  <a:cubicBezTo>
                    <a:pt x="322292" y="11982"/>
                    <a:pt x="321834" y="12581"/>
                    <a:pt x="321183" y="12669"/>
                  </a:cubicBezTo>
                  <a:cubicBezTo>
                    <a:pt x="321079" y="12683"/>
                    <a:pt x="320972" y="12683"/>
                    <a:pt x="320865" y="12669"/>
                  </a:cubicBezTo>
                  <a:lnTo>
                    <a:pt x="295986" y="12669"/>
                  </a:lnTo>
                  <a:cubicBezTo>
                    <a:pt x="295596" y="12614"/>
                    <a:pt x="295237" y="12885"/>
                    <a:pt x="295183" y="13273"/>
                  </a:cubicBezTo>
                  <a:cubicBezTo>
                    <a:pt x="295174" y="13339"/>
                    <a:pt x="295174" y="13406"/>
                    <a:pt x="295183" y="13471"/>
                  </a:cubicBezTo>
                  <a:lnTo>
                    <a:pt x="295183" y="91187"/>
                  </a:lnTo>
                  <a:cubicBezTo>
                    <a:pt x="295272" y="91837"/>
                    <a:pt x="294815" y="92436"/>
                    <a:pt x="294164" y="92524"/>
                  </a:cubicBezTo>
                  <a:cubicBezTo>
                    <a:pt x="294058" y="92539"/>
                    <a:pt x="293951" y="92539"/>
                    <a:pt x="293846" y="92524"/>
                  </a:cubicBezTo>
                  <a:close/>
                  <a:moveTo>
                    <a:pt x="336382" y="2904"/>
                  </a:moveTo>
                  <a:cubicBezTo>
                    <a:pt x="336293" y="2253"/>
                    <a:pt x="336750" y="1655"/>
                    <a:pt x="337401" y="1567"/>
                  </a:cubicBezTo>
                  <a:cubicBezTo>
                    <a:pt x="337505" y="1552"/>
                    <a:pt x="337612" y="1552"/>
                    <a:pt x="337719" y="1567"/>
                  </a:cubicBezTo>
                  <a:lnTo>
                    <a:pt x="346934" y="1567"/>
                  </a:lnTo>
                  <a:cubicBezTo>
                    <a:pt x="347585" y="1479"/>
                    <a:pt x="348182" y="1935"/>
                    <a:pt x="348272" y="2586"/>
                  </a:cubicBezTo>
                  <a:cubicBezTo>
                    <a:pt x="348286" y="2691"/>
                    <a:pt x="348286" y="2798"/>
                    <a:pt x="348272" y="2904"/>
                  </a:cubicBezTo>
                  <a:lnTo>
                    <a:pt x="348272" y="91187"/>
                  </a:lnTo>
                  <a:cubicBezTo>
                    <a:pt x="348361" y="91837"/>
                    <a:pt x="347903" y="92436"/>
                    <a:pt x="347252" y="92524"/>
                  </a:cubicBezTo>
                  <a:cubicBezTo>
                    <a:pt x="347148" y="92539"/>
                    <a:pt x="347041" y="92539"/>
                    <a:pt x="346934" y="92524"/>
                  </a:cubicBezTo>
                  <a:lnTo>
                    <a:pt x="337719" y="92524"/>
                  </a:lnTo>
                  <a:cubicBezTo>
                    <a:pt x="337068" y="92612"/>
                    <a:pt x="336471" y="92156"/>
                    <a:pt x="336382" y="91505"/>
                  </a:cubicBezTo>
                  <a:cubicBezTo>
                    <a:pt x="336367" y="91400"/>
                    <a:pt x="336367" y="91293"/>
                    <a:pt x="336382" y="91187"/>
                  </a:cubicBezTo>
                  <a:close/>
                  <a:moveTo>
                    <a:pt x="400855" y="93996"/>
                  </a:moveTo>
                  <a:cubicBezTo>
                    <a:pt x="393976" y="94218"/>
                    <a:pt x="387190" y="92353"/>
                    <a:pt x="381391" y="88645"/>
                  </a:cubicBezTo>
                  <a:cubicBezTo>
                    <a:pt x="375877" y="84796"/>
                    <a:pt x="371843" y="79181"/>
                    <a:pt x="369956" y="72728"/>
                  </a:cubicBezTo>
                  <a:cubicBezTo>
                    <a:pt x="369504" y="71362"/>
                    <a:pt x="369124" y="69973"/>
                    <a:pt x="368820" y="68566"/>
                  </a:cubicBezTo>
                  <a:cubicBezTo>
                    <a:pt x="368473" y="66911"/>
                    <a:pt x="368229" y="65236"/>
                    <a:pt x="368083" y="63552"/>
                  </a:cubicBezTo>
                  <a:cubicBezTo>
                    <a:pt x="367905" y="61635"/>
                    <a:pt x="367771" y="59339"/>
                    <a:pt x="367682" y="56661"/>
                  </a:cubicBezTo>
                  <a:cubicBezTo>
                    <a:pt x="367593" y="53984"/>
                    <a:pt x="367542" y="50779"/>
                    <a:pt x="367533" y="47046"/>
                  </a:cubicBezTo>
                  <a:cubicBezTo>
                    <a:pt x="367533" y="43300"/>
                    <a:pt x="367578" y="40090"/>
                    <a:pt x="367667" y="37415"/>
                  </a:cubicBezTo>
                  <a:cubicBezTo>
                    <a:pt x="367756" y="34739"/>
                    <a:pt x="367890" y="32444"/>
                    <a:pt x="368068" y="30527"/>
                  </a:cubicBezTo>
                  <a:cubicBezTo>
                    <a:pt x="368214" y="28843"/>
                    <a:pt x="368458" y="27168"/>
                    <a:pt x="368805" y="25513"/>
                  </a:cubicBezTo>
                  <a:cubicBezTo>
                    <a:pt x="369109" y="24107"/>
                    <a:pt x="369489" y="22717"/>
                    <a:pt x="369941" y="21351"/>
                  </a:cubicBezTo>
                  <a:cubicBezTo>
                    <a:pt x="371831" y="14895"/>
                    <a:pt x="375871" y="9279"/>
                    <a:pt x="381391" y="5431"/>
                  </a:cubicBezTo>
                  <a:cubicBezTo>
                    <a:pt x="393432" y="-1703"/>
                    <a:pt x="408408" y="-1703"/>
                    <a:pt x="420449" y="5431"/>
                  </a:cubicBezTo>
                  <a:cubicBezTo>
                    <a:pt x="425963" y="9280"/>
                    <a:pt x="429997" y="14895"/>
                    <a:pt x="431887" y="21348"/>
                  </a:cubicBezTo>
                  <a:cubicBezTo>
                    <a:pt x="432339" y="22714"/>
                    <a:pt x="432720" y="24104"/>
                    <a:pt x="433023" y="25510"/>
                  </a:cubicBezTo>
                  <a:cubicBezTo>
                    <a:pt x="433371" y="27166"/>
                    <a:pt x="433614" y="28841"/>
                    <a:pt x="433760" y="30527"/>
                  </a:cubicBezTo>
                  <a:cubicBezTo>
                    <a:pt x="433938" y="32446"/>
                    <a:pt x="434072" y="34742"/>
                    <a:pt x="434161" y="37415"/>
                  </a:cubicBezTo>
                  <a:cubicBezTo>
                    <a:pt x="434251" y="40088"/>
                    <a:pt x="434295" y="43298"/>
                    <a:pt x="434295" y="47046"/>
                  </a:cubicBezTo>
                  <a:cubicBezTo>
                    <a:pt x="434295" y="50791"/>
                    <a:pt x="434251" y="54001"/>
                    <a:pt x="434161" y="56676"/>
                  </a:cubicBezTo>
                  <a:cubicBezTo>
                    <a:pt x="434072" y="59352"/>
                    <a:pt x="433938" y="61648"/>
                    <a:pt x="433760" y="63567"/>
                  </a:cubicBezTo>
                  <a:cubicBezTo>
                    <a:pt x="433614" y="65253"/>
                    <a:pt x="433371" y="66928"/>
                    <a:pt x="433023" y="68584"/>
                  </a:cubicBezTo>
                  <a:cubicBezTo>
                    <a:pt x="432720" y="69990"/>
                    <a:pt x="432339" y="71380"/>
                    <a:pt x="431887" y="72746"/>
                  </a:cubicBezTo>
                  <a:cubicBezTo>
                    <a:pt x="429997" y="79199"/>
                    <a:pt x="425963" y="84814"/>
                    <a:pt x="420449" y="88663"/>
                  </a:cubicBezTo>
                  <a:cubicBezTo>
                    <a:pt x="414605" y="92376"/>
                    <a:pt x="407775" y="94235"/>
                    <a:pt x="400855" y="93996"/>
                  </a:cubicBezTo>
                  <a:close/>
                  <a:moveTo>
                    <a:pt x="400855" y="82894"/>
                  </a:moveTo>
                  <a:cubicBezTo>
                    <a:pt x="405266" y="83088"/>
                    <a:pt x="409624" y="81870"/>
                    <a:pt x="413295" y="79416"/>
                  </a:cubicBezTo>
                  <a:cubicBezTo>
                    <a:pt x="416636" y="76911"/>
                    <a:pt x="419076" y="73391"/>
                    <a:pt x="420250" y="69384"/>
                  </a:cubicBezTo>
                  <a:cubicBezTo>
                    <a:pt x="420562" y="68398"/>
                    <a:pt x="420809" y="67392"/>
                    <a:pt x="420987" y="66373"/>
                  </a:cubicBezTo>
                  <a:cubicBezTo>
                    <a:pt x="421210" y="65168"/>
                    <a:pt x="421433" y="63674"/>
                    <a:pt x="421656" y="61893"/>
                  </a:cubicBezTo>
                  <a:cubicBezTo>
                    <a:pt x="421879" y="60112"/>
                    <a:pt x="422037" y="58016"/>
                    <a:pt x="422126" y="55606"/>
                  </a:cubicBezTo>
                  <a:cubicBezTo>
                    <a:pt x="422215" y="53199"/>
                    <a:pt x="422260" y="50345"/>
                    <a:pt x="422260" y="47046"/>
                  </a:cubicBezTo>
                  <a:cubicBezTo>
                    <a:pt x="422260" y="43746"/>
                    <a:pt x="422215" y="40892"/>
                    <a:pt x="422126" y="38485"/>
                  </a:cubicBezTo>
                  <a:cubicBezTo>
                    <a:pt x="422037" y="36077"/>
                    <a:pt x="421879" y="33981"/>
                    <a:pt x="421656" y="32198"/>
                  </a:cubicBezTo>
                  <a:cubicBezTo>
                    <a:pt x="421433" y="30415"/>
                    <a:pt x="421210" y="28921"/>
                    <a:pt x="420987" y="27718"/>
                  </a:cubicBezTo>
                  <a:cubicBezTo>
                    <a:pt x="420809" y="26699"/>
                    <a:pt x="420562" y="25693"/>
                    <a:pt x="420250" y="24707"/>
                  </a:cubicBezTo>
                  <a:cubicBezTo>
                    <a:pt x="419076" y="20699"/>
                    <a:pt x="416636" y="17180"/>
                    <a:pt x="413295" y="14675"/>
                  </a:cubicBezTo>
                  <a:cubicBezTo>
                    <a:pt x="409624" y="12221"/>
                    <a:pt x="405266" y="11003"/>
                    <a:pt x="400855" y="11197"/>
                  </a:cubicBezTo>
                  <a:cubicBezTo>
                    <a:pt x="396464" y="10996"/>
                    <a:pt x="392125" y="12215"/>
                    <a:pt x="388480" y="14675"/>
                  </a:cubicBezTo>
                  <a:cubicBezTo>
                    <a:pt x="385172" y="17198"/>
                    <a:pt x="382758" y="20714"/>
                    <a:pt x="381593" y="24707"/>
                  </a:cubicBezTo>
                  <a:cubicBezTo>
                    <a:pt x="381281" y="25693"/>
                    <a:pt x="381034" y="26699"/>
                    <a:pt x="380859" y="27718"/>
                  </a:cubicBezTo>
                  <a:cubicBezTo>
                    <a:pt x="380636" y="28921"/>
                    <a:pt x="380413" y="30415"/>
                    <a:pt x="380190" y="32198"/>
                  </a:cubicBezTo>
                  <a:cubicBezTo>
                    <a:pt x="379967" y="33981"/>
                    <a:pt x="379810" y="36077"/>
                    <a:pt x="379720" y="38485"/>
                  </a:cubicBezTo>
                  <a:cubicBezTo>
                    <a:pt x="379631" y="40892"/>
                    <a:pt x="379587" y="43746"/>
                    <a:pt x="379587" y="47046"/>
                  </a:cubicBezTo>
                  <a:cubicBezTo>
                    <a:pt x="379587" y="50345"/>
                    <a:pt x="379631" y="53199"/>
                    <a:pt x="379720" y="55606"/>
                  </a:cubicBezTo>
                  <a:cubicBezTo>
                    <a:pt x="379810" y="58014"/>
                    <a:pt x="379967" y="60110"/>
                    <a:pt x="380190" y="61893"/>
                  </a:cubicBezTo>
                  <a:cubicBezTo>
                    <a:pt x="380413" y="63677"/>
                    <a:pt x="380636" y="65170"/>
                    <a:pt x="380859" y="66373"/>
                  </a:cubicBezTo>
                  <a:cubicBezTo>
                    <a:pt x="381034" y="67392"/>
                    <a:pt x="381281" y="68398"/>
                    <a:pt x="381593" y="69384"/>
                  </a:cubicBezTo>
                  <a:cubicBezTo>
                    <a:pt x="382758" y="73377"/>
                    <a:pt x="385172" y="76893"/>
                    <a:pt x="388480" y="79416"/>
                  </a:cubicBezTo>
                  <a:cubicBezTo>
                    <a:pt x="392125" y="81876"/>
                    <a:pt x="396464" y="83095"/>
                    <a:pt x="400855" y="82894"/>
                  </a:cubicBezTo>
                  <a:close/>
                  <a:moveTo>
                    <a:pt x="453557" y="2904"/>
                  </a:moveTo>
                  <a:cubicBezTo>
                    <a:pt x="453468" y="2253"/>
                    <a:pt x="453925" y="1655"/>
                    <a:pt x="454576" y="1567"/>
                  </a:cubicBezTo>
                  <a:cubicBezTo>
                    <a:pt x="454680" y="1552"/>
                    <a:pt x="454787" y="1552"/>
                    <a:pt x="454894" y="1567"/>
                  </a:cubicBezTo>
                  <a:lnTo>
                    <a:pt x="463455" y="1567"/>
                  </a:lnTo>
                  <a:cubicBezTo>
                    <a:pt x="464415" y="1502"/>
                    <a:pt x="465319" y="2033"/>
                    <a:pt x="465729" y="2904"/>
                  </a:cubicBezTo>
                  <a:lnTo>
                    <a:pt x="506928" y="71123"/>
                  </a:lnTo>
                  <a:lnTo>
                    <a:pt x="507463" y="71123"/>
                  </a:lnTo>
                  <a:lnTo>
                    <a:pt x="507463" y="2904"/>
                  </a:lnTo>
                  <a:cubicBezTo>
                    <a:pt x="507373" y="2253"/>
                    <a:pt x="507831" y="1655"/>
                    <a:pt x="508482" y="1567"/>
                  </a:cubicBezTo>
                  <a:cubicBezTo>
                    <a:pt x="508586" y="1552"/>
                    <a:pt x="508693" y="1552"/>
                    <a:pt x="508800" y="1567"/>
                  </a:cubicBezTo>
                  <a:lnTo>
                    <a:pt x="517227" y="1567"/>
                  </a:lnTo>
                  <a:cubicBezTo>
                    <a:pt x="517878" y="1479"/>
                    <a:pt x="518476" y="1935"/>
                    <a:pt x="518565" y="2586"/>
                  </a:cubicBezTo>
                  <a:cubicBezTo>
                    <a:pt x="518580" y="2691"/>
                    <a:pt x="518580" y="2798"/>
                    <a:pt x="518565" y="2904"/>
                  </a:cubicBezTo>
                  <a:lnTo>
                    <a:pt x="518565" y="91187"/>
                  </a:lnTo>
                  <a:cubicBezTo>
                    <a:pt x="518654" y="91837"/>
                    <a:pt x="518196" y="92436"/>
                    <a:pt x="517545" y="92524"/>
                  </a:cubicBezTo>
                  <a:cubicBezTo>
                    <a:pt x="517441" y="92539"/>
                    <a:pt x="517334" y="92539"/>
                    <a:pt x="517227" y="92524"/>
                  </a:cubicBezTo>
                  <a:lnTo>
                    <a:pt x="508667" y="92524"/>
                  </a:lnTo>
                  <a:cubicBezTo>
                    <a:pt x="507706" y="92589"/>
                    <a:pt x="506803" y="92058"/>
                    <a:pt x="506393" y="91187"/>
                  </a:cubicBezTo>
                  <a:lnTo>
                    <a:pt x="465060" y="23236"/>
                  </a:lnTo>
                  <a:lnTo>
                    <a:pt x="464659" y="23236"/>
                  </a:lnTo>
                  <a:lnTo>
                    <a:pt x="464659" y="91187"/>
                  </a:lnTo>
                  <a:cubicBezTo>
                    <a:pt x="464748" y="91837"/>
                    <a:pt x="464290" y="92436"/>
                    <a:pt x="463639" y="92524"/>
                  </a:cubicBezTo>
                  <a:cubicBezTo>
                    <a:pt x="463535" y="92539"/>
                    <a:pt x="463428" y="92539"/>
                    <a:pt x="463321" y="92524"/>
                  </a:cubicBezTo>
                  <a:lnTo>
                    <a:pt x="454894" y="92524"/>
                  </a:lnTo>
                  <a:cubicBezTo>
                    <a:pt x="454243" y="92612"/>
                    <a:pt x="453646" y="92156"/>
                    <a:pt x="453557" y="91505"/>
                  </a:cubicBezTo>
                  <a:cubicBezTo>
                    <a:pt x="453542" y="91400"/>
                    <a:pt x="453542" y="91293"/>
                    <a:pt x="453557" y="91187"/>
                  </a:cubicBezTo>
                  <a:close/>
                  <a:moveTo>
                    <a:pt x="539164" y="79683"/>
                  </a:moveTo>
                  <a:cubicBezTo>
                    <a:pt x="539075" y="79033"/>
                    <a:pt x="539533" y="78434"/>
                    <a:pt x="540184" y="78346"/>
                  </a:cubicBezTo>
                  <a:cubicBezTo>
                    <a:pt x="540288" y="78331"/>
                    <a:pt x="540395" y="78331"/>
                    <a:pt x="540502" y="78346"/>
                  </a:cubicBezTo>
                  <a:lnTo>
                    <a:pt x="550668" y="78346"/>
                  </a:lnTo>
                  <a:cubicBezTo>
                    <a:pt x="551319" y="78258"/>
                    <a:pt x="551916" y="78714"/>
                    <a:pt x="552005" y="79365"/>
                  </a:cubicBezTo>
                  <a:cubicBezTo>
                    <a:pt x="552020" y="79470"/>
                    <a:pt x="552020" y="79577"/>
                    <a:pt x="552005" y="79683"/>
                  </a:cubicBezTo>
                  <a:lnTo>
                    <a:pt x="552005" y="91187"/>
                  </a:lnTo>
                  <a:cubicBezTo>
                    <a:pt x="552094" y="91837"/>
                    <a:pt x="551637" y="92436"/>
                    <a:pt x="550986" y="92524"/>
                  </a:cubicBezTo>
                  <a:cubicBezTo>
                    <a:pt x="550882" y="92539"/>
                    <a:pt x="550775" y="92539"/>
                    <a:pt x="550668" y="92524"/>
                  </a:cubicBezTo>
                  <a:lnTo>
                    <a:pt x="540502" y="92524"/>
                  </a:lnTo>
                  <a:cubicBezTo>
                    <a:pt x="539851" y="92612"/>
                    <a:pt x="539253" y="92156"/>
                    <a:pt x="539164" y="91505"/>
                  </a:cubicBezTo>
                  <a:cubicBezTo>
                    <a:pt x="539149" y="91400"/>
                    <a:pt x="539149" y="91293"/>
                    <a:pt x="539164" y="91187"/>
                  </a:cubicBezTo>
                  <a:close/>
                  <a:moveTo>
                    <a:pt x="601883" y="2904"/>
                  </a:moveTo>
                  <a:cubicBezTo>
                    <a:pt x="601794" y="2253"/>
                    <a:pt x="602252" y="1655"/>
                    <a:pt x="602903" y="1567"/>
                  </a:cubicBezTo>
                  <a:cubicBezTo>
                    <a:pt x="603007" y="1552"/>
                    <a:pt x="603114" y="1552"/>
                    <a:pt x="603221" y="1567"/>
                  </a:cubicBezTo>
                  <a:lnTo>
                    <a:pt x="612465" y="1567"/>
                  </a:lnTo>
                  <a:cubicBezTo>
                    <a:pt x="613116" y="1479"/>
                    <a:pt x="613714" y="1935"/>
                    <a:pt x="613803" y="2586"/>
                  </a:cubicBezTo>
                  <a:cubicBezTo>
                    <a:pt x="613818" y="2691"/>
                    <a:pt x="613818" y="2798"/>
                    <a:pt x="613803" y="2904"/>
                  </a:cubicBezTo>
                  <a:lnTo>
                    <a:pt x="613803" y="80620"/>
                  </a:lnTo>
                  <a:cubicBezTo>
                    <a:pt x="613750" y="81008"/>
                    <a:pt x="614020" y="81368"/>
                    <a:pt x="614406" y="81422"/>
                  </a:cubicBezTo>
                  <a:cubicBezTo>
                    <a:pt x="614472" y="81431"/>
                    <a:pt x="614540" y="81431"/>
                    <a:pt x="614606" y="81422"/>
                  </a:cubicBezTo>
                  <a:lnTo>
                    <a:pt x="657944" y="81422"/>
                  </a:lnTo>
                  <a:cubicBezTo>
                    <a:pt x="658595" y="81334"/>
                    <a:pt x="659193" y="81791"/>
                    <a:pt x="659282" y="82441"/>
                  </a:cubicBezTo>
                  <a:cubicBezTo>
                    <a:pt x="659297" y="82547"/>
                    <a:pt x="659297" y="82654"/>
                    <a:pt x="659282" y="82760"/>
                  </a:cubicBezTo>
                  <a:lnTo>
                    <a:pt x="659282" y="91187"/>
                  </a:lnTo>
                  <a:cubicBezTo>
                    <a:pt x="659371" y="91837"/>
                    <a:pt x="658913" y="92436"/>
                    <a:pt x="658262" y="92524"/>
                  </a:cubicBezTo>
                  <a:cubicBezTo>
                    <a:pt x="658158" y="92539"/>
                    <a:pt x="658051" y="92539"/>
                    <a:pt x="657944" y="92524"/>
                  </a:cubicBezTo>
                  <a:lnTo>
                    <a:pt x="603251" y="92524"/>
                  </a:lnTo>
                  <a:cubicBezTo>
                    <a:pt x="602600" y="92612"/>
                    <a:pt x="602002" y="92156"/>
                    <a:pt x="601913" y="91505"/>
                  </a:cubicBezTo>
                  <a:cubicBezTo>
                    <a:pt x="601898" y="91400"/>
                    <a:pt x="601898" y="91293"/>
                    <a:pt x="601913" y="91187"/>
                  </a:cubicBezTo>
                  <a:close/>
                  <a:moveTo>
                    <a:pt x="703958" y="93996"/>
                  </a:moveTo>
                  <a:cubicBezTo>
                    <a:pt x="697080" y="94218"/>
                    <a:pt x="690294" y="92353"/>
                    <a:pt x="684495" y="88645"/>
                  </a:cubicBezTo>
                  <a:cubicBezTo>
                    <a:pt x="678981" y="84796"/>
                    <a:pt x="674947" y="79181"/>
                    <a:pt x="673056" y="72728"/>
                  </a:cubicBezTo>
                  <a:cubicBezTo>
                    <a:pt x="672605" y="71362"/>
                    <a:pt x="672224" y="69973"/>
                    <a:pt x="671921" y="68566"/>
                  </a:cubicBezTo>
                  <a:cubicBezTo>
                    <a:pt x="671576" y="66911"/>
                    <a:pt x="671329" y="65236"/>
                    <a:pt x="671187" y="63552"/>
                  </a:cubicBezTo>
                  <a:cubicBezTo>
                    <a:pt x="671008" y="61635"/>
                    <a:pt x="670875" y="59339"/>
                    <a:pt x="670785" y="56661"/>
                  </a:cubicBezTo>
                  <a:cubicBezTo>
                    <a:pt x="670696" y="53984"/>
                    <a:pt x="670652" y="50774"/>
                    <a:pt x="670652" y="47031"/>
                  </a:cubicBezTo>
                  <a:cubicBezTo>
                    <a:pt x="670652" y="43285"/>
                    <a:pt x="670696" y="40075"/>
                    <a:pt x="670785" y="37400"/>
                  </a:cubicBezTo>
                  <a:cubicBezTo>
                    <a:pt x="670875" y="34725"/>
                    <a:pt x="671008" y="32429"/>
                    <a:pt x="671187" y="30513"/>
                  </a:cubicBezTo>
                  <a:cubicBezTo>
                    <a:pt x="671329" y="28832"/>
                    <a:pt x="671573" y="27161"/>
                    <a:pt x="671915" y="25510"/>
                  </a:cubicBezTo>
                  <a:cubicBezTo>
                    <a:pt x="672218" y="24104"/>
                    <a:pt x="672599" y="22714"/>
                    <a:pt x="673051" y="21348"/>
                  </a:cubicBezTo>
                  <a:cubicBezTo>
                    <a:pt x="674941" y="14894"/>
                    <a:pt x="678978" y="9279"/>
                    <a:pt x="684495" y="5431"/>
                  </a:cubicBezTo>
                  <a:cubicBezTo>
                    <a:pt x="696536" y="-1703"/>
                    <a:pt x="711511" y="-1703"/>
                    <a:pt x="723553" y="5431"/>
                  </a:cubicBezTo>
                  <a:cubicBezTo>
                    <a:pt x="729067" y="9280"/>
                    <a:pt x="733100" y="14895"/>
                    <a:pt x="734991" y="21348"/>
                  </a:cubicBezTo>
                  <a:cubicBezTo>
                    <a:pt x="735443" y="22714"/>
                    <a:pt x="735823" y="24104"/>
                    <a:pt x="736126" y="25510"/>
                  </a:cubicBezTo>
                  <a:cubicBezTo>
                    <a:pt x="736474" y="27166"/>
                    <a:pt x="736718" y="28841"/>
                    <a:pt x="736864" y="30527"/>
                  </a:cubicBezTo>
                  <a:cubicBezTo>
                    <a:pt x="737042" y="32446"/>
                    <a:pt x="737176" y="34742"/>
                    <a:pt x="737265" y="37415"/>
                  </a:cubicBezTo>
                  <a:cubicBezTo>
                    <a:pt x="737354" y="40088"/>
                    <a:pt x="737399" y="43298"/>
                    <a:pt x="737399" y="47046"/>
                  </a:cubicBezTo>
                  <a:cubicBezTo>
                    <a:pt x="737399" y="50791"/>
                    <a:pt x="737354" y="54001"/>
                    <a:pt x="737265" y="56676"/>
                  </a:cubicBezTo>
                  <a:cubicBezTo>
                    <a:pt x="737176" y="59352"/>
                    <a:pt x="737042" y="61648"/>
                    <a:pt x="736864" y="63567"/>
                  </a:cubicBezTo>
                  <a:cubicBezTo>
                    <a:pt x="736718" y="65253"/>
                    <a:pt x="736474" y="66928"/>
                    <a:pt x="736126" y="68584"/>
                  </a:cubicBezTo>
                  <a:cubicBezTo>
                    <a:pt x="735823" y="69990"/>
                    <a:pt x="735443" y="71380"/>
                    <a:pt x="734991" y="72746"/>
                  </a:cubicBezTo>
                  <a:cubicBezTo>
                    <a:pt x="733100" y="79199"/>
                    <a:pt x="729067" y="84814"/>
                    <a:pt x="723553" y="88663"/>
                  </a:cubicBezTo>
                  <a:cubicBezTo>
                    <a:pt x="717709" y="92376"/>
                    <a:pt x="710878" y="94235"/>
                    <a:pt x="703958" y="93996"/>
                  </a:cubicBezTo>
                  <a:close/>
                  <a:moveTo>
                    <a:pt x="703958" y="82894"/>
                  </a:moveTo>
                  <a:cubicBezTo>
                    <a:pt x="708369" y="83088"/>
                    <a:pt x="712727" y="81870"/>
                    <a:pt x="716398" y="79416"/>
                  </a:cubicBezTo>
                  <a:cubicBezTo>
                    <a:pt x="719739" y="76911"/>
                    <a:pt x="722180" y="73391"/>
                    <a:pt x="723354" y="69384"/>
                  </a:cubicBezTo>
                  <a:cubicBezTo>
                    <a:pt x="723666" y="68398"/>
                    <a:pt x="723913" y="67392"/>
                    <a:pt x="724091" y="66373"/>
                  </a:cubicBezTo>
                  <a:cubicBezTo>
                    <a:pt x="724314" y="65168"/>
                    <a:pt x="724537" y="63674"/>
                    <a:pt x="724760" y="61893"/>
                  </a:cubicBezTo>
                  <a:cubicBezTo>
                    <a:pt x="724983" y="60112"/>
                    <a:pt x="725140" y="58016"/>
                    <a:pt x="725229" y="55606"/>
                  </a:cubicBezTo>
                  <a:cubicBezTo>
                    <a:pt x="725319" y="53199"/>
                    <a:pt x="725363" y="50345"/>
                    <a:pt x="725363" y="47046"/>
                  </a:cubicBezTo>
                  <a:cubicBezTo>
                    <a:pt x="725363" y="43746"/>
                    <a:pt x="725319" y="40892"/>
                    <a:pt x="725229" y="38485"/>
                  </a:cubicBezTo>
                  <a:cubicBezTo>
                    <a:pt x="725140" y="36077"/>
                    <a:pt x="724983" y="33981"/>
                    <a:pt x="724760" y="32198"/>
                  </a:cubicBezTo>
                  <a:cubicBezTo>
                    <a:pt x="724537" y="30415"/>
                    <a:pt x="724314" y="28921"/>
                    <a:pt x="724091" y="27718"/>
                  </a:cubicBezTo>
                  <a:cubicBezTo>
                    <a:pt x="723913" y="26699"/>
                    <a:pt x="723666" y="25693"/>
                    <a:pt x="723354" y="24707"/>
                  </a:cubicBezTo>
                  <a:cubicBezTo>
                    <a:pt x="722180" y="20699"/>
                    <a:pt x="719739" y="17180"/>
                    <a:pt x="716398" y="14675"/>
                  </a:cubicBezTo>
                  <a:cubicBezTo>
                    <a:pt x="712727" y="12221"/>
                    <a:pt x="708369" y="11003"/>
                    <a:pt x="703958" y="11197"/>
                  </a:cubicBezTo>
                  <a:cubicBezTo>
                    <a:pt x="699568" y="10996"/>
                    <a:pt x="695228" y="12215"/>
                    <a:pt x="691584" y="14675"/>
                  </a:cubicBezTo>
                  <a:cubicBezTo>
                    <a:pt x="688276" y="17198"/>
                    <a:pt x="685862" y="20714"/>
                    <a:pt x="684697" y="24707"/>
                  </a:cubicBezTo>
                  <a:cubicBezTo>
                    <a:pt x="684385" y="25693"/>
                    <a:pt x="684138" y="26699"/>
                    <a:pt x="683962" y="27718"/>
                  </a:cubicBezTo>
                  <a:cubicBezTo>
                    <a:pt x="683740" y="28921"/>
                    <a:pt x="683517" y="30415"/>
                    <a:pt x="683294" y="32198"/>
                  </a:cubicBezTo>
                  <a:cubicBezTo>
                    <a:pt x="683071" y="33981"/>
                    <a:pt x="682913" y="36077"/>
                    <a:pt x="682824" y="38485"/>
                  </a:cubicBezTo>
                  <a:cubicBezTo>
                    <a:pt x="682735" y="40892"/>
                    <a:pt x="682690" y="43746"/>
                    <a:pt x="682690" y="47046"/>
                  </a:cubicBezTo>
                  <a:cubicBezTo>
                    <a:pt x="682690" y="50345"/>
                    <a:pt x="682735" y="53199"/>
                    <a:pt x="682824" y="55606"/>
                  </a:cubicBezTo>
                  <a:cubicBezTo>
                    <a:pt x="682913" y="58014"/>
                    <a:pt x="683071" y="60110"/>
                    <a:pt x="683294" y="61893"/>
                  </a:cubicBezTo>
                  <a:cubicBezTo>
                    <a:pt x="683517" y="63677"/>
                    <a:pt x="683740" y="65170"/>
                    <a:pt x="683962" y="66373"/>
                  </a:cubicBezTo>
                  <a:cubicBezTo>
                    <a:pt x="684138" y="67392"/>
                    <a:pt x="684385" y="68398"/>
                    <a:pt x="684697" y="69384"/>
                  </a:cubicBezTo>
                  <a:cubicBezTo>
                    <a:pt x="685862" y="73377"/>
                    <a:pt x="688276" y="76893"/>
                    <a:pt x="691584" y="79416"/>
                  </a:cubicBezTo>
                  <a:cubicBezTo>
                    <a:pt x="695228" y="81876"/>
                    <a:pt x="699568" y="83095"/>
                    <a:pt x="703958" y="82894"/>
                  </a:cubicBezTo>
                  <a:close/>
                  <a:moveTo>
                    <a:pt x="755858" y="72728"/>
                  </a:moveTo>
                  <a:cubicBezTo>
                    <a:pt x="755406" y="71367"/>
                    <a:pt x="755049" y="69976"/>
                    <a:pt x="754788" y="68566"/>
                  </a:cubicBezTo>
                  <a:cubicBezTo>
                    <a:pt x="754520" y="67139"/>
                    <a:pt x="754276" y="65468"/>
                    <a:pt x="754053" y="63552"/>
                  </a:cubicBezTo>
                  <a:cubicBezTo>
                    <a:pt x="753831" y="61635"/>
                    <a:pt x="753676" y="59339"/>
                    <a:pt x="753584" y="56661"/>
                  </a:cubicBezTo>
                  <a:cubicBezTo>
                    <a:pt x="753495" y="53986"/>
                    <a:pt x="753450" y="50776"/>
                    <a:pt x="753450" y="47031"/>
                  </a:cubicBezTo>
                  <a:cubicBezTo>
                    <a:pt x="753450" y="43285"/>
                    <a:pt x="753495" y="40075"/>
                    <a:pt x="753584" y="37400"/>
                  </a:cubicBezTo>
                  <a:cubicBezTo>
                    <a:pt x="753673" y="34725"/>
                    <a:pt x="753831" y="32429"/>
                    <a:pt x="754053" y="30513"/>
                  </a:cubicBezTo>
                  <a:cubicBezTo>
                    <a:pt x="754276" y="28596"/>
                    <a:pt x="754523" y="26925"/>
                    <a:pt x="754788" y="25498"/>
                  </a:cubicBezTo>
                  <a:cubicBezTo>
                    <a:pt x="755049" y="24088"/>
                    <a:pt x="755406" y="22698"/>
                    <a:pt x="755858" y="21337"/>
                  </a:cubicBezTo>
                  <a:cubicBezTo>
                    <a:pt x="757757" y="14874"/>
                    <a:pt x="761818" y="9259"/>
                    <a:pt x="767361" y="5431"/>
                  </a:cubicBezTo>
                  <a:cubicBezTo>
                    <a:pt x="773232" y="1717"/>
                    <a:pt x="780081" y="-147"/>
                    <a:pt x="787024" y="80"/>
                  </a:cubicBezTo>
                  <a:cubicBezTo>
                    <a:pt x="790683" y="33"/>
                    <a:pt x="794331" y="505"/>
                    <a:pt x="797859" y="1483"/>
                  </a:cubicBezTo>
                  <a:cubicBezTo>
                    <a:pt x="800891" y="2339"/>
                    <a:pt x="803777" y="3646"/>
                    <a:pt x="806420" y="5362"/>
                  </a:cubicBezTo>
                  <a:cubicBezTo>
                    <a:pt x="808839" y="6943"/>
                    <a:pt x="811003" y="8882"/>
                    <a:pt x="812840" y="11114"/>
                  </a:cubicBezTo>
                  <a:cubicBezTo>
                    <a:pt x="814600" y="13260"/>
                    <a:pt x="816083" y="15619"/>
                    <a:pt x="817254" y="18135"/>
                  </a:cubicBezTo>
                  <a:cubicBezTo>
                    <a:pt x="817682" y="18669"/>
                    <a:pt x="817593" y="19447"/>
                    <a:pt x="817061" y="19873"/>
                  </a:cubicBezTo>
                  <a:cubicBezTo>
                    <a:pt x="816996" y="19925"/>
                    <a:pt x="816927" y="19970"/>
                    <a:pt x="816853" y="20008"/>
                  </a:cubicBezTo>
                  <a:lnTo>
                    <a:pt x="808827" y="23872"/>
                  </a:lnTo>
                  <a:cubicBezTo>
                    <a:pt x="808034" y="24318"/>
                    <a:pt x="807409" y="24095"/>
                    <a:pt x="806955" y="23203"/>
                  </a:cubicBezTo>
                  <a:cubicBezTo>
                    <a:pt x="805109" y="19530"/>
                    <a:pt x="802344" y="16396"/>
                    <a:pt x="798929" y="14107"/>
                  </a:cubicBezTo>
                  <a:cubicBezTo>
                    <a:pt x="795323" y="12022"/>
                    <a:pt x="791201" y="11001"/>
                    <a:pt x="787039" y="11165"/>
                  </a:cubicBezTo>
                  <a:cubicBezTo>
                    <a:pt x="782566" y="10966"/>
                    <a:pt x="778139" y="12183"/>
                    <a:pt x="774397" y="14643"/>
                  </a:cubicBezTo>
                  <a:cubicBezTo>
                    <a:pt x="771020" y="17129"/>
                    <a:pt x="768553" y="20653"/>
                    <a:pt x="767373" y="24675"/>
                  </a:cubicBezTo>
                  <a:cubicBezTo>
                    <a:pt x="767106" y="25477"/>
                    <a:pt x="766838" y="26458"/>
                    <a:pt x="766571" y="27617"/>
                  </a:cubicBezTo>
                  <a:cubicBezTo>
                    <a:pt x="766270" y="29028"/>
                    <a:pt x="766071" y="30458"/>
                    <a:pt x="765976" y="31898"/>
                  </a:cubicBezTo>
                  <a:cubicBezTo>
                    <a:pt x="765842" y="33592"/>
                    <a:pt x="765732" y="35665"/>
                    <a:pt x="765643" y="38116"/>
                  </a:cubicBezTo>
                  <a:cubicBezTo>
                    <a:pt x="765554" y="40568"/>
                    <a:pt x="765503" y="43544"/>
                    <a:pt x="765489" y="47046"/>
                  </a:cubicBezTo>
                  <a:cubicBezTo>
                    <a:pt x="765489" y="50523"/>
                    <a:pt x="765533" y="53489"/>
                    <a:pt x="765622" y="55942"/>
                  </a:cubicBezTo>
                  <a:cubicBezTo>
                    <a:pt x="765712" y="58395"/>
                    <a:pt x="765822" y="60468"/>
                    <a:pt x="765955" y="62161"/>
                  </a:cubicBezTo>
                  <a:cubicBezTo>
                    <a:pt x="766050" y="63600"/>
                    <a:pt x="766250" y="65030"/>
                    <a:pt x="766550" y="66441"/>
                  </a:cubicBezTo>
                  <a:cubicBezTo>
                    <a:pt x="766817" y="67600"/>
                    <a:pt x="767085" y="68581"/>
                    <a:pt x="767352" y="69384"/>
                  </a:cubicBezTo>
                  <a:cubicBezTo>
                    <a:pt x="768532" y="73406"/>
                    <a:pt x="771003" y="76930"/>
                    <a:pt x="774376" y="79416"/>
                  </a:cubicBezTo>
                  <a:cubicBezTo>
                    <a:pt x="778119" y="81876"/>
                    <a:pt x="782545" y="83093"/>
                    <a:pt x="787018" y="82894"/>
                  </a:cubicBezTo>
                  <a:cubicBezTo>
                    <a:pt x="791319" y="82991"/>
                    <a:pt x="795555" y="81829"/>
                    <a:pt x="799205" y="79550"/>
                  </a:cubicBezTo>
                  <a:cubicBezTo>
                    <a:pt x="802728" y="77261"/>
                    <a:pt x="805335" y="73803"/>
                    <a:pt x="806562" y="69785"/>
                  </a:cubicBezTo>
                  <a:cubicBezTo>
                    <a:pt x="807082" y="67895"/>
                    <a:pt x="807481" y="65974"/>
                    <a:pt x="807751" y="64033"/>
                  </a:cubicBezTo>
                  <a:cubicBezTo>
                    <a:pt x="808141" y="61197"/>
                    <a:pt x="808322" y="58335"/>
                    <a:pt x="808286" y="55472"/>
                  </a:cubicBezTo>
                  <a:cubicBezTo>
                    <a:pt x="808340" y="55084"/>
                    <a:pt x="808069" y="54725"/>
                    <a:pt x="807683" y="54670"/>
                  </a:cubicBezTo>
                  <a:cubicBezTo>
                    <a:pt x="807618" y="54661"/>
                    <a:pt x="807549" y="54661"/>
                    <a:pt x="807484" y="54670"/>
                  </a:cubicBezTo>
                  <a:lnTo>
                    <a:pt x="789827" y="54670"/>
                  </a:lnTo>
                  <a:cubicBezTo>
                    <a:pt x="789176" y="54758"/>
                    <a:pt x="788579" y="54302"/>
                    <a:pt x="788490" y="53651"/>
                  </a:cubicBezTo>
                  <a:cubicBezTo>
                    <a:pt x="788475" y="53545"/>
                    <a:pt x="788475" y="53438"/>
                    <a:pt x="788490" y="53332"/>
                  </a:cubicBezTo>
                  <a:lnTo>
                    <a:pt x="788490" y="45559"/>
                  </a:lnTo>
                  <a:cubicBezTo>
                    <a:pt x="788400" y="44909"/>
                    <a:pt x="788858" y="44310"/>
                    <a:pt x="789509" y="44222"/>
                  </a:cubicBezTo>
                  <a:cubicBezTo>
                    <a:pt x="789613" y="44207"/>
                    <a:pt x="789720" y="44207"/>
                    <a:pt x="789827" y="44222"/>
                  </a:cubicBezTo>
                  <a:lnTo>
                    <a:pt x="818854" y="44222"/>
                  </a:lnTo>
                  <a:cubicBezTo>
                    <a:pt x="819504" y="44134"/>
                    <a:pt x="820102" y="44590"/>
                    <a:pt x="820191" y="45241"/>
                  </a:cubicBezTo>
                  <a:cubicBezTo>
                    <a:pt x="820206" y="45346"/>
                    <a:pt x="820206" y="45453"/>
                    <a:pt x="820191" y="45559"/>
                  </a:cubicBezTo>
                  <a:lnTo>
                    <a:pt x="820191" y="52396"/>
                  </a:lnTo>
                  <a:cubicBezTo>
                    <a:pt x="820209" y="56216"/>
                    <a:pt x="820010" y="60034"/>
                    <a:pt x="819597" y="63831"/>
                  </a:cubicBezTo>
                  <a:cubicBezTo>
                    <a:pt x="819314" y="66751"/>
                    <a:pt x="818755" y="69638"/>
                    <a:pt x="817926" y="72451"/>
                  </a:cubicBezTo>
                  <a:cubicBezTo>
                    <a:pt x="816042" y="78925"/>
                    <a:pt x="812008" y="84563"/>
                    <a:pt x="806488" y="88434"/>
                  </a:cubicBezTo>
                  <a:cubicBezTo>
                    <a:pt x="800727" y="92243"/>
                    <a:pt x="793932" y="94182"/>
                    <a:pt x="787027" y="93987"/>
                  </a:cubicBezTo>
                  <a:cubicBezTo>
                    <a:pt x="780084" y="94214"/>
                    <a:pt x="773235" y="92350"/>
                    <a:pt x="767364" y="88636"/>
                  </a:cubicBezTo>
                  <a:cubicBezTo>
                    <a:pt x="761821" y="84808"/>
                    <a:pt x="757757" y="79192"/>
                    <a:pt x="755858" y="72728"/>
                  </a:cubicBezTo>
                  <a:close/>
                  <a:moveTo>
                    <a:pt x="839459" y="2904"/>
                  </a:moveTo>
                  <a:cubicBezTo>
                    <a:pt x="839370" y="2253"/>
                    <a:pt x="839827" y="1655"/>
                    <a:pt x="840478" y="1567"/>
                  </a:cubicBezTo>
                  <a:cubicBezTo>
                    <a:pt x="840582" y="1552"/>
                    <a:pt x="840689" y="1552"/>
                    <a:pt x="840796" y="1567"/>
                  </a:cubicBezTo>
                  <a:lnTo>
                    <a:pt x="850011" y="1567"/>
                  </a:lnTo>
                  <a:cubicBezTo>
                    <a:pt x="850662" y="1479"/>
                    <a:pt x="851259" y="1935"/>
                    <a:pt x="851349" y="2586"/>
                  </a:cubicBezTo>
                  <a:cubicBezTo>
                    <a:pt x="851363" y="2691"/>
                    <a:pt x="851363" y="2798"/>
                    <a:pt x="851349" y="2904"/>
                  </a:cubicBezTo>
                  <a:lnTo>
                    <a:pt x="851349" y="91187"/>
                  </a:lnTo>
                  <a:cubicBezTo>
                    <a:pt x="851438" y="91837"/>
                    <a:pt x="850980" y="92436"/>
                    <a:pt x="850329" y="92524"/>
                  </a:cubicBezTo>
                  <a:cubicBezTo>
                    <a:pt x="850225" y="92539"/>
                    <a:pt x="850118" y="92539"/>
                    <a:pt x="850011" y="92524"/>
                  </a:cubicBezTo>
                  <a:lnTo>
                    <a:pt x="840796" y="92524"/>
                  </a:lnTo>
                  <a:cubicBezTo>
                    <a:pt x="840145" y="92612"/>
                    <a:pt x="839548" y="92156"/>
                    <a:pt x="839459" y="91505"/>
                  </a:cubicBezTo>
                  <a:cubicBezTo>
                    <a:pt x="839444" y="91400"/>
                    <a:pt x="839444" y="91293"/>
                    <a:pt x="839459" y="91187"/>
                  </a:cubicBezTo>
                  <a:close/>
                  <a:moveTo>
                    <a:pt x="901390" y="93996"/>
                  </a:moveTo>
                  <a:cubicBezTo>
                    <a:pt x="898201" y="93998"/>
                    <a:pt x="895020" y="93684"/>
                    <a:pt x="891893" y="93059"/>
                  </a:cubicBezTo>
                  <a:cubicBezTo>
                    <a:pt x="888891" y="92468"/>
                    <a:pt x="885939" y="91640"/>
                    <a:pt x="883065" y="90583"/>
                  </a:cubicBezTo>
                  <a:cubicBezTo>
                    <a:pt x="880419" y="89614"/>
                    <a:pt x="877866" y="88405"/>
                    <a:pt x="875441" y="86972"/>
                  </a:cubicBezTo>
                  <a:cubicBezTo>
                    <a:pt x="873300" y="85719"/>
                    <a:pt x="871285" y="84264"/>
                    <a:pt x="869421" y="82626"/>
                  </a:cubicBezTo>
                  <a:cubicBezTo>
                    <a:pt x="868833" y="82145"/>
                    <a:pt x="868747" y="81278"/>
                    <a:pt x="869225" y="80689"/>
                  </a:cubicBezTo>
                  <a:cubicBezTo>
                    <a:pt x="869246" y="80665"/>
                    <a:pt x="869267" y="80642"/>
                    <a:pt x="869288" y="80620"/>
                  </a:cubicBezTo>
                  <a:lnTo>
                    <a:pt x="875173" y="73664"/>
                  </a:lnTo>
                  <a:cubicBezTo>
                    <a:pt x="875568" y="73116"/>
                    <a:pt x="876335" y="72993"/>
                    <a:pt x="876882" y="73389"/>
                  </a:cubicBezTo>
                  <a:cubicBezTo>
                    <a:pt x="876942" y="73431"/>
                    <a:pt x="876995" y="73479"/>
                    <a:pt x="877046" y="73530"/>
                  </a:cubicBezTo>
                  <a:cubicBezTo>
                    <a:pt x="880428" y="76108"/>
                    <a:pt x="884111" y="78264"/>
                    <a:pt x="888014" y="79951"/>
                  </a:cubicBezTo>
                  <a:cubicBezTo>
                    <a:pt x="892565" y="81950"/>
                    <a:pt x="897490" y="82953"/>
                    <a:pt x="902460" y="82894"/>
                  </a:cubicBezTo>
                  <a:cubicBezTo>
                    <a:pt x="907734" y="83216"/>
                    <a:pt x="912956" y="81703"/>
                    <a:pt x="917242" y="78613"/>
                  </a:cubicBezTo>
                  <a:cubicBezTo>
                    <a:pt x="920688" y="75920"/>
                    <a:pt x="922649" y="71749"/>
                    <a:pt x="922525" y="67377"/>
                  </a:cubicBezTo>
                  <a:cubicBezTo>
                    <a:pt x="922548" y="65551"/>
                    <a:pt x="922230" y="63736"/>
                    <a:pt x="921588" y="62027"/>
                  </a:cubicBezTo>
                  <a:cubicBezTo>
                    <a:pt x="920919" y="60358"/>
                    <a:pt x="919838" y="58886"/>
                    <a:pt x="918446" y="57746"/>
                  </a:cubicBezTo>
                  <a:cubicBezTo>
                    <a:pt x="916707" y="56348"/>
                    <a:pt x="914737" y="55261"/>
                    <a:pt x="912626" y="54536"/>
                  </a:cubicBezTo>
                  <a:cubicBezTo>
                    <a:pt x="909681" y="53523"/>
                    <a:pt x="906628" y="52850"/>
                    <a:pt x="903531" y="52530"/>
                  </a:cubicBezTo>
                  <a:lnTo>
                    <a:pt x="898983" y="51861"/>
                  </a:lnTo>
                  <a:cubicBezTo>
                    <a:pt x="881148" y="49453"/>
                    <a:pt x="872230" y="41071"/>
                    <a:pt x="872230" y="26714"/>
                  </a:cubicBezTo>
                  <a:cubicBezTo>
                    <a:pt x="872183" y="22955"/>
                    <a:pt x="872890" y="19226"/>
                    <a:pt x="874311" y="15745"/>
                  </a:cubicBezTo>
                  <a:cubicBezTo>
                    <a:pt x="875634" y="12526"/>
                    <a:pt x="877667" y="9645"/>
                    <a:pt x="880256" y="7318"/>
                  </a:cubicBezTo>
                  <a:cubicBezTo>
                    <a:pt x="882982" y="4919"/>
                    <a:pt x="886168" y="3099"/>
                    <a:pt x="889619" y="1968"/>
                  </a:cubicBezTo>
                  <a:cubicBezTo>
                    <a:pt x="893590" y="670"/>
                    <a:pt x="897749" y="38"/>
                    <a:pt x="901925" y="95"/>
                  </a:cubicBezTo>
                  <a:cubicBezTo>
                    <a:pt x="907121" y="71"/>
                    <a:pt x="912287" y="861"/>
                    <a:pt x="917240" y="2435"/>
                  </a:cubicBezTo>
                  <a:cubicBezTo>
                    <a:pt x="921672" y="3779"/>
                    <a:pt x="925857" y="5835"/>
                    <a:pt x="929629" y="8522"/>
                  </a:cubicBezTo>
                  <a:cubicBezTo>
                    <a:pt x="930203" y="8842"/>
                    <a:pt x="930408" y="9566"/>
                    <a:pt x="930087" y="10140"/>
                  </a:cubicBezTo>
                  <a:cubicBezTo>
                    <a:pt x="930036" y="10233"/>
                    <a:pt x="929971" y="10319"/>
                    <a:pt x="929896" y="10395"/>
                  </a:cubicBezTo>
                  <a:lnTo>
                    <a:pt x="925348" y="17752"/>
                  </a:lnTo>
                  <a:cubicBezTo>
                    <a:pt x="924932" y="18339"/>
                    <a:pt x="924121" y="18478"/>
                    <a:pt x="923532" y="18063"/>
                  </a:cubicBezTo>
                  <a:cubicBezTo>
                    <a:pt x="923514" y="18049"/>
                    <a:pt x="923494" y="18034"/>
                    <a:pt x="923476" y="18019"/>
                  </a:cubicBezTo>
                  <a:cubicBezTo>
                    <a:pt x="920081" y="15865"/>
                    <a:pt x="916440" y="14133"/>
                    <a:pt x="912626" y="12862"/>
                  </a:cubicBezTo>
                  <a:cubicBezTo>
                    <a:pt x="909036" y="11731"/>
                    <a:pt x="905290" y="11167"/>
                    <a:pt x="901524" y="11191"/>
                  </a:cubicBezTo>
                  <a:cubicBezTo>
                    <a:pt x="896881" y="10866"/>
                    <a:pt x="892289" y="12324"/>
                    <a:pt x="888683" y="15270"/>
                  </a:cubicBezTo>
                  <a:cubicBezTo>
                    <a:pt x="885734" y="18002"/>
                    <a:pt x="884123" y="21885"/>
                    <a:pt x="884269" y="25902"/>
                  </a:cubicBezTo>
                  <a:cubicBezTo>
                    <a:pt x="884177" y="29535"/>
                    <a:pt x="885755" y="33009"/>
                    <a:pt x="888549" y="35331"/>
                  </a:cubicBezTo>
                  <a:cubicBezTo>
                    <a:pt x="892943" y="38358"/>
                    <a:pt x="898073" y="40139"/>
                    <a:pt x="903397" y="40482"/>
                  </a:cubicBezTo>
                  <a:lnTo>
                    <a:pt x="907811" y="41151"/>
                  </a:lnTo>
                  <a:cubicBezTo>
                    <a:pt x="915156" y="41744"/>
                    <a:pt x="922147" y="44541"/>
                    <a:pt x="927875" y="49177"/>
                  </a:cubicBezTo>
                  <a:cubicBezTo>
                    <a:pt x="932518" y="53730"/>
                    <a:pt x="934959" y="60074"/>
                    <a:pt x="934563" y="66566"/>
                  </a:cubicBezTo>
                  <a:cubicBezTo>
                    <a:pt x="934605" y="70345"/>
                    <a:pt x="933897" y="74095"/>
                    <a:pt x="932482" y="77600"/>
                  </a:cubicBezTo>
                  <a:cubicBezTo>
                    <a:pt x="931106" y="80934"/>
                    <a:pt x="928948" y="83890"/>
                    <a:pt x="926196" y="86220"/>
                  </a:cubicBezTo>
                  <a:cubicBezTo>
                    <a:pt x="923119" y="88775"/>
                    <a:pt x="919576" y="90706"/>
                    <a:pt x="915762" y="91906"/>
                  </a:cubicBezTo>
                  <a:cubicBezTo>
                    <a:pt x="911113" y="93368"/>
                    <a:pt x="906262" y="94074"/>
                    <a:pt x="901390" y="93996"/>
                  </a:cubicBezTo>
                  <a:close/>
                  <a:moveTo>
                    <a:pt x="971348" y="92524"/>
                  </a:moveTo>
                  <a:cubicBezTo>
                    <a:pt x="970697" y="92612"/>
                    <a:pt x="970099" y="92156"/>
                    <a:pt x="970010" y="91505"/>
                  </a:cubicBezTo>
                  <a:cubicBezTo>
                    <a:pt x="969995" y="91400"/>
                    <a:pt x="969995" y="91293"/>
                    <a:pt x="970010" y="91187"/>
                  </a:cubicBezTo>
                  <a:lnTo>
                    <a:pt x="970010" y="13457"/>
                  </a:lnTo>
                  <a:cubicBezTo>
                    <a:pt x="970063" y="13068"/>
                    <a:pt x="969793" y="12709"/>
                    <a:pt x="969407" y="12654"/>
                  </a:cubicBezTo>
                  <a:cubicBezTo>
                    <a:pt x="969341" y="12645"/>
                    <a:pt x="969273" y="12645"/>
                    <a:pt x="969207" y="12654"/>
                  </a:cubicBezTo>
                  <a:lnTo>
                    <a:pt x="944328" y="12654"/>
                  </a:lnTo>
                  <a:cubicBezTo>
                    <a:pt x="943677" y="12742"/>
                    <a:pt x="943079" y="12286"/>
                    <a:pt x="942990" y="11635"/>
                  </a:cubicBezTo>
                  <a:cubicBezTo>
                    <a:pt x="942975" y="11529"/>
                    <a:pt x="942975" y="11422"/>
                    <a:pt x="942990" y="11316"/>
                  </a:cubicBezTo>
                  <a:lnTo>
                    <a:pt x="942990" y="2904"/>
                  </a:lnTo>
                  <a:cubicBezTo>
                    <a:pt x="942901" y="2253"/>
                    <a:pt x="943359" y="1655"/>
                    <a:pt x="944010" y="1567"/>
                  </a:cubicBezTo>
                  <a:cubicBezTo>
                    <a:pt x="944114" y="1552"/>
                    <a:pt x="944221" y="1552"/>
                    <a:pt x="944328" y="1567"/>
                  </a:cubicBezTo>
                  <a:lnTo>
                    <a:pt x="1007597" y="1567"/>
                  </a:lnTo>
                  <a:cubicBezTo>
                    <a:pt x="1008248" y="1479"/>
                    <a:pt x="1008845" y="1935"/>
                    <a:pt x="1008935" y="2586"/>
                  </a:cubicBezTo>
                  <a:cubicBezTo>
                    <a:pt x="1008949" y="2691"/>
                    <a:pt x="1008949" y="2798"/>
                    <a:pt x="1008935" y="2904"/>
                  </a:cubicBezTo>
                  <a:lnTo>
                    <a:pt x="1008935" y="11331"/>
                  </a:lnTo>
                  <a:cubicBezTo>
                    <a:pt x="1009024" y="11982"/>
                    <a:pt x="1008566" y="12581"/>
                    <a:pt x="1007915" y="12669"/>
                  </a:cubicBezTo>
                  <a:cubicBezTo>
                    <a:pt x="1007811" y="12683"/>
                    <a:pt x="1007704" y="12683"/>
                    <a:pt x="1007597" y="12669"/>
                  </a:cubicBezTo>
                  <a:lnTo>
                    <a:pt x="982717" y="12669"/>
                  </a:lnTo>
                  <a:cubicBezTo>
                    <a:pt x="982328" y="12614"/>
                    <a:pt x="981968" y="12885"/>
                    <a:pt x="981915" y="13273"/>
                  </a:cubicBezTo>
                  <a:cubicBezTo>
                    <a:pt x="981906" y="13339"/>
                    <a:pt x="981906" y="13406"/>
                    <a:pt x="981915" y="13471"/>
                  </a:cubicBezTo>
                  <a:lnTo>
                    <a:pt x="981915" y="91187"/>
                  </a:lnTo>
                  <a:cubicBezTo>
                    <a:pt x="982004" y="91837"/>
                    <a:pt x="981546" y="92436"/>
                    <a:pt x="980895" y="92524"/>
                  </a:cubicBezTo>
                  <a:cubicBezTo>
                    <a:pt x="980791" y="92539"/>
                    <a:pt x="980684" y="92539"/>
                    <a:pt x="980577" y="92524"/>
                  </a:cubicBezTo>
                  <a:close/>
                  <a:moveTo>
                    <a:pt x="1023113" y="2904"/>
                  </a:moveTo>
                  <a:cubicBezTo>
                    <a:pt x="1023024" y="2253"/>
                    <a:pt x="1023482" y="1655"/>
                    <a:pt x="1024133" y="1567"/>
                  </a:cubicBezTo>
                  <a:cubicBezTo>
                    <a:pt x="1024237" y="1552"/>
                    <a:pt x="1024344" y="1552"/>
                    <a:pt x="1024451" y="1567"/>
                  </a:cubicBezTo>
                  <a:lnTo>
                    <a:pt x="1033666" y="1567"/>
                  </a:lnTo>
                  <a:cubicBezTo>
                    <a:pt x="1034317" y="1479"/>
                    <a:pt x="1034914" y="1935"/>
                    <a:pt x="1035003" y="2586"/>
                  </a:cubicBezTo>
                  <a:cubicBezTo>
                    <a:pt x="1035018" y="2691"/>
                    <a:pt x="1035018" y="2798"/>
                    <a:pt x="1035003" y="2904"/>
                  </a:cubicBezTo>
                  <a:lnTo>
                    <a:pt x="1035003" y="91187"/>
                  </a:lnTo>
                  <a:cubicBezTo>
                    <a:pt x="1035092" y="91837"/>
                    <a:pt x="1034635" y="92436"/>
                    <a:pt x="1033984" y="92524"/>
                  </a:cubicBezTo>
                  <a:cubicBezTo>
                    <a:pt x="1033880" y="92539"/>
                    <a:pt x="1033773" y="92539"/>
                    <a:pt x="1033666" y="92524"/>
                  </a:cubicBezTo>
                  <a:lnTo>
                    <a:pt x="1024451" y="92524"/>
                  </a:lnTo>
                  <a:cubicBezTo>
                    <a:pt x="1023800" y="92612"/>
                    <a:pt x="1023202" y="92156"/>
                    <a:pt x="1023113" y="91505"/>
                  </a:cubicBezTo>
                  <a:cubicBezTo>
                    <a:pt x="1023098" y="91400"/>
                    <a:pt x="1023098" y="91293"/>
                    <a:pt x="1023113" y="91187"/>
                  </a:cubicBezTo>
                  <a:close/>
                  <a:moveTo>
                    <a:pt x="1056702" y="72594"/>
                  </a:moveTo>
                  <a:cubicBezTo>
                    <a:pt x="1056256" y="71256"/>
                    <a:pt x="1055876" y="69897"/>
                    <a:pt x="1055564" y="68516"/>
                  </a:cubicBezTo>
                  <a:cubicBezTo>
                    <a:pt x="1055213" y="66883"/>
                    <a:pt x="1054969" y="65230"/>
                    <a:pt x="1054830" y="63567"/>
                  </a:cubicBezTo>
                  <a:cubicBezTo>
                    <a:pt x="1054651" y="61650"/>
                    <a:pt x="1054518" y="59354"/>
                    <a:pt x="1054428" y="56676"/>
                  </a:cubicBezTo>
                  <a:cubicBezTo>
                    <a:pt x="1054339" y="53999"/>
                    <a:pt x="1054295" y="50789"/>
                    <a:pt x="1054295" y="47046"/>
                  </a:cubicBezTo>
                  <a:cubicBezTo>
                    <a:pt x="1054295" y="43300"/>
                    <a:pt x="1054339" y="40090"/>
                    <a:pt x="1054428" y="37415"/>
                  </a:cubicBezTo>
                  <a:cubicBezTo>
                    <a:pt x="1054518" y="34739"/>
                    <a:pt x="1054651" y="32444"/>
                    <a:pt x="1054830" y="30527"/>
                  </a:cubicBezTo>
                  <a:cubicBezTo>
                    <a:pt x="1054969" y="28864"/>
                    <a:pt x="1055213" y="27211"/>
                    <a:pt x="1055564" y="25578"/>
                  </a:cubicBezTo>
                  <a:cubicBezTo>
                    <a:pt x="1055876" y="24191"/>
                    <a:pt x="1056256" y="22832"/>
                    <a:pt x="1056702" y="21500"/>
                  </a:cubicBezTo>
                  <a:cubicBezTo>
                    <a:pt x="1058507" y="15006"/>
                    <a:pt x="1062469" y="9321"/>
                    <a:pt x="1067938" y="5383"/>
                  </a:cubicBezTo>
                  <a:cubicBezTo>
                    <a:pt x="1073583" y="1724"/>
                    <a:pt x="1080209" y="-120"/>
                    <a:pt x="1086932" y="98"/>
                  </a:cubicBezTo>
                  <a:cubicBezTo>
                    <a:pt x="1093175" y="-45"/>
                    <a:pt x="1099325" y="1605"/>
                    <a:pt x="1104654" y="4854"/>
                  </a:cubicBezTo>
                  <a:cubicBezTo>
                    <a:pt x="1109764" y="8104"/>
                    <a:pt x="1113756" y="12842"/>
                    <a:pt x="1116092" y="18429"/>
                  </a:cubicBezTo>
                  <a:cubicBezTo>
                    <a:pt x="1116416" y="19058"/>
                    <a:pt x="1116179" y="19830"/>
                    <a:pt x="1115557" y="20168"/>
                  </a:cubicBezTo>
                  <a:lnTo>
                    <a:pt x="1107532" y="24047"/>
                  </a:lnTo>
                  <a:cubicBezTo>
                    <a:pt x="1107008" y="24443"/>
                    <a:pt x="1106262" y="24340"/>
                    <a:pt x="1105867" y="23816"/>
                  </a:cubicBezTo>
                  <a:cubicBezTo>
                    <a:pt x="1105769" y="23686"/>
                    <a:pt x="1105698" y="23537"/>
                    <a:pt x="1105659" y="23379"/>
                  </a:cubicBezTo>
                  <a:cubicBezTo>
                    <a:pt x="1103994" y="19957"/>
                    <a:pt x="1101569" y="16961"/>
                    <a:pt x="1098570" y="14619"/>
                  </a:cubicBezTo>
                  <a:cubicBezTo>
                    <a:pt x="1095184" y="12208"/>
                    <a:pt x="1091085" y="11007"/>
                    <a:pt x="1086932" y="11209"/>
                  </a:cubicBezTo>
                  <a:cubicBezTo>
                    <a:pt x="1082643" y="10998"/>
                    <a:pt x="1078407" y="12221"/>
                    <a:pt x="1074894" y="14687"/>
                  </a:cubicBezTo>
                  <a:cubicBezTo>
                    <a:pt x="1071690" y="17241"/>
                    <a:pt x="1069311" y="20685"/>
                    <a:pt x="1068057" y="24585"/>
                  </a:cubicBezTo>
                  <a:cubicBezTo>
                    <a:pt x="1067790" y="25576"/>
                    <a:pt x="1067546" y="26625"/>
                    <a:pt x="1067323" y="27730"/>
                  </a:cubicBezTo>
                  <a:cubicBezTo>
                    <a:pt x="1067064" y="29106"/>
                    <a:pt x="1066886" y="30496"/>
                    <a:pt x="1066788" y="31892"/>
                  </a:cubicBezTo>
                  <a:cubicBezTo>
                    <a:pt x="1066654" y="33541"/>
                    <a:pt x="1066541" y="35592"/>
                    <a:pt x="1066455" y="38045"/>
                  </a:cubicBezTo>
                  <a:cubicBezTo>
                    <a:pt x="1066369" y="40498"/>
                    <a:pt x="1066324" y="43508"/>
                    <a:pt x="1066321" y="47075"/>
                  </a:cubicBezTo>
                  <a:cubicBezTo>
                    <a:pt x="1066321" y="50642"/>
                    <a:pt x="1066366" y="53651"/>
                    <a:pt x="1066455" y="56103"/>
                  </a:cubicBezTo>
                  <a:cubicBezTo>
                    <a:pt x="1066544" y="58554"/>
                    <a:pt x="1066654" y="60605"/>
                    <a:pt x="1066788" y="62256"/>
                  </a:cubicBezTo>
                  <a:cubicBezTo>
                    <a:pt x="1066892" y="63669"/>
                    <a:pt x="1067070" y="65076"/>
                    <a:pt x="1067323" y="66471"/>
                  </a:cubicBezTo>
                  <a:cubicBezTo>
                    <a:pt x="1067516" y="67508"/>
                    <a:pt x="1067760" y="68535"/>
                    <a:pt x="1068057" y="69547"/>
                  </a:cubicBezTo>
                  <a:cubicBezTo>
                    <a:pt x="1069311" y="73448"/>
                    <a:pt x="1071690" y="76891"/>
                    <a:pt x="1074894" y="79446"/>
                  </a:cubicBezTo>
                  <a:cubicBezTo>
                    <a:pt x="1078407" y="81911"/>
                    <a:pt x="1082643" y="83135"/>
                    <a:pt x="1086932" y="82923"/>
                  </a:cubicBezTo>
                  <a:cubicBezTo>
                    <a:pt x="1091085" y="83125"/>
                    <a:pt x="1095184" y="81922"/>
                    <a:pt x="1098570" y="79511"/>
                  </a:cubicBezTo>
                  <a:cubicBezTo>
                    <a:pt x="1101569" y="77168"/>
                    <a:pt x="1103994" y="74172"/>
                    <a:pt x="1105659" y="70751"/>
                  </a:cubicBezTo>
                  <a:cubicBezTo>
                    <a:pt x="1105814" y="70113"/>
                    <a:pt x="1106456" y="69720"/>
                    <a:pt x="1107095" y="69875"/>
                  </a:cubicBezTo>
                  <a:cubicBezTo>
                    <a:pt x="1107252" y="69913"/>
                    <a:pt x="1107401" y="69984"/>
                    <a:pt x="1107532" y="70082"/>
                  </a:cubicBezTo>
                  <a:lnTo>
                    <a:pt x="1115557" y="73946"/>
                  </a:lnTo>
                  <a:cubicBezTo>
                    <a:pt x="1116179" y="74285"/>
                    <a:pt x="1116416" y="75057"/>
                    <a:pt x="1116092" y="75685"/>
                  </a:cubicBezTo>
                  <a:cubicBezTo>
                    <a:pt x="1113756" y="81273"/>
                    <a:pt x="1109764" y="86011"/>
                    <a:pt x="1104654" y="89261"/>
                  </a:cubicBezTo>
                  <a:cubicBezTo>
                    <a:pt x="1099325" y="92510"/>
                    <a:pt x="1093175" y="94160"/>
                    <a:pt x="1086932" y="94017"/>
                  </a:cubicBezTo>
                  <a:cubicBezTo>
                    <a:pt x="1080209" y="94235"/>
                    <a:pt x="1073583" y="92391"/>
                    <a:pt x="1067938" y="88732"/>
                  </a:cubicBezTo>
                  <a:cubicBezTo>
                    <a:pt x="1062463" y="84794"/>
                    <a:pt x="1058492" y="79107"/>
                    <a:pt x="1056687" y="72609"/>
                  </a:cubicBezTo>
                  <a:close/>
                  <a:moveTo>
                    <a:pt x="1160769" y="93996"/>
                  </a:moveTo>
                  <a:cubicBezTo>
                    <a:pt x="1157579" y="93998"/>
                    <a:pt x="1154399" y="93684"/>
                    <a:pt x="1151272" y="93059"/>
                  </a:cubicBezTo>
                  <a:cubicBezTo>
                    <a:pt x="1148269" y="92468"/>
                    <a:pt x="1145318" y="91640"/>
                    <a:pt x="1142443" y="90583"/>
                  </a:cubicBezTo>
                  <a:cubicBezTo>
                    <a:pt x="1139798" y="89614"/>
                    <a:pt x="1137245" y="88405"/>
                    <a:pt x="1134819" y="86972"/>
                  </a:cubicBezTo>
                  <a:cubicBezTo>
                    <a:pt x="1132673" y="85720"/>
                    <a:pt x="1130652" y="84264"/>
                    <a:pt x="1128785" y="82626"/>
                  </a:cubicBezTo>
                  <a:cubicBezTo>
                    <a:pt x="1128196" y="82145"/>
                    <a:pt x="1128110" y="81278"/>
                    <a:pt x="1128589" y="80689"/>
                  </a:cubicBezTo>
                  <a:cubicBezTo>
                    <a:pt x="1128609" y="80665"/>
                    <a:pt x="1128630" y="80642"/>
                    <a:pt x="1128651" y="80620"/>
                  </a:cubicBezTo>
                  <a:lnTo>
                    <a:pt x="1134537" y="73664"/>
                  </a:lnTo>
                  <a:cubicBezTo>
                    <a:pt x="1134932" y="73116"/>
                    <a:pt x="1135699" y="72993"/>
                    <a:pt x="1136246" y="73389"/>
                  </a:cubicBezTo>
                  <a:cubicBezTo>
                    <a:pt x="1136305" y="73431"/>
                    <a:pt x="1136359" y="73479"/>
                    <a:pt x="1136409" y="73530"/>
                  </a:cubicBezTo>
                  <a:cubicBezTo>
                    <a:pt x="1139792" y="76108"/>
                    <a:pt x="1143475" y="78264"/>
                    <a:pt x="1147378" y="79951"/>
                  </a:cubicBezTo>
                  <a:cubicBezTo>
                    <a:pt x="1151929" y="81950"/>
                    <a:pt x="1156854" y="82953"/>
                    <a:pt x="1161824" y="82894"/>
                  </a:cubicBezTo>
                  <a:cubicBezTo>
                    <a:pt x="1167097" y="83216"/>
                    <a:pt x="1172320" y="81703"/>
                    <a:pt x="1176606" y="78613"/>
                  </a:cubicBezTo>
                  <a:cubicBezTo>
                    <a:pt x="1180051" y="75920"/>
                    <a:pt x="1182013" y="71749"/>
                    <a:pt x="1181888" y="67377"/>
                  </a:cubicBezTo>
                  <a:cubicBezTo>
                    <a:pt x="1181912" y="65551"/>
                    <a:pt x="1181594" y="63736"/>
                    <a:pt x="1180952" y="62027"/>
                  </a:cubicBezTo>
                  <a:cubicBezTo>
                    <a:pt x="1180283" y="60358"/>
                    <a:pt x="1179201" y="58886"/>
                    <a:pt x="1177810" y="57746"/>
                  </a:cubicBezTo>
                  <a:cubicBezTo>
                    <a:pt x="1176071" y="56348"/>
                    <a:pt x="1174100" y="55261"/>
                    <a:pt x="1171990" y="54536"/>
                  </a:cubicBezTo>
                  <a:cubicBezTo>
                    <a:pt x="1169044" y="53523"/>
                    <a:pt x="1165991" y="52850"/>
                    <a:pt x="1162894" y="52530"/>
                  </a:cubicBezTo>
                  <a:lnTo>
                    <a:pt x="1158346" y="51861"/>
                  </a:lnTo>
                  <a:cubicBezTo>
                    <a:pt x="1140511" y="49453"/>
                    <a:pt x="1131594" y="41071"/>
                    <a:pt x="1131594" y="26714"/>
                  </a:cubicBezTo>
                  <a:cubicBezTo>
                    <a:pt x="1131546" y="22955"/>
                    <a:pt x="1132254" y="19226"/>
                    <a:pt x="1133675" y="15745"/>
                  </a:cubicBezTo>
                  <a:cubicBezTo>
                    <a:pt x="1134997" y="12526"/>
                    <a:pt x="1137031" y="9645"/>
                    <a:pt x="1139620" y="7318"/>
                  </a:cubicBezTo>
                  <a:cubicBezTo>
                    <a:pt x="1142345" y="4919"/>
                    <a:pt x="1145532" y="3099"/>
                    <a:pt x="1148983" y="1968"/>
                  </a:cubicBezTo>
                  <a:cubicBezTo>
                    <a:pt x="1152954" y="670"/>
                    <a:pt x="1157113" y="38"/>
                    <a:pt x="1161289" y="95"/>
                  </a:cubicBezTo>
                  <a:cubicBezTo>
                    <a:pt x="1166485" y="71"/>
                    <a:pt x="1171651" y="861"/>
                    <a:pt x="1176603" y="2435"/>
                  </a:cubicBezTo>
                  <a:cubicBezTo>
                    <a:pt x="1181029" y="3780"/>
                    <a:pt x="1185208" y="5836"/>
                    <a:pt x="1188978" y="8522"/>
                  </a:cubicBezTo>
                  <a:cubicBezTo>
                    <a:pt x="1189551" y="8842"/>
                    <a:pt x="1189756" y="9566"/>
                    <a:pt x="1189435" y="10140"/>
                  </a:cubicBezTo>
                  <a:cubicBezTo>
                    <a:pt x="1189385" y="10233"/>
                    <a:pt x="1189319" y="10319"/>
                    <a:pt x="1189245" y="10395"/>
                  </a:cubicBezTo>
                  <a:lnTo>
                    <a:pt x="1184697" y="17752"/>
                  </a:lnTo>
                  <a:cubicBezTo>
                    <a:pt x="1184281" y="18339"/>
                    <a:pt x="1183470" y="18478"/>
                    <a:pt x="1182881" y="18063"/>
                  </a:cubicBezTo>
                  <a:cubicBezTo>
                    <a:pt x="1182863" y="18049"/>
                    <a:pt x="1182842" y="18034"/>
                    <a:pt x="1182825" y="18019"/>
                  </a:cubicBezTo>
                  <a:cubicBezTo>
                    <a:pt x="1179436" y="15866"/>
                    <a:pt x="1175798" y="14134"/>
                    <a:pt x="1171990" y="12862"/>
                  </a:cubicBezTo>
                  <a:cubicBezTo>
                    <a:pt x="1168399" y="11733"/>
                    <a:pt x="1164654" y="11171"/>
                    <a:pt x="1160888" y="11197"/>
                  </a:cubicBezTo>
                  <a:cubicBezTo>
                    <a:pt x="1156245" y="10871"/>
                    <a:pt x="1151652" y="12330"/>
                    <a:pt x="1148047" y="15276"/>
                  </a:cubicBezTo>
                  <a:cubicBezTo>
                    <a:pt x="1145104" y="18012"/>
                    <a:pt x="1143496" y="21895"/>
                    <a:pt x="1143647" y="25911"/>
                  </a:cubicBezTo>
                  <a:cubicBezTo>
                    <a:pt x="1143555" y="29544"/>
                    <a:pt x="1145134" y="33018"/>
                    <a:pt x="1147928" y="35340"/>
                  </a:cubicBezTo>
                  <a:cubicBezTo>
                    <a:pt x="1152315" y="38370"/>
                    <a:pt x="1157440" y="40155"/>
                    <a:pt x="1162760" y="40506"/>
                  </a:cubicBezTo>
                  <a:lnTo>
                    <a:pt x="1167174" y="41175"/>
                  </a:lnTo>
                  <a:cubicBezTo>
                    <a:pt x="1174519" y="41767"/>
                    <a:pt x="1181511" y="44565"/>
                    <a:pt x="1187239" y="49201"/>
                  </a:cubicBezTo>
                  <a:cubicBezTo>
                    <a:pt x="1191882" y="53754"/>
                    <a:pt x="1194322" y="60098"/>
                    <a:pt x="1193927" y="66590"/>
                  </a:cubicBezTo>
                  <a:cubicBezTo>
                    <a:pt x="1193968" y="70369"/>
                    <a:pt x="1193261" y="74119"/>
                    <a:pt x="1191846" y="77623"/>
                  </a:cubicBezTo>
                  <a:cubicBezTo>
                    <a:pt x="1190470" y="80958"/>
                    <a:pt x="1188312" y="83913"/>
                    <a:pt x="1185559" y="86244"/>
                  </a:cubicBezTo>
                  <a:cubicBezTo>
                    <a:pt x="1182483" y="88799"/>
                    <a:pt x="1178939" y="90730"/>
                    <a:pt x="1175126" y="91930"/>
                  </a:cubicBezTo>
                  <a:cubicBezTo>
                    <a:pt x="1170477" y="93384"/>
                    <a:pt x="1165623" y="94081"/>
                    <a:pt x="1160754" y="93996"/>
                  </a:cubicBezTo>
                  <a:close/>
                </a:path>
              </a:pathLst>
            </a:custGeom>
            <a:solidFill>
              <a:schemeClr val="bg1"/>
            </a:solidFill>
            <a:ln w="2965" cap="flat">
              <a:noFill/>
              <a:prstDash val="solid"/>
              <a:miter/>
            </a:ln>
          </p:spPr>
          <p:txBody>
            <a:bodyPr rtlCol="0" anchor="ctr"/>
            <a:lstStyle/>
            <a:p>
              <a:endParaRPr lang="de-DE"/>
            </a:p>
          </p:txBody>
        </p:sp>
      </p:grpSp>
      <p:sp>
        <p:nvSpPr>
          <p:cNvPr id="45" name="Bildplatzhalter 5">
            <a:extLst>
              <a:ext uri="{FF2B5EF4-FFF2-40B4-BE49-F238E27FC236}">
                <a16:creationId xmlns:a16="http://schemas.microsoft.com/office/drawing/2014/main" id="{76BBC133-EFC0-4FCE-BEBB-3316B39E3A18}"/>
              </a:ext>
            </a:extLst>
          </p:cNvPr>
          <p:cNvSpPr>
            <a:spLocks noGrp="1"/>
          </p:cNvSpPr>
          <p:nvPr>
            <p:ph type="pic" sz="quarter" idx="14"/>
          </p:nvPr>
        </p:nvSpPr>
        <p:spPr>
          <a:xfrm>
            <a:off x="9978057" y="2060812"/>
            <a:ext cx="1800000" cy="1800000"/>
          </a:xfrm>
          <a:prstGeom prst="rect">
            <a:avLst/>
          </a:prstGeom>
        </p:spPr>
        <p:txBody>
          <a:bodyPr/>
          <a:lstStyle>
            <a:lvl1pPr>
              <a:defRPr b="1" cap="all" baseline="0"/>
            </a:lvl1pPr>
          </a:lstStyle>
          <a:p>
            <a:r>
              <a:rPr lang="de-DE"/>
              <a:t>Bild durch Klicken auf Symbol hinzufügen</a:t>
            </a:r>
          </a:p>
        </p:txBody>
      </p:sp>
      <p:sp>
        <p:nvSpPr>
          <p:cNvPr id="46" name="Textplatzhalter 16">
            <a:extLst>
              <a:ext uri="{FF2B5EF4-FFF2-40B4-BE49-F238E27FC236}">
                <a16:creationId xmlns:a16="http://schemas.microsoft.com/office/drawing/2014/main" id="{D80260AE-B385-47A7-9740-0C0255EDE6B7}"/>
              </a:ext>
            </a:extLst>
          </p:cNvPr>
          <p:cNvSpPr>
            <a:spLocks noGrp="1"/>
          </p:cNvSpPr>
          <p:nvPr>
            <p:ph type="body" sz="quarter" idx="15" hasCustomPrompt="1"/>
          </p:nvPr>
        </p:nvSpPr>
        <p:spPr>
          <a:xfrm>
            <a:off x="9978057" y="4095786"/>
            <a:ext cx="1800000" cy="2101530"/>
          </a:xfrm>
          <a:prstGeom prst="rect">
            <a:avLst/>
          </a:prstGeom>
        </p:spPr>
        <p:txBody>
          <a:bodyPr lIns="0"/>
          <a:lstStyle>
            <a:lvl1pPr>
              <a:spcBef>
                <a:spcPts val="1200"/>
              </a:spcBef>
              <a:spcAft>
                <a:spcPts val="0"/>
              </a:spcAft>
              <a:defRPr sz="1100" b="1" cap="all" baseline="0">
                <a:solidFill>
                  <a:schemeClr val="tx1"/>
                </a:solidFill>
              </a:defRPr>
            </a:lvl1pPr>
            <a:lvl2pPr marL="0" indent="0">
              <a:spcBef>
                <a:spcPts val="0"/>
              </a:spcBef>
              <a:spcAft>
                <a:spcPts val="0"/>
              </a:spcAft>
              <a:buNone/>
              <a:defRPr sz="900">
                <a:solidFill>
                  <a:schemeClr val="tx1"/>
                </a:solidFill>
              </a:defRPr>
            </a:lvl2pPr>
            <a:lvl3pPr marL="144000" indent="-144000">
              <a:spcBef>
                <a:spcPts val="0"/>
              </a:spcBef>
              <a:spcAft>
                <a:spcPts val="0"/>
              </a:spcAft>
              <a:buFont typeface="Arial" panose="020B0604020202020204" pitchFamily="34" charset="0"/>
              <a:buChar char="•"/>
              <a:defRPr sz="900">
                <a:solidFill>
                  <a:schemeClr val="tx1"/>
                </a:solidFill>
              </a:defRPr>
            </a:lvl3pPr>
            <a:lvl4pPr marL="288000" indent="-144000">
              <a:spcBef>
                <a:spcPts val="0"/>
              </a:spcBef>
              <a:spcAft>
                <a:spcPts val="0"/>
              </a:spcAft>
              <a:buFont typeface="Symbol" panose="05050102010706020507" pitchFamily="18" charset="2"/>
              <a:buChar char="-"/>
              <a:defRPr sz="900">
                <a:solidFill>
                  <a:schemeClr val="tx1"/>
                </a:solidFill>
              </a:defRPr>
            </a:lvl4pPr>
            <a:lvl5pPr marL="432000" indent="-144000">
              <a:spcBef>
                <a:spcPts val="0"/>
              </a:spcBef>
              <a:spcAft>
                <a:spcPts val="0"/>
              </a:spcAft>
              <a:buFont typeface="Arial" panose="020B0604020202020204" pitchFamily="34" charset="0"/>
              <a:buChar char="•"/>
              <a:defRPr sz="900" b="0" cap="none" baseline="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7" name="Textplatzhalter 7">
            <a:extLst>
              <a:ext uri="{FF2B5EF4-FFF2-40B4-BE49-F238E27FC236}">
                <a16:creationId xmlns:a16="http://schemas.microsoft.com/office/drawing/2014/main" id="{6EEC9A0F-9A9C-40F6-A65D-72174D30B541}"/>
              </a:ext>
            </a:extLst>
          </p:cNvPr>
          <p:cNvSpPr>
            <a:spLocks noGrp="1"/>
          </p:cNvSpPr>
          <p:nvPr>
            <p:ph type="body" sz="quarter" idx="19" hasCustomPrompt="1"/>
          </p:nvPr>
        </p:nvSpPr>
        <p:spPr>
          <a:xfrm>
            <a:off x="410400" y="1589315"/>
            <a:ext cx="8892000" cy="4608001"/>
          </a:xfrm>
          <a:prstGeom prst="rect">
            <a:avLst/>
          </a:prstGeom>
        </p:spPr>
        <p:txBody>
          <a:bodyPr numCol="2" spcCol="360000"/>
          <a:lstStyle>
            <a:lvl1pPr>
              <a:spcBef>
                <a:spcPts val="1200"/>
              </a:spcBef>
              <a:spcAft>
                <a:spcPts val="600"/>
              </a:spcAft>
              <a:defRPr sz="1400" b="1" cap="all" baseline="0">
                <a:solidFill>
                  <a:schemeClr val="bg1"/>
                </a:solidFill>
              </a:defRPr>
            </a:lvl1pPr>
            <a:lvl2pPr marL="0" indent="0">
              <a:spcAft>
                <a:spcPts val="600"/>
              </a:spcAft>
              <a:buNone/>
              <a:defRPr sz="1000">
                <a:solidFill>
                  <a:schemeClr val="bg1"/>
                </a:solidFill>
              </a:defRPr>
            </a:lvl2pPr>
            <a:lvl3pPr marL="144000" indent="-144000">
              <a:spcAft>
                <a:spcPts val="600"/>
              </a:spcAft>
              <a:buFont typeface="Arial" panose="020B0604020202020204" pitchFamily="34" charset="0"/>
              <a:buChar char="•"/>
              <a:defRPr sz="1000">
                <a:solidFill>
                  <a:schemeClr val="bg1"/>
                </a:solidFill>
              </a:defRPr>
            </a:lvl3pPr>
            <a:lvl4pPr marL="288000" indent="-144000">
              <a:spcAft>
                <a:spcPts val="600"/>
              </a:spcAft>
              <a:buFont typeface="Symbol" panose="05050102010706020507" pitchFamily="18" charset="2"/>
              <a:buChar char="-"/>
              <a:defRPr sz="1000">
                <a:solidFill>
                  <a:schemeClr val="bg1"/>
                </a:solidFill>
              </a:defRPr>
            </a:lvl4pPr>
            <a:lvl5pPr marL="432000" indent="-144000">
              <a:spcBef>
                <a:spcPts val="0"/>
              </a:spcBef>
              <a:spcAft>
                <a:spcPts val="600"/>
              </a:spcAft>
              <a:buFont typeface="Arial" panose="020B0604020202020204" pitchFamily="34" charset="0"/>
              <a:buChar char="•"/>
              <a:defRPr sz="1000" b="0" cap="none" baseline="0">
                <a:solidFill>
                  <a:schemeClr val="bg1"/>
                </a:solidFill>
              </a:defRPr>
            </a:lvl5pPr>
          </a:lstStyle>
          <a:p>
            <a:pPr lvl="0"/>
            <a:r>
              <a:rPr lang="en-US"/>
              <a:t>Use ‘INCREASE INDENT’ button to change text styles and bullets</a:t>
            </a:r>
          </a:p>
          <a:p>
            <a:pPr lvl="1"/>
            <a:r>
              <a:rPr lang="de-DE"/>
              <a:t>Zweite Ebene</a:t>
            </a:r>
          </a:p>
          <a:p>
            <a:pPr lvl="2"/>
            <a:r>
              <a:rPr lang="de-DE"/>
              <a:t>Dritte Ebene</a:t>
            </a:r>
          </a:p>
          <a:p>
            <a:pPr lvl="3"/>
            <a:r>
              <a:rPr lang="de-DE"/>
              <a:t>Vierte Ebene</a:t>
            </a:r>
          </a:p>
          <a:p>
            <a:pPr lvl="4"/>
            <a:r>
              <a:rPr lang="de-DE"/>
              <a:t>Fünfte Ebenee </a:t>
            </a:r>
          </a:p>
        </p:txBody>
      </p:sp>
    </p:spTree>
    <p:extLst>
      <p:ext uri="{BB962C8B-B14F-4D97-AF65-F5344CB8AC3E}">
        <p14:creationId xmlns:p14="http://schemas.microsoft.com/office/powerpoint/2010/main" val="13646583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bschluss">
    <p:spTree>
      <p:nvGrpSpPr>
        <p:cNvPr id="1" name=""/>
        <p:cNvGrpSpPr/>
        <p:nvPr/>
      </p:nvGrpSpPr>
      <p:grpSpPr>
        <a:xfrm>
          <a:off x="0" y="0"/>
          <a:ext cx="0" cy="0"/>
          <a:chOff x="0" y="0"/>
          <a:chExt cx="0" cy="0"/>
        </a:xfrm>
      </p:grpSpPr>
      <p:grpSp>
        <p:nvGrpSpPr>
          <p:cNvPr id="2" name="Grafik 11">
            <a:extLst>
              <a:ext uri="{FF2B5EF4-FFF2-40B4-BE49-F238E27FC236}">
                <a16:creationId xmlns:a16="http://schemas.microsoft.com/office/drawing/2014/main" id="{05AC70C6-88A3-4626-AA4F-165361970309}"/>
              </a:ext>
            </a:extLst>
          </p:cNvPr>
          <p:cNvGrpSpPr/>
          <p:nvPr/>
        </p:nvGrpSpPr>
        <p:grpSpPr>
          <a:xfrm>
            <a:off x="410400" y="361527"/>
            <a:ext cx="1787285" cy="596782"/>
            <a:chOff x="410400" y="361527"/>
            <a:chExt cx="1787285" cy="596782"/>
          </a:xfrm>
          <a:solidFill>
            <a:schemeClr val="bg2"/>
          </a:solidFill>
        </p:grpSpPr>
        <p:sp>
          <p:nvSpPr>
            <p:cNvPr id="3" name="Freeform: Shape 2">
              <a:extLst>
                <a:ext uri="{FF2B5EF4-FFF2-40B4-BE49-F238E27FC236}">
                  <a16:creationId xmlns:a16="http://schemas.microsoft.com/office/drawing/2014/main" id="{7D49C6BC-29AF-4B39-924C-5F4DBBBA2549}"/>
                </a:ext>
              </a:extLst>
            </p:cNvPr>
            <p:cNvSpPr/>
            <p:nvPr/>
          </p:nvSpPr>
          <p:spPr>
            <a:xfrm>
              <a:off x="410400" y="424024"/>
              <a:ext cx="147751" cy="475361"/>
            </a:xfrm>
            <a:custGeom>
              <a:avLst/>
              <a:gdLst>
                <a:gd name="connsiteX0" fmla="*/ 53103 w 147751"/>
                <a:gd name="connsiteY0" fmla="*/ 235887 h 475361"/>
                <a:gd name="connsiteX1" fmla="*/ 144346 w 147751"/>
                <a:gd name="connsiteY1" fmla="*/ 45533 h 475361"/>
                <a:gd name="connsiteX2" fmla="*/ 117058 w 147751"/>
                <a:gd name="connsiteY2" fmla="*/ 0 h 475361"/>
                <a:gd name="connsiteX3" fmla="*/ 0 w 147751"/>
                <a:gd name="connsiteY3" fmla="*/ 235887 h 475361"/>
                <a:gd name="connsiteX4" fmla="*/ 121870 w 147751"/>
                <a:gd name="connsiteY4" fmla="*/ 475362 h 475361"/>
                <a:gd name="connsiteX5" fmla="*/ 147752 w 147751"/>
                <a:gd name="connsiteY5" fmla="*/ 428779 h 475361"/>
                <a:gd name="connsiteX6" fmla="*/ 53103 w 147751"/>
                <a:gd name="connsiteY6" fmla="*/ 235887 h 475361"/>
                <a:gd name="connsiteX7" fmla="*/ 53103 w 147751"/>
                <a:gd name="connsiteY7" fmla="*/ 235887 h 47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751" h="475361">
                  <a:moveTo>
                    <a:pt x="53103" y="235887"/>
                  </a:moveTo>
                  <a:cubicBezTo>
                    <a:pt x="53103" y="159167"/>
                    <a:pt x="88721" y="90608"/>
                    <a:pt x="144346" y="45533"/>
                  </a:cubicBezTo>
                  <a:lnTo>
                    <a:pt x="117058" y="0"/>
                  </a:lnTo>
                  <a:cubicBezTo>
                    <a:pt x="46014" y="54619"/>
                    <a:pt x="0" y="139913"/>
                    <a:pt x="0" y="235887"/>
                  </a:cubicBezTo>
                  <a:cubicBezTo>
                    <a:pt x="0" y="334006"/>
                    <a:pt x="48106" y="420940"/>
                    <a:pt x="121870" y="475362"/>
                  </a:cubicBezTo>
                  <a:lnTo>
                    <a:pt x="147752" y="428779"/>
                  </a:lnTo>
                  <a:cubicBezTo>
                    <a:pt x="90233" y="383770"/>
                    <a:pt x="53103" y="314122"/>
                    <a:pt x="53103" y="235887"/>
                  </a:cubicBezTo>
                  <a:lnTo>
                    <a:pt x="53103" y="235887"/>
                  </a:lnTo>
                  <a:close/>
                </a:path>
              </a:pathLst>
            </a:custGeom>
            <a:solidFill>
              <a:schemeClr val="bg2"/>
            </a:solidFill>
            <a:ln w="7" cap="flat">
              <a:noFill/>
              <a:prstDash val="solid"/>
              <a:miter/>
            </a:ln>
          </p:spPr>
          <p:txBody>
            <a:bodyPr rtlCol="0" anchor="ctr"/>
            <a:lstStyle/>
            <a:p>
              <a:endParaRPr lang="de-DE"/>
            </a:p>
          </p:txBody>
        </p:sp>
        <p:sp>
          <p:nvSpPr>
            <p:cNvPr id="4" name="Freeform: Shape 3">
              <a:extLst>
                <a:ext uri="{FF2B5EF4-FFF2-40B4-BE49-F238E27FC236}">
                  <a16:creationId xmlns:a16="http://schemas.microsoft.com/office/drawing/2014/main" id="{7E4CA5D5-394F-4059-8660-EB730B8AB83F}"/>
                </a:ext>
              </a:extLst>
            </p:cNvPr>
            <p:cNvSpPr/>
            <p:nvPr/>
          </p:nvSpPr>
          <p:spPr>
            <a:xfrm>
              <a:off x="596132" y="694856"/>
              <a:ext cx="412502" cy="263452"/>
            </a:xfrm>
            <a:custGeom>
              <a:avLst/>
              <a:gdLst>
                <a:gd name="connsiteX0" fmla="*/ 114510 w 412502"/>
                <a:gd name="connsiteY0" fmla="*/ 210676 h 263452"/>
                <a:gd name="connsiteX1" fmla="*/ 25948 w 412502"/>
                <a:gd name="connsiteY1" fmla="*/ 194086 h 263452"/>
                <a:gd name="connsiteX2" fmla="*/ 0 w 412502"/>
                <a:gd name="connsiteY2" fmla="*/ 240787 h 263452"/>
                <a:gd name="connsiteX3" fmla="*/ 114510 w 412502"/>
                <a:gd name="connsiteY3" fmla="*/ 263452 h 263452"/>
                <a:gd name="connsiteX4" fmla="*/ 412502 w 412502"/>
                <a:gd name="connsiteY4" fmla="*/ 0 h 263452"/>
                <a:gd name="connsiteX5" fmla="*/ 358838 w 412502"/>
                <a:gd name="connsiteY5" fmla="*/ 0 h 263452"/>
                <a:gd name="connsiteX6" fmla="*/ 114510 w 412502"/>
                <a:gd name="connsiteY6" fmla="*/ 210676 h 263452"/>
                <a:gd name="connsiteX7" fmla="*/ 114510 w 412502"/>
                <a:gd name="connsiteY7" fmla="*/ 210676 h 26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502" h="263452">
                  <a:moveTo>
                    <a:pt x="114510" y="210676"/>
                  </a:moveTo>
                  <a:cubicBezTo>
                    <a:pt x="83269" y="210676"/>
                    <a:pt x="53486" y="204654"/>
                    <a:pt x="25948" y="194086"/>
                  </a:cubicBezTo>
                  <a:lnTo>
                    <a:pt x="0" y="240787"/>
                  </a:lnTo>
                  <a:cubicBezTo>
                    <a:pt x="35314" y="255331"/>
                    <a:pt x="73962" y="263452"/>
                    <a:pt x="114510" y="263452"/>
                  </a:cubicBezTo>
                  <a:cubicBezTo>
                    <a:pt x="268150" y="263452"/>
                    <a:pt x="395010" y="148113"/>
                    <a:pt x="412502" y="0"/>
                  </a:cubicBezTo>
                  <a:lnTo>
                    <a:pt x="358838" y="0"/>
                  </a:lnTo>
                  <a:cubicBezTo>
                    <a:pt x="341676" y="118895"/>
                    <a:pt x="238816" y="210676"/>
                    <a:pt x="114510" y="210676"/>
                  </a:cubicBezTo>
                  <a:lnTo>
                    <a:pt x="114510" y="210676"/>
                  </a:lnTo>
                  <a:close/>
                </a:path>
              </a:pathLst>
            </a:custGeom>
            <a:solidFill>
              <a:schemeClr val="bg2"/>
            </a:solidFill>
            <a:ln w="7" cap="flat">
              <a:noFill/>
              <a:prstDash val="solid"/>
              <a:miter/>
            </a:ln>
          </p:spPr>
          <p:txBody>
            <a:bodyPr rtlCol="0" anchor="ctr"/>
            <a:lstStyle/>
            <a:p>
              <a:endParaRPr lang="de-DE"/>
            </a:p>
          </p:txBody>
        </p:sp>
        <p:sp>
          <p:nvSpPr>
            <p:cNvPr id="5" name="Freeform: Shape 4">
              <a:extLst>
                <a:ext uri="{FF2B5EF4-FFF2-40B4-BE49-F238E27FC236}">
                  <a16:creationId xmlns:a16="http://schemas.microsoft.com/office/drawing/2014/main" id="{49DA84E4-3237-4A18-A304-13AD32C75931}"/>
                </a:ext>
              </a:extLst>
            </p:cNvPr>
            <p:cNvSpPr/>
            <p:nvPr/>
          </p:nvSpPr>
          <p:spPr>
            <a:xfrm>
              <a:off x="590627" y="361527"/>
              <a:ext cx="417512" cy="260237"/>
            </a:xfrm>
            <a:custGeom>
              <a:avLst/>
              <a:gdLst>
                <a:gd name="connsiteX0" fmla="*/ 120015 w 417512"/>
                <a:gd name="connsiteY0" fmla="*/ 52782 h 260237"/>
                <a:gd name="connsiteX1" fmla="*/ 363848 w 417512"/>
                <a:gd name="connsiteY1" fmla="*/ 260238 h 260237"/>
                <a:gd name="connsiteX2" fmla="*/ 417512 w 417512"/>
                <a:gd name="connsiteY2" fmla="*/ 260238 h 260237"/>
                <a:gd name="connsiteX3" fmla="*/ 120405 w 417512"/>
                <a:gd name="connsiteY3" fmla="*/ 0 h 260237"/>
                <a:gd name="connsiteX4" fmla="*/ 118616 w 417512"/>
                <a:gd name="connsiteY4" fmla="*/ 0 h 260237"/>
                <a:gd name="connsiteX5" fmla="*/ 0 w 417512"/>
                <a:gd name="connsiteY5" fmla="*/ 25046 h 260237"/>
                <a:gd name="connsiteX6" fmla="*/ 27433 w 417512"/>
                <a:gd name="connsiteY6" fmla="*/ 70829 h 260237"/>
                <a:gd name="connsiteX7" fmla="*/ 120015 w 417512"/>
                <a:gd name="connsiteY7" fmla="*/ 52782 h 260237"/>
                <a:gd name="connsiteX8" fmla="*/ 120015 w 417512"/>
                <a:gd name="connsiteY8" fmla="*/ 52782 h 26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512" h="260237">
                  <a:moveTo>
                    <a:pt x="120015" y="52782"/>
                  </a:moveTo>
                  <a:cubicBezTo>
                    <a:pt x="243192" y="52782"/>
                    <a:pt x="345313" y="142911"/>
                    <a:pt x="363848" y="260238"/>
                  </a:cubicBezTo>
                  <a:lnTo>
                    <a:pt x="417512" y="260238"/>
                  </a:lnTo>
                  <a:cubicBezTo>
                    <a:pt x="398581" y="113824"/>
                    <a:pt x="272751" y="197"/>
                    <a:pt x="120405" y="0"/>
                  </a:cubicBezTo>
                  <a:lnTo>
                    <a:pt x="118616" y="0"/>
                  </a:lnTo>
                  <a:cubicBezTo>
                    <a:pt x="76450" y="197"/>
                    <a:pt x="36403" y="9204"/>
                    <a:pt x="0" y="25046"/>
                  </a:cubicBezTo>
                  <a:lnTo>
                    <a:pt x="27433" y="70829"/>
                  </a:lnTo>
                  <a:cubicBezTo>
                    <a:pt x="56067" y="59283"/>
                    <a:pt x="87262" y="52782"/>
                    <a:pt x="120015" y="52782"/>
                  </a:cubicBezTo>
                  <a:lnTo>
                    <a:pt x="120015" y="52782"/>
                  </a:lnTo>
                  <a:close/>
                </a:path>
              </a:pathLst>
            </a:custGeom>
            <a:solidFill>
              <a:schemeClr val="bg2"/>
            </a:solidFill>
            <a:ln w="7" cap="flat">
              <a:noFill/>
              <a:prstDash val="solid"/>
              <a:miter/>
            </a:ln>
          </p:spPr>
          <p:txBody>
            <a:bodyPr rtlCol="0" anchor="ctr"/>
            <a:lstStyle/>
            <a:p>
              <a:endParaRPr lang="de-DE"/>
            </a:p>
          </p:txBody>
        </p:sp>
        <p:sp>
          <p:nvSpPr>
            <p:cNvPr id="6" name="Freeform: Shape 5">
              <a:extLst>
                <a:ext uri="{FF2B5EF4-FFF2-40B4-BE49-F238E27FC236}">
                  <a16:creationId xmlns:a16="http://schemas.microsoft.com/office/drawing/2014/main" id="{5D4E8A62-21FB-4621-BD27-B7FAFA78EE66}"/>
                </a:ext>
              </a:extLst>
            </p:cNvPr>
            <p:cNvSpPr/>
            <p:nvPr/>
          </p:nvSpPr>
          <p:spPr>
            <a:xfrm>
              <a:off x="1136266" y="388961"/>
              <a:ext cx="108306" cy="130604"/>
            </a:xfrm>
            <a:custGeom>
              <a:avLst/>
              <a:gdLst>
                <a:gd name="connsiteX0" fmla="*/ 45744 w 108306"/>
                <a:gd name="connsiteY0" fmla="*/ 1909 h 130604"/>
                <a:gd name="connsiteX1" fmla="*/ 48054 w 108306"/>
                <a:gd name="connsiteY1" fmla="*/ 0 h 130604"/>
                <a:gd name="connsiteX2" fmla="*/ 60629 w 108306"/>
                <a:gd name="connsiteY2" fmla="*/ 0 h 130604"/>
                <a:gd name="connsiteX3" fmla="*/ 63137 w 108306"/>
                <a:gd name="connsiteY3" fmla="*/ 1909 h 130604"/>
                <a:gd name="connsiteX4" fmla="*/ 108174 w 108306"/>
                <a:gd name="connsiteY4" fmla="*/ 128682 h 130604"/>
                <a:gd name="connsiteX5" fmla="*/ 106821 w 108306"/>
                <a:gd name="connsiteY5" fmla="*/ 130604 h 130604"/>
                <a:gd name="connsiteX6" fmla="*/ 93296 w 108306"/>
                <a:gd name="connsiteY6" fmla="*/ 130604 h 130604"/>
                <a:gd name="connsiteX7" fmla="*/ 90781 w 108306"/>
                <a:gd name="connsiteY7" fmla="*/ 128682 h 130604"/>
                <a:gd name="connsiteX8" fmla="*/ 80722 w 108306"/>
                <a:gd name="connsiteY8" fmla="*/ 100257 h 130604"/>
                <a:gd name="connsiteX9" fmla="*/ 27566 w 108306"/>
                <a:gd name="connsiteY9" fmla="*/ 100257 h 130604"/>
                <a:gd name="connsiteX10" fmla="*/ 17532 w 108306"/>
                <a:gd name="connsiteY10" fmla="*/ 128682 h 130604"/>
                <a:gd name="connsiteX11" fmla="*/ 15018 w 108306"/>
                <a:gd name="connsiteY11" fmla="*/ 130604 h 130604"/>
                <a:gd name="connsiteX12" fmla="*/ 1473 w 108306"/>
                <a:gd name="connsiteY12" fmla="*/ 130604 h 130604"/>
                <a:gd name="connsiteX13" fmla="*/ 139 w 108306"/>
                <a:gd name="connsiteY13" fmla="*/ 128682 h 130604"/>
                <a:gd name="connsiteX14" fmla="*/ 45744 w 108306"/>
                <a:gd name="connsiteY14" fmla="*/ 1909 h 130604"/>
                <a:gd name="connsiteX15" fmla="*/ 75118 w 108306"/>
                <a:gd name="connsiteY15" fmla="*/ 84513 h 130604"/>
                <a:gd name="connsiteX16" fmla="*/ 54431 w 108306"/>
                <a:gd name="connsiteY16" fmla="*/ 25158 h 130604"/>
                <a:gd name="connsiteX17" fmla="*/ 54048 w 108306"/>
                <a:gd name="connsiteY17" fmla="*/ 25158 h 130604"/>
                <a:gd name="connsiteX18" fmla="*/ 33176 w 108306"/>
                <a:gd name="connsiteY18" fmla="*/ 84513 h 130604"/>
                <a:gd name="connsiteX19" fmla="*/ 75118 w 108306"/>
                <a:gd name="connsiteY19" fmla="*/ 84513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306" h="130604">
                  <a:moveTo>
                    <a:pt x="45744" y="1909"/>
                  </a:moveTo>
                  <a:cubicBezTo>
                    <a:pt x="46120" y="636"/>
                    <a:pt x="46899" y="0"/>
                    <a:pt x="48054" y="0"/>
                  </a:cubicBezTo>
                  <a:lnTo>
                    <a:pt x="60629" y="0"/>
                  </a:lnTo>
                  <a:cubicBezTo>
                    <a:pt x="61903" y="0"/>
                    <a:pt x="62754" y="636"/>
                    <a:pt x="63137" y="1909"/>
                  </a:cubicBezTo>
                  <a:lnTo>
                    <a:pt x="108174" y="128682"/>
                  </a:lnTo>
                  <a:cubicBezTo>
                    <a:pt x="108557" y="129961"/>
                    <a:pt x="108108" y="130604"/>
                    <a:pt x="106821" y="130604"/>
                  </a:cubicBezTo>
                  <a:lnTo>
                    <a:pt x="93296" y="130604"/>
                  </a:lnTo>
                  <a:cubicBezTo>
                    <a:pt x="92002" y="130604"/>
                    <a:pt x="91171" y="129961"/>
                    <a:pt x="90781" y="128682"/>
                  </a:cubicBezTo>
                  <a:lnTo>
                    <a:pt x="80722" y="100257"/>
                  </a:lnTo>
                  <a:lnTo>
                    <a:pt x="27566" y="100257"/>
                  </a:lnTo>
                  <a:lnTo>
                    <a:pt x="17532" y="128682"/>
                  </a:lnTo>
                  <a:cubicBezTo>
                    <a:pt x="17011" y="129961"/>
                    <a:pt x="16179" y="130604"/>
                    <a:pt x="15018" y="130604"/>
                  </a:cubicBezTo>
                  <a:lnTo>
                    <a:pt x="1473" y="130604"/>
                  </a:lnTo>
                  <a:cubicBezTo>
                    <a:pt x="192" y="130604"/>
                    <a:pt x="-257" y="129961"/>
                    <a:pt x="139" y="128682"/>
                  </a:cubicBezTo>
                  <a:lnTo>
                    <a:pt x="45744" y="1909"/>
                  </a:lnTo>
                  <a:close/>
                  <a:moveTo>
                    <a:pt x="75118" y="84513"/>
                  </a:moveTo>
                  <a:lnTo>
                    <a:pt x="54431" y="25158"/>
                  </a:lnTo>
                  <a:lnTo>
                    <a:pt x="54048" y="25158"/>
                  </a:lnTo>
                  <a:lnTo>
                    <a:pt x="33176" y="84513"/>
                  </a:lnTo>
                  <a:lnTo>
                    <a:pt x="75118" y="84513"/>
                  </a:lnTo>
                  <a:close/>
                </a:path>
              </a:pathLst>
            </a:custGeom>
            <a:solidFill>
              <a:schemeClr val="bg2"/>
            </a:solidFill>
            <a:ln w="7" cap="flat">
              <a:noFill/>
              <a:prstDash val="solid"/>
              <a:miter/>
            </a:ln>
          </p:spPr>
          <p:txBody>
            <a:bodyPr rtlCol="0" anchor="ctr"/>
            <a:lstStyle/>
            <a:p>
              <a:endParaRPr lang="de-DE"/>
            </a:p>
          </p:txBody>
        </p:sp>
        <p:sp>
          <p:nvSpPr>
            <p:cNvPr id="9" name="Freeform: Shape 8">
              <a:extLst>
                <a:ext uri="{FF2B5EF4-FFF2-40B4-BE49-F238E27FC236}">
                  <a16:creationId xmlns:a16="http://schemas.microsoft.com/office/drawing/2014/main" id="{3CBF2BF1-BC5E-46C3-8CF6-11DACBC3E314}"/>
                </a:ext>
              </a:extLst>
            </p:cNvPr>
            <p:cNvSpPr/>
            <p:nvPr/>
          </p:nvSpPr>
          <p:spPr>
            <a:xfrm>
              <a:off x="1267246" y="388954"/>
              <a:ext cx="93313" cy="130610"/>
            </a:xfrm>
            <a:custGeom>
              <a:avLst/>
              <a:gdLst>
                <a:gd name="connsiteX0" fmla="*/ 76186 w 93313"/>
                <a:gd name="connsiteY0" fmla="*/ 130611 h 130610"/>
                <a:gd name="connsiteX1" fmla="*/ 73645 w 93313"/>
                <a:gd name="connsiteY1" fmla="*/ 128682 h 130610"/>
                <a:gd name="connsiteX2" fmla="*/ 47446 w 93313"/>
                <a:gd name="connsiteY2" fmla="*/ 75296 h 130610"/>
                <a:gd name="connsiteX3" fmla="*/ 18555 w 93313"/>
                <a:gd name="connsiteY3" fmla="*/ 75296 h 130610"/>
                <a:gd name="connsiteX4" fmla="*/ 17393 w 93313"/>
                <a:gd name="connsiteY4" fmla="*/ 76444 h 130610"/>
                <a:gd name="connsiteX5" fmla="*/ 17393 w 93313"/>
                <a:gd name="connsiteY5" fmla="*/ 128682 h 130610"/>
                <a:gd name="connsiteX6" fmla="*/ 15446 w 93313"/>
                <a:gd name="connsiteY6" fmla="*/ 130611 h 130610"/>
                <a:gd name="connsiteX7" fmla="*/ 1954 w 93313"/>
                <a:gd name="connsiteY7" fmla="*/ 130611 h 130610"/>
                <a:gd name="connsiteX8" fmla="*/ 0 w 93313"/>
                <a:gd name="connsiteY8" fmla="*/ 128682 h 130610"/>
                <a:gd name="connsiteX9" fmla="*/ 0 w 93313"/>
                <a:gd name="connsiteY9" fmla="*/ 1922 h 130610"/>
                <a:gd name="connsiteX10" fmla="*/ 1934 w 93313"/>
                <a:gd name="connsiteY10" fmla="*/ 0 h 130610"/>
                <a:gd name="connsiteX11" fmla="*/ 49592 w 93313"/>
                <a:gd name="connsiteY11" fmla="*/ 0 h 130610"/>
                <a:gd name="connsiteX12" fmla="*/ 66430 w 93313"/>
                <a:gd name="connsiteY12" fmla="*/ 2690 h 130610"/>
                <a:gd name="connsiteX13" fmla="*/ 79414 w 93313"/>
                <a:gd name="connsiteY13" fmla="*/ 10273 h 130610"/>
                <a:gd name="connsiteX14" fmla="*/ 87837 w 93313"/>
                <a:gd name="connsiteY14" fmla="*/ 22186 h 130610"/>
                <a:gd name="connsiteX15" fmla="*/ 90846 w 93313"/>
                <a:gd name="connsiteY15" fmla="*/ 37642 h 130610"/>
                <a:gd name="connsiteX16" fmla="*/ 83876 w 93313"/>
                <a:gd name="connsiteY16" fmla="*/ 60123 h 130610"/>
                <a:gd name="connsiteX17" fmla="*/ 64945 w 93313"/>
                <a:gd name="connsiteY17" fmla="*/ 73184 h 130610"/>
                <a:gd name="connsiteX18" fmla="*/ 92972 w 93313"/>
                <a:gd name="connsiteY18" fmla="*/ 128308 h 130610"/>
                <a:gd name="connsiteX19" fmla="*/ 93157 w 93313"/>
                <a:gd name="connsiteY19" fmla="*/ 129935 h 130610"/>
                <a:gd name="connsiteX20" fmla="*/ 91810 w 93313"/>
                <a:gd name="connsiteY20" fmla="*/ 130611 h 130610"/>
                <a:gd name="connsiteX21" fmla="*/ 76186 w 93313"/>
                <a:gd name="connsiteY21" fmla="*/ 130611 h 130610"/>
                <a:gd name="connsiteX22" fmla="*/ 49176 w 93313"/>
                <a:gd name="connsiteY22" fmla="*/ 59355 h 130610"/>
                <a:gd name="connsiteX23" fmla="*/ 67097 w 93313"/>
                <a:gd name="connsiteY23" fmla="*/ 53681 h 130610"/>
                <a:gd name="connsiteX24" fmla="*/ 73447 w 93313"/>
                <a:gd name="connsiteY24" fmla="*/ 37642 h 130610"/>
                <a:gd name="connsiteX25" fmla="*/ 67097 w 93313"/>
                <a:gd name="connsiteY25" fmla="*/ 21615 h 130610"/>
                <a:gd name="connsiteX26" fmla="*/ 49176 w 93313"/>
                <a:gd name="connsiteY26" fmla="*/ 15948 h 130610"/>
                <a:gd name="connsiteX27" fmla="*/ 18555 w 93313"/>
                <a:gd name="connsiteY27" fmla="*/ 15948 h 130610"/>
                <a:gd name="connsiteX28" fmla="*/ 17393 w 93313"/>
                <a:gd name="connsiteY28" fmla="*/ 17102 h 130610"/>
                <a:gd name="connsiteX29" fmla="*/ 17393 w 93313"/>
                <a:gd name="connsiteY29" fmla="*/ 58194 h 130610"/>
                <a:gd name="connsiteX30" fmla="*/ 18555 w 93313"/>
                <a:gd name="connsiteY30" fmla="*/ 59355 h 130610"/>
                <a:gd name="connsiteX31" fmla="*/ 49176 w 93313"/>
                <a:gd name="connsiteY31" fmla="*/ 59355 h 13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3313" h="130610">
                  <a:moveTo>
                    <a:pt x="76186" y="130611"/>
                  </a:moveTo>
                  <a:cubicBezTo>
                    <a:pt x="75018" y="130611"/>
                    <a:pt x="74160" y="129968"/>
                    <a:pt x="73645" y="128682"/>
                  </a:cubicBezTo>
                  <a:lnTo>
                    <a:pt x="47446" y="75296"/>
                  </a:lnTo>
                  <a:lnTo>
                    <a:pt x="18555" y="75296"/>
                  </a:lnTo>
                  <a:cubicBezTo>
                    <a:pt x="17776" y="75296"/>
                    <a:pt x="17393" y="75690"/>
                    <a:pt x="17393" y="76444"/>
                  </a:cubicBezTo>
                  <a:lnTo>
                    <a:pt x="17393" y="128682"/>
                  </a:lnTo>
                  <a:cubicBezTo>
                    <a:pt x="17393" y="129968"/>
                    <a:pt x="16740" y="130611"/>
                    <a:pt x="15446" y="130611"/>
                  </a:cubicBezTo>
                  <a:lnTo>
                    <a:pt x="1954" y="130611"/>
                  </a:lnTo>
                  <a:cubicBezTo>
                    <a:pt x="653" y="130611"/>
                    <a:pt x="0" y="129968"/>
                    <a:pt x="0" y="128682"/>
                  </a:cubicBezTo>
                  <a:lnTo>
                    <a:pt x="0" y="1922"/>
                  </a:lnTo>
                  <a:cubicBezTo>
                    <a:pt x="0" y="643"/>
                    <a:pt x="640" y="0"/>
                    <a:pt x="1934" y="0"/>
                  </a:cubicBezTo>
                  <a:lnTo>
                    <a:pt x="49592" y="0"/>
                  </a:lnTo>
                  <a:cubicBezTo>
                    <a:pt x="55777" y="0"/>
                    <a:pt x="61394" y="905"/>
                    <a:pt x="66430" y="2690"/>
                  </a:cubicBezTo>
                  <a:cubicBezTo>
                    <a:pt x="71473" y="4481"/>
                    <a:pt x="75797" y="7013"/>
                    <a:pt x="79414" y="10273"/>
                  </a:cubicBezTo>
                  <a:cubicBezTo>
                    <a:pt x="83025" y="13547"/>
                    <a:pt x="85843" y="17515"/>
                    <a:pt x="87837" y="22186"/>
                  </a:cubicBezTo>
                  <a:cubicBezTo>
                    <a:pt x="89843" y="26863"/>
                    <a:pt x="90846" y="32013"/>
                    <a:pt x="90846" y="37642"/>
                  </a:cubicBezTo>
                  <a:cubicBezTo>
                    <a:pt x="90846" y="46478"/>
                    <a:pt x="88516" y="53970"/>
                    <a:pt x="83876" y="60123"/>
                  </a:cubicBezTo>
                  <a:cubicBezTo>
                    <a:pt x="79242" y="66263"/>
                    <a:pt x="72939" y="70619"/>
                    <a:pt x="64945" y="73184"/>
                  </a:cubicBezTo>
                  <a:lnTo>
                    <a:pt x="92972" y="128308"/>
                  </a:lnTo>
                  <a:cubicBezTo>
                    <a:pt x="93355" y="128951"/>
                    <a:pt x="93414" y="129496"/>
                    <a:pt x="93157" y="129935"/>
                  </a:cubicBezTo>
                  <a:cubicBezTo>
                    <a:pt x="92893" y="130394"/>
                    <a:pt x="92457" y="130611"/>
                    <a:pt x="91810" y="130611"/>
                  </a:cubicBezTo>
                  <a:lnTo>
                    <a:pt x="76186" y="130611"/>
                  </a:lnTo>
                  <a:close/>
                  <a:moveTo>
                    <a:pt x="49176" y="59355"/>
                  </a:moveTo>
                  <a:cubicBezTo>
                    <a:pt x="56879" y="59355"/>
                    <a:pt x="62846" y="57460"/>
                    <a:pt x="67097" y="53681"/>
                  </a:cubicBezTo>
                  <a:cubicBezTo>
                    <a:pt x="71328" y="49909"/>
                    <a:pt x="73447" y="44563"/>
                    <a:pt x="73447" y="37642"/>
                  </a:cubicBezTo>
                  <a:cubicBezTo>
                    <a:pt x="73447" y="30727"/>
                    <a:pt x="71328" y="25374"/>
                    <a:pt x="67097" y="21615"/>
                  </a:cubicBezTo>
                  <a:cubicBezTo>
                    <a:pt x="62846" y="17830"/>
                    <a:pt x="56879" y="15948"/>
                    <a:pt x="49176" y="15948"/>
                  </a:cubicBezTo>
                  <a:lnTo>
                    <a:pt x="18555" y="15948"/>
                  </a:lnTo>
                  <a:cubicBezTo>
                    <a:pt x="17776" y="15948"/>
                    <a:pt x="17393" y="16335"/>
                    <a:pt x="17393" y="17102"/>
                  </a:cubicBezTo>
                  <a:lnTo>
                    <a:pt x="17393" y="58194"/>
                  </a:lnTo>
                  <a:cubicBezTo>
                    <a:pt x="17393" y="58962"/>
                    <a:pt x="17776" y="59355"/>
                    <a:pt x="18555" y="59355"/>
                  </a:cubicBezTo>
                  <a:lnTo>
                    <a:pt x="49176" y="59355"/>
                  </a:lnTo>
                  <a:close/>
                </a:path>
              </a:pathLst>
            </a:custGeom>
            <a:solidFill>
              <a:schemeClr val="bg2"/>
            </a:solidFill>
            <a:ln w="7" cap="flat">
              <a:noFill/>
              <a:prstDash val="solid"/>
              <a:miter/>
            </a:ln>
          </p:spPr>
          <p:txBody>
            <a:bodyPr rtlCol="0" anchor="ctr"/>
            <a:lstStyle/>
            <a:p>
              <a:endParaRPr lang="de-DE"/>
            </a:p>
          </p:txBody>
        </p:sp>
        <p:sp>
          <p:nvSpPr>
            <p:cNvPr id="10" name="Freeform: Shape 9">
              <a:extLst>
                <a:ext uri="{FF2B5EF4-FFF2-40B4-BE49-F238E27FC236}">
                  <a16:creationId xmlns:a16="http://schemas.microsoft.com/office/drawing/2014/main" id="{69B716A4-DC22-4332-BA64-586AB254E236}"/>
                </a:ext>
              </a:extLst>
            </p:cNvPr>
            <p:cNvSpPr/>
            <p:nvPr/>
          </p:nvSpPr>
          <p:spPr>
            <a:xfrm>
              <a:off x="1388416" y="388961"/>
              <a:ext cx="93929" cy="130604"/>
            </a:xfrm>
            <a:custGeom>
              <a:avLst/>
              <a:gdLst>
                <a:gd name="connsiteX0" fmla="*/ 0 w 93929"/>
                <a:gd name="connsiteY0" fmla="*/ 1909 h 130604"/>
                <a:gd name="connsiteX1" fmla="*/ 1941 w 93929"/>
                <a:gd name="connsiteY1" fmla="*/ 0 h 130604"/>
                <a:gd name="connsiteX2" fmla="*/ 14304 w 93929"/>
                <a:gd name="connsiteY2" fmla="*/ 0 h 130604"/>
                <a:gd name="connsiteX3" fmla="*/ 17598 w 93929"/>
                <a:gd name="connsiteY3" fmla="*/ 1909 h 130604"/>
                <a:gd name="connsiteX4" fmla="*/ 77123 w 93929"/>
                <a:gd name="connsiteY4" fmla="*/ 99877 h 130604"/>
                <a:gd name="connsiteX5" fmla="*/ 77896 w 93929"/>
                <a:gd name="connsiteY5" fmla="*/ 99877 h 130604"/>
                <a:gd name="connsiteX6" fmla="*/ 77896 w 93929"/>
                <a:gd name="connsiteY6" fmla="*/ 1909 h 130604"/>
                <a:gd name="connsiteX7" fmla="*/ 79823 w 93929"/>
                <a:gd name="connsiteY7" fmla="*/ 0 h 130604"/>
                <a:gd name="connsiteX8" fmla="*/ 92008 w 93929"/>
                <a:gd name="connsiteY8" fmla="*/ 0 h 130604"/>
                <a:gd name="connsiteX9" fmla="*/ 93929 w 93929"/>
                <a:gd name="connsiteY9" fmla="*/ 1909 h 130604"/>
                <a:gd name="connsiteX10" fmla="*/ 93929 w 93929"/>
                <a:gd name="connsiteY10" fmla="*/ 128682 h 130604"/>
                <a:gd name="connsiteX11" fmla="*/ 92008 w 93929"/>
                <a:gd name="connsiteY11" fmla="*/ 130604 h 130604"/>
                <a:gd name="connsiteX12" fmla="*/ 79625 w 93929"/>
                <a:gd name="connsiteY12" fmla="*/ 130604 h 130604"/>
                <a:gd name="connsiteX13" fmla="*/ 76351 w 93929"/>
                <a:gd name="connsiteY13" fmla="*/ 128682 h 130604"/>
                <a:gd name="connsiteX14" fmla="*/ 16634 w 93929"/>
                <a:gd name="connsiteY14" fmla="*/ 31108 h 130604"/>
                <a:gd name="connsiteX15" fmla="*/ 16046 w 93929"/>
                <a:gd name="connsiteY15" fmla="*/ 31108 h 130604"/>
                <a:gd name="connsiteX16" fmla="*/ 16046 w 93929"/>
                <a:gd name="connsiteY16" fmla="*/ 128682 h 130604"/>
                <a:gd name="connsiteX17" fmla="*/ 14112 w 93929"/>
                <a:gd name="connsiteY17" fmla="*/ 130604 h 130604"/>
                <a:gd name="connsiteX18" fmla="*/ 1941 w 93929"/>
                <a:gd name="connsiteY18" fmla="*/ 130604 h 130604"/>
                <a:gd name="connsiteX19" fmla="*/ 0 w 93929"/>
                <a:gd name="connsiteY19" fmla="*/ 128682 h 130604"/>
                <a:gd name="connsiteX20" fmla="*/ 0 w 93929"/>
                <a:gd name="connsiteY20"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29" h="130604">
                  <a:moveTo>
                    <a:pt x="0" y="1909"/>
                  </a:moveTo>
                  <a:cubicBezTo>
                    <a:pt x="0" y="636"/>
                    <a:pt x="647" y="0"/>
                    <a:pt x="1941" y="0"/>
                  </a:cubicBezTo>
                  <a:lnTo>
                    <a:pt x="14304" y="0"/>
                  </a:lnTo>
                  <a:cubicBezTo>
                    <a:pt x="15848" y="0"/>
                    <a:pt x="16951" y="636"/>
                    <a:pt x="17598" y="1909"/>
                  </a:cubicBezTo>
                  <a:lnTo>
                    <a:pt x="77123" y="99877"/>
                  </a:lnTo>
                  <a:lnTo>
                    <a:pt x="77896" y="99877"/>
                  </a:lnTo>
                  <a:lnTo>
                    <a:pt x="77896" y="1909"/>
                  </a:lnTo>
                  <a:cubicBezTo>
                    <a:pt x="77896" y="636"/>
                    <a:pt x="78536" y="0"/>
                    <a:pt x="79823" y="0"/>
                  </a:cubicBezTo>
                  <a:lnTo>
                    <a:pt x="92008" y="0"/>
                  </a:lnTo>
                  <a:cubicBezTo>
                    <a:pt x="93282" y="0"/>
                    <a:pt x="93929" y="636"/>
                    <a:pt x="93929" y="1909"/>
                  </a:cubicBezTo>
                  <a:lnTo>
                    <a:pt x="93929" y="128682"/>
                  </a:lnTo>
                  <a:cubicBezTo>
                    <a:pt x="93929" y="129961"/>
                    <a:pt x="93282" y="130604"/>
                    <a:pt x="92008" y="130604"/>
                  </a:cubicBezTo>
                  <a:lnTo>
                    <a:pt x="79625" y="130604"/>
                  </a:lnTo>
                  <a:cubicBezTo>
                    <a:pt x="78081" y="130604"/>
                    <a:pt x="76985" y="129961"/>
                    <a:pt x="76351" y="128682"/>
                  </a:cubicBezTo>
                  <a:lnTo>
                    <a:pt x="16634" y="31108"/>
                  </a:lnTo>
                  <a:lnTo>
                    <a:pt x="16046" y="31108"/>
                  </a:lnTo>
                  <a:lnTo>
                    <a:pt x="16046" y="128682"/>
                  </a:lnTo>
                  <a:cubicBezTo>
                    <a:pt x="16046" y="129961"/>
                    <a:pt x="15400" y="130604"/>
                    <a:pt x="14112" y="130604"/>
                  </a:cubicBezTo>
                  <a:lnTo>
                    <a:pt x="1941" y="130604"/>
                  </a:lnTo>
                  <a:cubicBezTo>
                    <a:pt x="647" y="130604"/>
                    <a:pt x="0" y="129961"/>
                    <a:pt x="0" y="128682"/>
                  </a:cubicBezTo>
                  <a:lnTo>
                    <a:pt x="0" y="1909"/>
                  </a:lnTo>
                  <a:close/>
                </a:path>
              </a:pathLst>
            </a:custGeom>
            <a:solidFill>
              <a:schemeClr val="bg2"/>
            </a:solidFill>
            <a:ln w="7" cap="flat">
              <a:noFill/>
              <a:prstDash val="solid"/>
              <a:miter/>
            </a:ln>
          </p:spPr>
          <p:txBody>
            <a:bodyPr rtlCol="0" anchor="ctr"/>
            <a:lstStyle/>
            <a:p>
              <a:endParaRPr lang="de-DE"/>
            </a:p>
          </p:txBody>
        </p:sp>
        <p:sp>
          <p:nvSpPr>
            <p:cNvPr id="12" name="Freeform: Shape 11">
              <a:extLst>
                <a:ext uri="{FF2B5EF4-FFF2-40B4-BE49-F238E27FC236}">
                  <a16:creationId xmlns:a16="http://schemas.microsoft.com/office/drawing/2014/main" id="{970DADAA-86C1-49E2-9E3F-29E60324E5C1}"/>
                </a:ext>
              </a:extLst>
            </p:cNvPr>
            <p:cNvSpPr/>
            <p:nvPr/>
          </p:nvSpPr>
          <p:spPr>
            <a:xfrm>
              <a:off x="1516762" y="388961"/>
              <a:ext cx="83103" cy="130604"/>
            </a:xfrm>
            <a:custGeom>
              <a:avLst/>
              <a:gdLst>
                <a:gd name="connsiteX0" fmla="*/ 0 w 83103"/>
                <a:gd name="connsiteY0" fmla="*/ 1909 h 130604"/>
                <a:gd name="connsiteX1" fmla="*/ 1947 w 83103"/>
                <a:gd name="connsiteY1" fmla="*/ 0 h 130604"/>
                <a:gd name="connsiteX2" fmla="*/ 81183 w 83103"/>
                <a:gd name="connsiteY2" fmla="*/ 0 h 130604"/>
                <a:gd name="connsiteX3" fmla="*/ 83104 w 83103"/>
                <a:gd name="connsiteY3" fmla="*/ 1909 h 130604"/>
                <a:gd name="connsiteX4" fmla="*/ 83104 w 83103"/>
                <a:gd name="connsiteY4" fmla="*/ 14012 h 130604"/>
                <a:gd name="connsiteX5" fmla="*/ 81183 w 83103"/>
                <a:gd name="connsiteY5" fmla="*/ 15941 h 130604"/>
                <a:gd name="connsiteX6" fmla="*/ 18555 w 83103"/>
                <a:gd name="connsiteY6" fmla="*/ 15941 h 130604"/>
                <a:gd name="connsiteX7" fmla="*/ 17406 w 83103"/>
                <a:gd name="connsiteY7" fmla="*/ 17096 h 130604"/>
                <a:gd name="connsiteX8" fmla="*/ 17406 w 83103"/>
                <a:gd name="connsiteY8" fmla="*/ 55505 h 130604"/>
                <a:gd name="connsiteX9" fmla="*/ 18555 w 83103"/>
                <a:gd name="connsiteY9" fmla="*/ 56646 h 130604"/>
                <a:gd name="connsiteX10" fmla="*/ 71698 w 83103"/>
                <a:gd name="connsiteY10" fmla="*/ 56646 h 130604"/>
                <a:gd name="connsiteX11" fmla="*/ 73645 w 83103"/>
                <a:gd name="connsiteY11" fmla="*/ 58575 h 130604"/>
                <a:gd name="connsiteX12" fmla="*/ 73645 w 83103"/>
                <a:gd name="connsiteY12" fmla="*/ 70678 h 130604"/>
                <a:gd name="connsiteX13" fmla="*/ 71698 w 83103"/>
                <a:gd name="connsiteY13" fmla="*/ 72600 h 130604"/>
                <a:gd name="connsiteX14" fmla="*/ 18555 w 83103"/>
                <a:gd name="connsiteY14" fmla="*/ 72600 h 130604"/>
                <a:gd name="connsiteX15" fmla="*/ 17406 w 83103"/>
                <a:gd name="connsiteY15" fmla="*/ 73748 h 130604"/>
                <a:gd name="connsiteX16" fmla="*/ 17406 w 83103"/>
                <a:gd name="connsiteY16" fmla="*/ 113509 h 130604"/>
                <a:gd name="connsiteX17" fmla="*/ 18555 w 83103"/>
                <a:gd name="connsiteY17" fmla="*/ 114670 h 130604"/>
                <a:gd name="connsiteX18" fmla="*/ 81183 w 83103"/>
                <a:gd name="connsiteY18" fmla="*/ 114670 h 130604"/>
                <a:gd name="connsiteX19" fmla="*/ 83104 w 83103"/>
                <a:gd name="connsiteY19" fmla="*/ 116599 h 130604"/>
                <a:gd name="connsiteX20" fmla="*/ 83104 w 83103"/>
                <a:gd name="connsiteY20" fmla="*/ 128682 h 130604"/>
                <a:gd name="connsiteX21" fmla="*/ 81183 w 83103"/>
                <a:gd name="connsiteY21" fmla="*/ 130604 h 130604"/>
                <a:gd name="connsiteX22" fmla="*/ 1947 w 83103"/>
                <a:gd name="connsiteY22" fmla="*/ 130604 h 130604"/>
                <a:gd name="connsiteX23" fmla="*/ 0 w 83103"/>
                <a:gd name="connsiteY23" fmla="*/ 128682 h 130604"/>
                <a:gd name="connsiteX24" fmla="*/ 0 w 83103"/>
                <a:gd name="connsiteY24"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09"/>
                  </a:moveTo>
                  <a:cubicBezTo>
                    <a:pt x="0" y="636"/>
                    <a:pt x="653" y="0"/>
                    <a:pt x="1947" y="0"/>
                  </a:cubicBezTo>
                  <a:lnTo>
                    <a:pt x="81183" y="0"/>
                  </a:lnTo>
                  <a:cubicBezTo>
                    <a:pt x="82463" y="0"/>
                    <a:pt x="83104" y="636"/>
                    <a:pt x="83104" y="1909"/>
                  </a:cubicBezTo>
                  <a:lnTo>
                    <a:pt x="83104" y="14012"/>
                  </a:lnTo>
                  <a:cubicBezTo>
                    <a:pt x="83104" y="15298"/>
                    <a:pt x="82463" y="15941"/>
                    <a:pt x="81183" y="15941"/>
                  </a:cubicBezTo>
                  <a:lnTo>
                    <a:pt x="18555" y="15941"/>
                  </a:lnTo>
                  <a:cubicBezTo>
                    <a:pt x="17782" y="15941"/>
                    <a:pt x="17406" y="16328"/>
                    <a:pt x="17406" y="17096"/>
                  </a:cubicBezTo>
                  <a:lnTo>
                    <a:pt x="17406" y="55505"/>
                  </a:lnTo>
                  <a:cubicBezTo>
                    <a:pt x="17406" y="56272"/>
                    <a:pt x="17782" y="56646"/>
                    <a:pt x="18555" y="56646"/>
                  </a:cubicBezTo>
                  <a:lnTo>
                    <a:pt x="71698" y="56646"/>
                  </a:lnTo>
                  <a:cubicBezTo>
                    <a:pt x="72991" y="56646"/>
                    <a:pt x="73645" y="57289"/>
                    <a:pt x="73645" y="58575"/>
                  </a:cubicBezTo>
                  <a:lnTo>
                    <a:pt x="73645" y="70678"/>
                  </a:lnTo>
                  <a:cubicBezTo>
                    <a:pt x="73645" y="71964"/>
                    <a:pt x="72991" y="72600"/>
                    <a:pt x="71698" y="72600"/>
                  </a:cubicBezTo>
                  <a:lnTo>
                    <a:pt x="18555" y="72600"/>
                  </a:lnTo>
                  <a:cubicBezTo>
                    <a:pt x="17782" y="72600"/>
                    <a:pt x="17406" y="72981"/>
                    <a:pt x="17406" y="73748"/>
                  </a:cubicBezTo>
                  <a:lnTo>
                    <a:pt x="17406" y="113509"/>
                  </a:lnTo>
                  <a:cubicBezTo>
                    <a:pt x="17406" y="114283"/>
                    <a:pt x="17782" y="114670"/>
                    <a:pt x="18555" y="114670"/>
                  </a:cubicBezTo>
                  <a:lnTo>
                    <a:pt x="81183" y="114670"/>
                  </a:lnTo>
                  <a:cubicBezTo>
                    <a:pt x="82463" y="114670"/>
                    <a:pt x="83104" y="115313"/>
                    <a:pt x="83104" y="116599"/>
                  </a:cubicBezTo>
                  <a:lnTo>
                    <a:pt x="83104" y="128682"/>
                  </a:lnTo>
                  <a:cubicBezTo>
                    <a:pt x="83104" y="129961"/>
                    <a:pt x="82463" y="130604"/>
                    <a:pt x="81183" y="130604"/>
                  </a:cubicBezTo>
                  <a:lnTo>
                    <a:pt x="1947" y="130604"/>
                  </a:lnTo>
                  <a:cubicBezTo>
                    <a:pt x="653" y="130604"/>
                    <a:pt x="0" y="129961"/>
                    <a:pt x="0" y="128682"/>
                  </a:cubicBezTo>
                  <a:lnTo>
                    <a:pt x="0" y="1909"/>
                  </a:lnTo>
                  <a:close/>
                </a:path>
              </a:pathLst>
            </a:custGeom>
            <a:solidFill>
              <a:schemeClr val="bg2"/>
            </a:solidFill>
            <a:ln w="7" cap="flat">
              <a:noFill/>
              <a:prstDash val="solid"/>
              <a:miter/>
            </a:ln>
          </p:spPr>
          <p:txBody>
            <a:bodyPr rtlCol="0" anchor="ctr"/>
            <a:lstStyle/>
            <a:p>
              <a:endParaRPr lang="de-DE"/>
            </a:p>
          </p:txBody>
        </p:sp>
        <p:sp>
          <p:nvSpPr>
            <p:cNvPr id="13" name="Freeform: Shape 12">
              <a:extLst>
                <a:ext uri="{FF2B5EF4-FFF2-40B4-BE49-F238E27FC236}">
                  <a16:creationId xmlns:a16="http://schemas.microsoft.com/office/drawing/2014/main" id="{B239D41D-A5B7-4DAC-9ADB-05FA42188E65}"/>
                </a:ext>
              </a:extLst>
            </p:cNvPr>
            <p:cNvSpPr/>
            <p:nvPr/>
          </p:nvSpPr>
          <p:spPr>
            <a:xfrm>
              <a:off x="1622869" y="386842"/>
              <a:ext cx="89457" cy="134835"/>
            </a:xfrm>
            <a:custGeom>
              <a:avLst/>
              <a:gdLst>
                <a:gd name="connsiteX0" fmla="*/ 3485 w 89457"/>
                <a:gd name="connsiteY0" fmla="*/ 104102 h 134835"/>
                <a:gd name="connsiteX1" fmla="*/ 1835 w 89457"/>
                <a:gd name="connsiteY1" fmla="*/ 98250 h 134835"/>
                <a:gd name="connsiteX2" fmla="*/ 779 w 89457"/>
                <a:gd name="connsiteY2" fmla="*/ 91146 h 134835"/>
                <a:gd name="connsiteX3" fmla="*/ 178 w 89457"/>
                <a:gd name="connsiteY3" fmla="*/ 81246 h 134835"/>
                <a:gd name="connsiteX4" fmla="*/ 0 w 89457"/>
                <a:gd name="connsiteY4" fmla="*/ 67424 h 134835"/>
                <a:gd name="connsiteX5" fmla="*/ 178 w 89457"/>
                <a:gd name="connsiteY5" fmla="*/ 53589 h 134835"/>
                <a:gd name="connsiteX6" fmla="*/ 779 w 89457"/>
                <a:gd name="connsiteY6" fmla="*/ 43690 h 134835"/>
                <a:gd name="connsiteX7" fmla="*/ 1835 w 89457"/>
                <a:gd name="connsiteY7" fmla="*/ 36579 h 134835"/>
                <a:gd name="connsiteX8" fmla="*/ 3485 w 89457"/>
                <a:gd name="connsiteY8" fmla="*/ 30734 h 134835"/>
                <a:gd name="connsiteX9" fmla="*/ 19717 w 89457"/>
                <a:gd name="connsiteY9" fmla="*/ 7583 h 134835"/>
                <a:gd name="connsiteX10" fmla="*/ 47143 w 89457"/>
                <a:gd name="connsiteY10" fmla="*/ 0 h 134835"/>
                <a:gd name="connsiteX11" fmla="*/ 72760 w 89457"/>
                <a:gd name="connsiteY11" fmla="*/ 6829 h 134835"/>
                <a:gd name="connsiteX12" fmla="*/ 89289 w 89457"/>
                <a:gd name="connsiteY12" fmla="*/ 26306 h 134835"/>
                <a:gd name="connsiteX13" fmla="*/ 88516 w 89457"/>
                <a:gd name="connsiteY13" fmla="*/ 28805 h 134835"/>
                <a:gd name="connsiteX14" fmla="*/ 76912 w 89457"/>
                <a:gd name="connsiteY14" fmla="*/ 34381 h 134835"/>
                <a:gd name="connsiteX15" fmla="*/ 74206 w 89457"/>
                <a:gd name="connsiteY15" fmla="*/ 33410 h 134835"/>
                <a:gd name="connsiteX16" fmla="*/ 63988 w 89457"/>
                <a:gd name="connsiteY16" fmla="*/ 20841 h 134835"/>
                <a:gd name="connsiteX17" fmla="*/ 47143 w 89457"/>
                <a:gd name="connsiteY17" fmla="*/ 15948 h 134835"/>
                <a:gd name="connsiteX18" fmla="*/ 29769 w 89457"/>
                <a:gd name="connsiteY18" fmla="*/ 20946 h 134835"/>
                <a:gd name="connsiteX19" fmla="*/ 19915 w 89457"/>
                <a:gd name="connsiteY19" fmla="*/ 35142 h 134835"/>
                <a:gd name="connsiteX20" fmla="*/ 18852 w 89457"/>
                <a:gd name="connsiteY20" fmla="*/ 39662 h 134835"/>
                <a:gd name="connsiteX21" fmla="*/ 18066 w 89457"/>
                <a:gd name="connsiteY21" fmla="*/ 45619 h 134835"/>
                <a:gd name="connsiteX22" fmla="*/ 17591 w 89457"/>
                <a:gd name="connsiteY22" fmla="*/ 54455 h 134835"/>
                <a:gd name="connsiteX23" fmla="*/ 17400 w 89457"/>
                <a:gd name="connsiteY23" fmla="*/ 67424 h 134835"/>
                <a:gd name="connsiteX24" fmla="*/ 17591 w 89457"/>
                <a:gd name="connsiteY24" fmla="*/ 80380 h 134835"/>
                <a:gd name="connsiteX25" fmla="*/ 18066 w 89457"/>
                <a:gd name="connsiteY25" fmla="*/ 89217 h 134835"/>
                <a:gd name="connsiteX26" fmla="*/ 18852 w 89457"/>
                <a:gd name="connsiteY26" fmla="*/ 95272 h 134835"/>
                <a:gd name="connsiteX27" fmla="*/ 19915 w 89457"/>
                <a:gd name="connsiteY27" fmla="*/ 99693 h 134835"/>
                <a:gd name="connsiteX28" fmla="*/ 29769 w 89457"/>
                <a:gd name="connsiteY28" fmla="*/ 113902 h 134835"/>
                <a:gd name="connsiteX29" fmla="*/ 47143 w 89457"/>
                <a:gd name="connsiteY29" fmla="*/ 118901 h 134835"/>
                <a:gd name="connsiteX30" fmla="*/ 63988 w 89457"/>
                <a:gd name="connsiteY30" fmla="*/ 114001 h 134835"/>
                <a:gd name="connsiteX31" fmla="*/ 74206 w 89457"/>
                <a:gd name="connsiteY31" fmla="*/ 101412 h 134835"/>
                <a:gd name="connsiteX32" fmla="*/ 76912 w 89457"/>
                <a:gd name="connsiteY32" fmla="*/ 100461 h 134835"/>
                <a:gd name="connsiteX33" fmla="*/ 88516 w 89457"/>
                <a:gd name="connsiteY33" fmla="*/ 106030 h 134835"/>
                <a:gd name="connsiteX34" fmla="*/ 89289 w 89457"/>
                <a:gd name="connsiteY34" fmla="*/ 108530 h 134835"/>
                <a:gd name="connsiteX35" fmla="*/ 72760 w 89457"/>
                <a:gd name="connsiteY35" fmla="*/ 128013 h 134835"/>
                <a:gd name="connsiteX36" fmla="*/ 47143 w 89457"/>
                <a:gd name="connsiteY36" fmla="*/ 134836 h 134835"/>
                <a:gd name="connsiteX37" fmla="*/ 19717 w 89457"/>
                <a:gd name="connsiteY37" fmla="*/ 127246 h 134835"/>
                <a:gd name="connsiteX38" fmla="*/ 3485 w 89457"/>
                <a:gd name="connsiteY38" fmla="*/ 104102 h 134835"/>
                <a:gd name="connsiteX39" fmla="*/ 3485 w 89457"/>
                <a:gd name="connsiteY39" fmla="*/ 104102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9457" h="134835">
                  <a:moveTo>
                    <a:pt x="3485" y="104102"/>
                  </a:moveTo>
                  <a:cubicBezTo>
                    <a:pt x="2825" y="102180"/>
                    <a:pt x="2284" y="100238"/>
                    <a:pt x="1835" y="98250"/>
                  </a:cubicBezTo>
                  <a:cubicBezTo>
                    <a:pt x="1373" y="96275"/>
                    <a:pt x="1036" y="93894"/>
                    <a:pt x="779" y="91146"/>
                  </a:cubicBezTo>
                  <a:cubicBezTo>
                    <a:pt x="521" y="88390"/>
                    <a:pt x="323" y="85091"/>
                    <a:pt x="178" y="81246"/>
                  </a:cubicBezTo>
                  <a:cubicBezTo>
                    <a:pt x="59" y="77415"/>
                    <a:pt x="0" y="72804"/>
                    <a:pt x="0" y="67424"/>
                  </a:cubicBezTo>
                  <a:cubicBezTo>
                    <a:pt x="0" y="62039"/>
                    <a:pt x="59" y="57427"/>
                    <a:pt x="178" y="53589"/>
                  </a:cubicBezTo>
                  <a:cubicBezTo>
                    <a:pt x="323" y="49745"/>
                    <a:pt x="515" y="46452"/>
                    <a:pt x="779" y="43690"/>
                  </a:cubicBezTo>
                  <a:cubicBezTo>
                    <a:pt x="1036" y="40941"/>
                    <a:pt x="1373" y="38580"/>
                    <a:pt x="1835" y="36579"/>
                  </a:cubicBezTo>
                  <a:cubicBezTo>
                    <a:pt x="2284" y="34598"/>
                    <a:pt x="2825" y="32643"/>
                    <a:pt x="3485" y="30734"/>
                  </a:cubicBezTo>
                  <a:cubicBezTo>
                    <a:pt x="6819" y="20362"/>
                    <a:pt x="12244" y="12641"/>
                    <a:pt x="19717" y="7583"/>
                  </a:cubicBezTo>
                  <a:cubicBezTo>
                    <a:pt x="27189" y="2532"/>
                    <a:pt x="36344" y="0"/>
                    <a:pt x="47143" y="0"/>
                  </a:cubicBezTo>
                  <a:cubicBezTo>
                    <a:pt x="56945" y="0"/>
                    <a:pt x="65493" y="2270"/>
                    <a:pt x="72760" y="6829"/>
                  </a:cubicBezTo>
                  <a:cubicBezTo>
                    <a:pt x="80054" y="11362"/>
                    <a:pt x="85553" y="17856"/>
                    <a:pt x="89289" y="26306"/>
                  </a:cubicBezTo>
                  <a:cubicBezTo>
                    <a:pt x="89665" y="27460"/>
                    <a:pt x="89414" y="28307"/>
                    <a:pt x="88516" y="28805"/>
                  </a:cubicBezTo>
                  <a:lnTo>
                    <a:pt x="76912" y="34381"/>
                  </a:lnTo>
                  <a:cubicBezTo>
                    <a:pt x="75638" y="35024"/>
                    <a:pt x="74727" y="34696"/>
                    <a:pt x="74206" y="33410"/>
                  </a:cubicBezTo>
                  <a:cubicBezTo>
                    <a:pt x="71625" y="28307"/>
                    <a:pt x="68232" y="24115"/>
                    <a:pt x="63988" y="20841"/>
                  </a:cubicBezTo>
                  <a:cubicBezTo>
                    <a:pt x="59730" y="17574"/>
                    <a:pt x="54120" y="15948"/>
                    <a:pt x="47143" y="15948"/>
                  </a:cubicBezTo>
                  <a:cubicBezTo>
                    <a:pt x="39941" y="15948"/>
                    <a:pt x="34146" y="17607"/>
                    <a:pt x="29769" y="20946"/>
                  </a:cubicBezTo>
                  <a:cubicBezTo>
                    <a:pt x="25380" y="24272"/>
                    <a:pt x="22106" y="29002"/>
                    <a:pt x="19915" y="35142"/>
                  </a:cubicBezTo>
                  <a:cubicBezTo>
                    <a:pt x="19518" y="36553"/>
                    <a:pt x="19169" y="38068"/>
                    <a:pt x="18852" y="39662"/>
                  </a:cubicBezTo>
                  <a:cubicBezTo>
                    <a:pt x="18528" y="41263"/>
                    <a:pt x="18271" y="43250"/>
                    <a:pt x="18066" y="45619"/>
                  </a:cubicBezTo>
                  <a:cubicBezTo>
                    <a:pt x="17895" y="47987"/>
                    <a:pt x="17710" y="50932"/>
                    <a:pt x="17591" y="54455"/>
                  </a:cubicBezTo>
                  <a:cubicBezTo>
                    <a:pt x="17452" y="57978"/>
                    <a:pt x="17400" y="62288"/>
                    <a:pt x="17400" y="67424"/>
                  </a:cubicBezTo>
                  <a:cubicBezTo>
                    <a:pt x="17400" y="72541"/>
                    <a:pt x="17452" y="76864"/>
                    <a:pt x="17591" y="80380"/>
                  </a:cubicBezTo>
                  <a:cubicBezTo>
                    <a:pt x="17710" y="83910"/>
                    <a:pt x="17895" y="86849"/>
                    <a:pt x="18066" y="89217"/>
                  </a:cubicBezTo>
                  <a:cubicBezTo>
                    <a:pt x="18271" y="91585"/>
                    <a:pt x="18528" y="93612"/>
                    <a:pt x="18852" y="95272"/>
                  </a:cubicBezTo>
                  <a:cubicBezTo>
                    <a:pt x="19169" y="96938"/>
                    <a:pt x="19518" y="98408"/>
                    <a:pt x="19915" y="99693"/>
                  </a:cubicBezTo>
                  <a:cubicBezTo>
                    <a:pt x="22106" y="105833"/>
                    <a:pt x="25373" y="110576"/>
                    <a:pt x="29769" y="113902"/>
                  </a:cubicBezTo>
                  <a:cubicBezTo>
                    <a:pt x="34146" y="117241"/>
                    <a:pt x="39941" y="118901"/>
                    <a:pt x="47143" y="118901"/>
                  </a:cubicBezTo>
                  <a:cubicBezTo>
                    <a:pt x="54120" y="118901"/>
                    <a:pt x="59730" y="117268"/>
                    <a:pt x="63988" y="114001"/>
                  </a:cubicBezTo>
                  <a:cubicBezTo>
                    <a:pt x="68232" y="110734"/>
                    <a:pt x="71625" y="106542"/>
                    <a:pt x="74206" y="101412"/>
                  </a:cubicBezTo>
                  <a:cubicBezTo>
                    <a:pt x="74727" y="100146"/>
                    <a:pt x="75638" y="99824"/>
                    <a:pt x="76912" y="100461"/>
                  </a:cubicBezTo>
                  <a:lnTo>
                    <a:pt x="88516" y="106030"/>
                  </a:lnTo>
                  <a:cubicBezTo>
                    <a:pt x="89414" y="106542"/>
                    <a:pt x="89665" y="107369"/>
                    <a:pt x="89289" y="108530"/>
                  </a:cubicBezTo>
                  <a:cubicBezTo>
                    <a:pt x="85553" y="116979"/>
                    <a:pt x="80048" y="123480"/>
                    <a:pt x="72760" y="128013"/>
                  </a:cubicBezTo>
                  <a:cubicBezTo>
                    <a:pt x="65493" y="132566"/>
                    <a:pt x="56945" y="134836"/>
                    <a:pt x="47143" y="134836"/>
                  </a:cubicBezTo>
                  <a:cubicBezTo>
                    <a:pt x="36344" y="134836"/>
                    <a:pt x="27189" y="132303"/>
                    <a:pt x="19717" y="127246"/>
                  </a:cubicBezTo>
                  <a:cubicBezTo>
                    <a:pt x="12244" y="122194"/>
                    <a:pt x="6819" y="114486"/>
                    <a:pt x="3485" y="104102"/>
                  </a:cubicBezTo>
                  <a:lnTo>
                    <a:pt x="3485" y="104102"/>
                  </a:lnTo>
                  <a:close/>
                </a:path>
              </a:pathLst>
            </a:custGeom>
            <a:solidFill>
              <a:schemeClr val="bg2"/>
            </a:solidFill>
            <a:ln w="7" cap="flat">
              <a:noFill/>
              <a:prstDash val="solid"/>
              <a:miter/>
            </a:ln>
          </p:spPr>
          <p:txBody>
            <a:bodyPr rtlCol="0" anchor="ctr"/>
            <a:lstStyle/>
            <a:p>
              <a:endParaRPr lang="de-DE"/>
            </a:p>
          </p:txBody>
        </p:sp>
        <p:sp>
          <p:nvSpPr>
            <p:cNvPr id="15" name="Freeform: Shape 14">
              <a:extLst>
                <a:ext uri="{FF2B5EF4-FFF2-40B4-BE49-F238E27FC236}">
                  <a16:creationId xmlns:a16="http://schemas.microsoft.com/office/drawing/2014/main" id="{F655AC36-E88B-4174-99B9-552F3D5CA6E2}"/>
                </a:ext>
              </a:extLst>
            </p:cNvPr>
            <p:cNvSpPr/>
            <p:nvPr/>
          </p:nvSpPr>
          <p:spPr>
            <a:xfrm>
              <a:off x="1738825" y="388961"/>
              <a:ext cx="97302" cy="130604"/>
            </a:xfrm>
            <a:custGeom>
              <a:avLst/>
              <a:gdLst>
                <a:gd name="connsiteX0" fmla="*/ 0 w 97302"/>
                <a:gd name="connsiteY0" fmla="*/ 1909 h 130604"/>
                <a:gd name="connsiteX1" fmla="*/ 1947 w 97302"/>
                <a:gd name="connsiteY1" fmla="*/ 0 h 130604"/>
                <a:gd name="connsiteX2" fmla="*/ 15439 w 97302"/>
                <a:gd name="connsiteY2" fmla="*/ 0 h 130604"/>
                <a:gd name="connsiteX3" fmla="*/ 17413 w 97302"/>
                <a:gd name="connsiteY3" fmla="*/ 1909 h 130604"/>
                <a:gd name="connsiteX4" fmla="*/ 17413 w 97302"/>
                <a:gd name="connsiteY4" fmla="*/ 69911 h 130604"/>
                <a:gd name="connsiteX5" fmla="*/ 73051 w 97302"/>
                <a:gd name="connsiteY5" fmla="*/ 1725 h 130604"/>
                <a:gd name="connsiteX6" fmla="*/ 76153 w 97302"/>
                <a:gd name="connsiteY6" fmla="*/ 0 h 130604"/>
                <a:gd name="connsiteX7" fmla="*/ 92002 w 97302"/>
                <a:gd name="connsiteY7" fmla="*/ 0 h 130604"/>
                <a:gd name="connsiteX8" fmla="*/ 93256 w 97302"/>
                <a:gd name="connsiteY8" fmla="*/ 669 h 130604"/>
                <a:gd name="connsiteX9" fmla="*/ 92774 w 97302"/>
                <a:gd name="connsiteY9" fmla="*/ 2296 h 130604"/>
                <a:gd name="connsiteX10" fmla="*/ 51796 w 97302"/>
                <a:gd name="connsiteY10" fmla="*/ 51280 h 130604"/>
                <a:gd name="connsiteX11" fmla="*/ 96833 w 97302"/>
                <a:gd name="connsiteY11" fmla="*/ 128485 h 130604"/>
                <a:gd name="connsiteX12" fmla="*/ 95678 w 97302"/>
                <a:gd name="connsiteY12" fmla="*/ 130604 h 130604"/>
                <a:gd name="connsiteX13" fmla="*/ 80206 w 97302"/>
                <a:gd name="connsiteY13" fmla="*/ 130604 h 130604"/>
                <a:gd name="connsiteX14" fmla="*/ 77500 w 97302"/>
                <a:gd name="connsiteY14" fmla="*/ 128872 h 130604"/>
                <a:gd name="connsiteX15" fmla="*/ 40714 w 97302"/>
                <a:gd name="connsiteY15" fmla="*/ 64531 h 130604"/>
                <a:gd name="connsiteX16" fmla="*/ 17413 w 97302"/>
                <a:gd name="connsiteY16" fmla="*/ 92582 h 130604"/>
                <a:gd name="connsiteX17" fmla="*/ 17413 w 97302"/>
                <a:gd name="connsiteY17" fmla="*/ 128682 h 130604"/>
                <a:gd name="connsiteX18" fmla="*/ 15439 w 97302"/>
                <a:gd name="connsiteY18" fmla="*/ 130604 h 130604"/>
                <a:gd name="connsiteX19" fmla="*/ 1947 w 97302"/>
                <a:gd name="connsiteY19" fmla="*/ 130604 h 130604"/>
                <a:gd name="connsiteX20" fmla="*/ 0 w 97302"/>
                <a:gd name="connsiteY20" fmla="*/ 128682 h 130604"/>
                <a:gd name="connsiteX21" fmla="*/ 0 w 97302"/>
                <a:gd name="connsiteY21"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302" h="130604">
                  <a:moveTo>
                    <a:pt x="0" y="1909"/>
                  </a:moveTo>
                  <a:cubicBezTo>
                    <a:pt x="0" y="636"/>
                    <a:pt x="653" y="0"/>
                    <a:pt x="1947" y="0"/>
                  </a:cubicBezTo>
                  <a:lnTo>
                    <a:pt x="15439" y="0"/>
                  </a:lnTo>
                  <a:cubicBezTo>
                    <a:pt x="16753" y="0"/>
                    <a:pt x="17413" y="636"/>
                    <a:pt x="17413" y="1909"/>
                  </a:cubicBezTo>
                  <a:lnTo>
                    <a:pt x="17413" y="69911"/>
                  </a:lnTo>
                  <a:lnTo>
                    <a:pt x="73051" y="1725"/>
                  </a:lnTo>
                  <a:cubicBezTo>
                    <a:pt x="73823" y="571"/>
                    <a:pt x="74859" y="0"/>
                    <a:pt x="76153" y="0"/>
                  </a:cubicBezTo>
                  <a:lnTo>
                    <a:pt x="92002" y="0"/>
                  </a:lnTo>
                  <a:cubicBezTo>
                    <a:pt x="92642" y="0"/>
                    <a:pt x="93058" y="223"/>
                    <a:pt x="93256" y="669"/>
                  </a:cubicBezTo>
                  <a:cubicBezTo>
                    <a:pt x="93454" y="1122"/>
                    <a:pt x="93276" y="1666"/>
                    <a:pt x="92774" y="2296"/>
                  </a:cubicBezTo>
                  <a:lnTo>
                    <a:pt x="51796" y="51280"/>
                  </a:lnTo>
                  <a:lnTo>
                    <a:pt x="96833" y="128485"/>
                  </a:lnTo>
                  <a:cubicBezTo>
                    <a:pt x="97724" y="129909"/>
                    <a:pt x="97348" y="130604"/>
                    <a:pt x="95678" y="130604"/>
                  </a:cubicBezTo>
                  <a:lnTo>
                    <a:pt x="80206" y="130604"/>
                  </a:lnTo>
                  <a:cubicBezTo>
                    <a:pt x="79057" y="130604"/>
                    <a:pt x="78140" y="130034"/>
                    <a:pt x="77500" y="128872"/>
                  </a:cubicBezTo>
                  <a:lnTo>
                    <a:pt x="40714" y="64531"/>
                  </a:lnTo>
                  <a:lnTo>
                    <a:pt x="17413" y="92582"/>
                  </a:lnTo>
                  <a:lnTo>
                    <a:pt x="17413" y="128682"/>
                  </a:lnTo>
                  <a:cubicBezTo>
                    <a:pt x="17413" y="129961"/>
                    <a:pt x="16753" y="130604"/>
                    <a:pt x="15439" y="130604"/>
                  </a:cubicBezTo>
                  <a:lnTo>
                    <a:pt x="1947" y="130604"/>
                  </a:lnTo>
                  <a:cubicBezTo>
                    <a:pt x="653" y="130604"/>
                    <a:pt x="0" y="129961"/>
                    <a:pt x="0" y="128682"/>
                  </a:cubicBezTo>
                  <a:lnTo>
                    <a:pt x="0" y="1909"/>
                  </a:lnTo>
                  <a:close/>
                </a:path>
              </a:pathLst>
            </a:custGeom>
            <a:solidFill>
              <a:schemeClr val="bg2"/>
            </a:solidFill>
            <a:ln w="7" cap="flat">
              <a:noFill/>
              <a:prstDash val="solid"/>
              <a:miter/>
            </a:ln>
          </p:spPr>
          <p:txBody>
            <a:bodyPr rtlCol="0" anchor="ctr"/>
            <a:lstStyle/>
            <a:p>
              <a:endParaRPr lang="de-DE"/>
            </a:p>
          </p:txBody>
        </p:sp>
        <p:sp>
          <p:nvSpPr>
            <p:cNvPr id="16" name="Freeform: Shape 15">
              <a:extLst>
                <a:ext uri="{FF2B5EF4-FFF2-40B4-BE49-F238E27FC236}">
                  <a16:creationId xmlns:a16="http://schemas.microsoft.com/office/drawing/2014/main" id="{01751F80-CEDD-440D-843E-A3816B652BFA}"/>
                </a:ext>
              </a:extLst>
            </p:cNvPr>
            <p:cNvSpPr/>
            <p:nvPr/>
          </p:nvSpPr>
          <p:spPr>
            <a:xfrm>
              <a:off x="1859811" y="388961"/>
              <a:ext cx="83123" cy="130604"/>
            </a:xfrm>
            <a:custGeom>
              <a:avLst/>
              <a:gdLst>
                <a:gd name="connsiteX0" fmla="*/ 0 w 83123"/>
                <a:gd name="connsiteY0" fmla="*/ 1909 h 130604"/>
                <a:gd name="connsiteX1" fmla="*/ 1947 w 83123"/>
                <a:gd name="connsiteY1" fmla="*/ 0 h 130604"/>
                <a:gd name="connsiteX2" fmla="*/ 81190 w 83123"/>
                <a:gd name="connsiteY2" fmla="*/ 0 h 130604"/>
                <a:gd name="connsiteX3" fmla="*/ 83124 w 83123"/>
                <a:gd name="connsiteY3" fmla="*/ 1909 h 130604"/>
                <a:gd name="connsiteX4" fmla="*/ 83124 w 83123"/>
                <a:gd name="connsiteY4" fmla="*/ 14012 h 130604"/>
                <a:gd name="connsiteX5" fmla="*/ 81190 w 83123"/>
                <a:gd name="connsiteY5" fmla="*/ 15941 h 130604"/>
                <a:gd name="connsiteX6" fmla="*/ 18555 w 83123"/>
                <a:gd name="connsiteY6" fmla="*/ 15941 h 130604"/>
                <a:gd name="connsiteX7" fmla="*/ 17406 w 83123"/>
                <a:gd name="connsiteY7" fmla="*/ 17096 h 130604"/>
                <a:gd name="connsiteX8" fmla="*/ 17406 w 83123"/>
                <a:gd name="connsiteY8" fmla="*/ 55505 h 130604"/>
                <a:gd name="connsiteX9" fmla="*/ 18555 w 83123"/>
                <a:gd name="connsiteY9" fmla="*/ 56646 h 130604"/>
                <a:gd name="connsiteX10" fmla="*/ 71704 w 83123"/>
                <a:gd name="connsiteY10" fmla="*/ 56646 h 130604"/>
                <a:gd name="connsiteX11" fmla="*/ 73658 w 83123"/>
                <a:gd name="connsiteY11" fmla="*/ 58575 h 130604"/>
                <a:gd name="connsiteX12" fmla="*/ 73658 w 83123"/>
                <a:gd name="connsiteY12" fmla="*/ 70678 h 130604"/>
                <a:gd name="connsiteX13" fmla="*/ 71704 w 83123"/>
                <a:gd name="connsiteY13" fmla="*/ 72600 h 130604"/>
                <a:gd name="connsiteX14" fmla="*/ 18555 w 83123"/>
                <a:gd name="connsiteY14" fmla="*/ 72600 h 130604"/>
                <a:gd name="connsiteX15" fmla="*/ 17406 w 83123"/>
                <a:gd name="connsiteY15" fmla="*/ 73748 h 130604"/>
                <a:gd name="connsiteX16" fmla="*/ 17406 w 83123"/>
                <a:gd name="connsiteY16" fmla="*/ 113509 h 130604"/>
                <a:gd name="connsiteX17" fmla="*/ 18555 w 83123"/>
                <a:gd name="connsiteY17" fmla="*/ 114670 h 130604"/>
                <a:gd name="connsiteX18" fmla="*/ 81190 w 83123"/>
                <a:gd name="connsiteY18" fmla="*/ 114670 h 130604"/>
                <a:gd name="connsiteX19" fmla="*/ 83124 w 83123"/>
                <a:gd name="connsiteY19" fmla="*/ 116599 h 130604"/>
                <a:gd name="connsiteX20" fmla="*/ 83124 w 83123"/>
                <a:gd name="connsiteY20" fmla="*/ 128682 h 130604"/>
                <a:gd name="connsiteX21" fmla="*/ 81190 w 83123"/>
                <a:gd name="connsiteY21" fmla="*/ 130604 h 130604"/>
                <a:gd name="connsiteX22" fmla="*/ 1954 w 83123"/>
                <a:gd name="connsiteY22" fmla="*/ 130604 h 130604"/>
                <a:gd name="connsiteX23" fmla="*/ 0 w 83123"/>
                <a:gd name="connsiteY23" fmla="*/ 128682 h 130604"/>
                <a:gd name="connsiteX24" fmla="*/ 0 w 83123"/>
                <a:gd name="connsiteY24"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23" h="130604">
                  <a:moveTo>
                    <a:pt x="0" y="1909"/>
                  </a:moveTo>
                  <a:cubicBezTo>
                    <a:pt x="0" y="636"/>
                    <a:pt x="660" y="0"/>
                    <a:pt x="1947" y="0"/>
                  </a:cubicBezTo>
                  <a:lnTo>
                    <a:pt x="81190" y="0"/>
                  </a:lnTo>
                  <a:cubicBezTo>
                    <a:pt x="82483" y="0"/>
                    <a:pt x="83124" y="636"/>
                    <a:pt x="83124" y="1909"/>
                  </a:cubicBezTo>
                  <a:lnTo>
                    <a:pt x="83124" y="14012"/>
                  </a:lnTo>
                  <a:cubicBezTo>
                    <a:pt x="83124" y="15298"/>
                    <a:pt x="82483" y="15941"/>
                    <a:pt x="81190" y="15941"/>
                  </a:cubicBezTo>
                  <a:lnTo>
                    <a:pt x="18555" y="15941"/>
                  </a:lnTo>
                  <a:cubicBezTo>
                    <a:pt x="17782" y="15941"/>
                    <a:pt x="17406" y="16328"/>
                    <a:pt x="17406" y="17096"/>
                  </a:cubicBezTo>
                  <a:lnTo>
                    <a:pt x="17406" y="55505"/>
                  </a:lnTo>
                  <a:cubicBezTo>
                    <a:pt x="17406" y="56272"/>
                    <a:pt x="17782" y="56646"/>
                    <a:pt x="18555" y="56646"/>
                  </a:cubicBezTo>
                  <a:lnTo>
                    <a:pt x="71704" y="56646"/>
                  </a:lnTo>
                  <a:cubicBezTo>
                    <a:pt x="73005" y="56646"/>
                    <a:pt x="73658" y="57289"/>
                    <a:pt x="73658" y="58575"/>
                  </a:cubicBezTo>
                  <a:lnTo>
                    <a:pt x="73658" y="70678"/>
                  </a:lnTo>
                  <a:cubicBezTo>
                    <a:pt x="73658" y="71964"/>
                    <a:pt x="72998" y="72600"/>
                    <a:pt x="71704" y="72600"/>
                  </a:cubicBezTo>
                  <a:lnTo>
                    <a:pt x="18555" y="72600"/>
                  </a:lnTo>
                  <a:cubicBezTo>
                    <a:pt x="17782" y="72600"/>
                    <a:pt x="17406" y="72981"/>
                    <a:pt x="17406" y="73748"/>
                  </a:cubicBezTo>
                  <a:lnTo>
                    <a:pt x="17406" y="113509"/>
                  </a:lnTo>
                  <a:cubicBezTo>
                    <a:pt x="17406" y="114283"/>
                    <a:pt x="17782" y="114670"/>
                    <a:pt x="18555" y="114670"/>
                  </a:cubicBezTo>
                  <a:lnTo>
                    <a:pt x="81190" y="114670"/>
                  </a:lnTo>
                  <a:cubicBezTo>
                    <a:pt x="82483" y="114670"/>
                    <a:pt x="83124" y="115313"/>
                    <a:pt x="83124" y="116599"/>
                  </a:cubicBezTo>
                  <a:lnTo>
                    <a:pt x="83124" y="128682"/>
                  </a:lnTo>
                  <a:cubicBezTo>
                    <a:pt x="83124" y="129961"/>
                    <a:pt x="82483" y="130604"/>
                    <a:pt x="81190" y="130604"/>
                  </a:cubicBezTo>
                  <a:lnTo>
                    <a:pt x="1954" y="130604"/>
                  </a:lnTo>
                  <a:cubicBezTo>
                    <a:pt x="660" y="130604"/>
                    <a:pt x="0" y="129961"/>
                    <a:pt x="0" y="128682"/>
                  </a:cubicBezTo>
                  <a:lnTo>
                    <a:pt x="0" y="1909"/>
                  </a:lnTo>
                  <a:close/>
                </a:path>
              </a:pathLst>
            </a:custGeom>
            <a:solidFill>
              <a:schemeClr val="bg2"/>
            </a:solidFill>
            <a:ln w="7" cap="flat">
              <a:noFill/>
              <a:prstDash val="solid"/>
              <a:miter/>
            </a:ln>
          </p:spPr>
          <p:txBody>
            <a:bodyPr rtlCol="0" anchor="ctr"/>
            <a:lstStyle/>
            <a:p>
              <a:endParaRPr lang="de-DE"/>
            </a:p>
          </p:txBody>
        </p:sp>
        <p:sp>
          <p:nvSpPr>
            <p:cNvPr id="17" name="Freeform: Shape 16">
              <a:extLst>
                <a:ext uri="{FF2B5EF4-FFF2-40B4-BE49-F238E27FC236}">
                  <a16:creationId xmlns:a16="http://schemas.microsoft.com/office/drawing/2014/main" id="{AC2A9024-D9B4-488D-AAA2-465A2C2A3BCF}"/>
                </a:ext>
              </a:extLst>
            </p:cNvPr>
            <p:cNvSpPr/>
            <p:nvPr/>
          </p:nvSpPr>
          <p:spPr>
            <a:xfrm>
              <a:off x="1140883" y="593084"/>
              <a:ext cx="94851" cy="134835"/>
            </a:xfrm>
            <a:custGeom>
              <a:avLst/>
              <a:gdLst>
                <a:gd name="connsiteX0" fmla="*/ 46917 w 94851"/>
                <a:gd name="connsiteY0" fmla="*/ 134836 h 134835"/>
                <a:gd name="connsiteX1" fmla="*/ 33194 w 94851"/>
                <a:gd name="connsiteY1" fmla="*/ 133484 h 134835"/>
                <a:gd name="connsiteX2" fmla="*/ 20434 w 94851"/>
                <a:gd name="connsiteY2" fmla="*/ 129929 h 134835"/>
                <a:gd name="connsiteX3" fmla="*/ 9437 w 94851"/>
                <a:gd name="connsiteY3" fmla="*/ 124753 h 134835"/>
                <a:gd name="connsiteX4" fmla="*/ 724 w 94851"/>
                <a:gd name="connsiteY4" fmla="*/ 118508 h 134835"/>
                <a:gd name="connsiteX5" fmla="*/ 539 w 94851"/>
                <a:gd name="connsiteY5" fmla="*/ 115628 h 134835"/>
                <a:gd name="connsiteX6" fmla="*/ 9048 w 94851"/>
                <a:gd name="connsiteY6" fmla="*/ 105643 h 134835"/>
                <a:gd name="connsiteX7" fmla="*/ 11748 w 94851"/>
                <a:gd name="connsiteY7" fmla="*/ 105446 h 134835"/>
                <a:gd name="connsiteX8" fmla="*/ 27596 w 94851"/>
                <a:gd name="connsiteY8" fmla="*/ 114670 h 134835"/>
                <a:gd name="connsiteX9" fmla="*/ 48468 w 94851"/>
                <a:gd name="connsiteY9" fmla="*/ 118888 h 134835"/>
                <a:gd name="connsiteX10" fmla="*/ 69828 w 94851"/>
                <a:gd name="connsiteY10" fmla="*/ 112748 h 134835"/>
                <a:gd name="connsiteX11" fmla="*/ 77458 w 94851"/>
                <a:gd name="connsiteY11" fmla="*/ 96610 h 134835"/>
                <a:gd name="connsiteX12" fmla="*/ 76105 w 94851"/>
                <a:gd name="connsiteY12" fmla="*/ 88928 h 134835"/>
                <a:gd name="connsiteX13" fmla="*/ 71564 w 94851"/>
                <a:gd name="connsiteY13" fmla="*/ 82781 h 134835"/>
                <a:gd name="connsiteX14" fmla="*/ 63168 w 94851"/>
                <a:gd name="connsiteY14" fmla="*/ 78163 h 134835"/>
                <a:gd name="connsiteX15" fmla="*/ 50012 w 94851"/>
                <a:gd name="connsiteY15" fmla="*/ 75303 h 134835"/>
                <a:gd name="connsiteX16" fmla="*/ 43438 w 94851"/>
                <a:gd name="connsiteY16" fmla="*/ 74326 h 134835"/>
                <a:gd name="connsiteX17" fmla="*/ 4790 w 94851"/>
                <a:gd name="connsiteY17" fmla="*/ 38219 h 134835"/>
                <a:gd name="connsiteX18" fmla="*/ 7781 w 94851"/>
                <a:gd name="connsiteY18" fmla="*/ 22462 h 134835"/>
                <a:gd name="connsiteX19" fmla="*/ 16388 w 94851"/>
                <a:gd name="connsiteY19" fmla="*/ 10371 h 134835"/>
                <a:gd name="connsiteX20" fmla="*/ 29906 w 94851"/>
                <a:gd name="connsiteY20" fmla="*/ 2683 h 134835"/>
                <a:gd name="connsiteX21" fmla="*/ 47689 w 94851"/>
                <a:gd name="connsiteY21" fmla="*/ 0 h 134835"/>
                <a:gd name="connsiteX22" fmla="*/ 69828 w 94851"/>
                <a:gd name="connsiteY22" fmla="*/ 3352 h 134835"/>
                <a:gd name="connsiteX23" fmla="*/ 87703 w 94851"/>
                <a:gd name="connsiteY23" fmla="*/ 12097 h 134835"/>
                <a:gd name="connsiteX24" fmla="*/ 88086 w 94851"/>
                <a:gd name="connsiteY24" fmla="*/ 14786 h 134835"/>
                <a:gd name="connsiteX25" fmla="*/ 81518 w 94851"/>
                <a:gd name="connsiteY25" fmla="*/ 25348 h 134835"/>
                <a:gd name="connsiteX26" fmla="*/ 78811 w 94851"/>
                <a:gd name="connsiteY26" fmla="*/ 25729 h 134835"/>
                <a:gd name="connsiteX27" fmla="*/ 63168 w 94851"/>
                <a:gd name="connsiteY27" fmla="*/ 18329 h 134835"/>
                <a:gd name="connsiteX28" fmla="*/ 47115 w 94851"/>
                <a:gd name="connsiteY28" fmla="*/ 15941 h 134835"/>
                <a:gd name="connsiteX29" fmla="*/ 28553 w 94851"/>
                <a:gd name="connsiteY29" fmla="*/ 21793 h 134835"/>
                <a:gd name="connsiteX30" fmla="*/ 22177 w 94851"/>
                <a:gd name="connsiteY30" fmla="*/ 37064 h 134835"/>
                <a:gd name="connsiteX31" fmla="*/ 28362 w 94851"/>
                <a:gd name="connsiteY31" fmla="*/ 50611 h 134835"/>
                <a:gd name="connsiteX32" fmla="*/ 49821 w 94851"/>
                <a:gd name="connsiteY32" fmla="*/ 58004 h 134835"/>
                <a:gd name="connsiteX33" fmla="*/ 56197 w 94851"/>
                <a:gd name="connsiteY33" fmla="*/ 58968 h 134835"/>
                <a:gd name="connsiteX34" fmla="*/ 85201 w 94851"/>
                <a:gd name="connsiteY34" fmla="*/ 70488 h 134835"/>
                <a:gd name="connsiteX35" fmla="*/ 94851 w 94851"/>
                <a:gd name="connsiteY35" fmla="*/ 95469 h 134835"/>
                <a:gd name="connsiteX36" fmla="*/ 91855 w 94851"/>
                <a:gd name="connsiteY36" fmla="*/ 111311 h 134835"/>
                <a:gd name="connsiteX37" fmla="*/ 82772 w 94851"/>
                <a:gd name="connsiteY37" fmla="*/ 123697 h 134835"/>
                <a:gd name="connsiteX38" fmla="*/ 67702 w 94851"/>
                <a:gd name="connsiteY38" fmla="*/ 131851 h 134835"/>
                <a:gd name="connsiteX39" fmla="*/ 46917 w 94851"/>
                <a:gd name="connsiteY39" fmla="*/ 134836 h 134835"/>
                <a:gd name="connsiteX40" fmla="*/ 46917 w 94851"/>
                <a:gd name="connsiteY40" fmla="*/ 134836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4851" h="134835">
                  <a:moveTo>
                    <a:pt x="46917" y="134836"/>
                  </a:moveTo>
                  <a:cubicBezTo>
                    <a:pt x="42283" y="134836"/>
                    <a:pt x="37715" y="134376"/>
                    <a:pt x="33194" y="133484"/>
                  </a:cubicBezTo>
                  <a:cubicBezTo>
                    <a:pt x="28692" y="132592"/>
                    <a:pt x="24434" y="131405"/>
                    <a:pt x="20434" y="129929"/>
                  </a:cubicBezTo>
                  <a:cubicBezTo>
                    <a:pt x="16461" y="128466"/>
                    <a:pt x="12777" y="126734"/>
                    <a:pt x="9437" y="124753"/>
                  </a:cubicBezTo>
                  <a:cubicBezTo>
                    <a:pt x="6071" y="122772"/>
                    <a:pt x="3173" y="120685"/>
                    <a:pt x="724" y="118508"/>
                  </a:cubicBezTo>
                  <a:cubicBezTo>
                    <a:pt x="-180" y="117615"/>
                    <a:pt x="-233" y="116644"/>
                    <a:pt x="539" y="115628"/>
                  </a:cubicBezTo>
                  <a:lnTo>
                    <a:pt x="9048" y="105643"/>
                  </a:lnTo>
                  <a:cubicBezTo>
                    <a:pt x="9820" y="104738"/>
                    <a:pt x="10711" y="104672"/>
                    <a:pt x="11748" y="105446"/>
                  </a:cubicBezTo>
                  <a:cubicBezTo>
                    <a:pt x="15998" y="108786"/>
                    <a:pt x="21279" y="111856"/>
                    <a:pt x="27596" y="114670"/>
                  </a:cubicBezTo>
                  <a:cubicBezTo>
                    <a:pt x="33900" y="117491"/>
                    <a:pt x="40864" y="118888"/>
                    <a:pt x="48468" y="118888"/>
                  </a:cubicBezTo>
                  <a:cubicBezTo>
                    <a:pt x="57616" y="118888"/>
                    <a:pt x="64732" y="116848"/>
                    <a:pt x="69828" y="112748"/>
                  </a:cubicBezTo>
                  <a:cubicBezTo>
                    <a:pt x="74917" y="108654"/>
                    <a:pt x="77458" y="103275"/>
                    <a:pt x="77458" y="96610"/>
                  </a:cubicBezTo>
                  <a:cubicBezTo>
                    <a:pt x="77458" y="93796"/>
                    <a:pt x="77016" y="91237"/>
                    <a:pt x="76105" y="88928"/>
                  </a:cubicBezTo>
                  <a:cubicBezTo>
                    <a:pt x="75201" y="86626"/>
                    <a:pt x="73689" y="84572"/>
                    <a:pt x="71564" y="82781"/>
                  </a:cubicBezTo>
                  <a:cubicBezTo>
                    <a:pt x="69432" y="80984"/>
                    <a:pt x="66640" y="79449"/>
                    <a:pt x="63168" y="78163"/>
                  </a:cubicBezTo>
                  <a:cubicBezTo>
                    <a:pt x="59676" y="76897"/>
                    <a:pt x="55293" y="75933"/>
                    <a:pt x="50012" y="75303"/>
                  </a:cubicBezTo>
                  <a:lnTo>
                    <a:pt x="43438" y="74326"/>
                  </a:lnTo>
                  <a:cubicBezTo>
                    <a:pt x="17682" y="70868"/>
                    <a:pt x="4790" y="58831"/>
                    <a:pt x="4790" y="38219"/>
                  </a:cubicBezTo>
                  <a:cubicBezTo>
                    <a:pt x="4790" y="32446"/>
                    <a:pt x="5787" y="27198"/>
                    <a:pt x="7781" y="22462"/>
                  </a:cubicBezTo>
                  <a:cubicBezTo>
                    <a:pt x="9781" y="17732"/>
                    <a:pt x="12652" y="13697"/>
                    <a:pt x="16388" y="10371"/>
                  </a:cubicBezTo>
                  <a:cubicBezTo>
                    <a:pt x="20111" y="7039"/>
                    <a:pt x="24626" y="4487"/>
                    <a:pt x="29906" y="2683"/>
                  </a:cubicBezTo>
                  <a:cubicBezTo>
                    <a:pt x="35194" y="899"/>
                    <a:pt x="41128" y="0"/>
                    <a:pt x="47689" y="0"/>
                  </a:cubicBezTo>
                  <a:cubicBezTo>
                    <a:pt x="55418" y="0"/>
                    <a:pt x="62805" y="1122"/>
                    <a:pt x="69828" y="3352"/>
                  </a:cubicBezTo>
                  <a:cubicBezTo>
                    <a:pt x="76851" y="5596"/>
                    <a:pt x="82805" y="8522"/>
                    <a:pt x="87703" y="12097"/>
                  </a:cubicBezTo>
                  <a:cubicBezTo>
                    <a:pt x="88732" y="12858"/>
                    <a:pt x="88864" y="13756"/>
                    <a:pt x="88086" y="14786"/>
                  </a:cubicBezTo>
                  <a:lnTo>
                    <a:pt x="81518" y="25348"/>
                  </a:lnTo>
                  <a:cubicBezTo>
                    <a:pt x="80752" y="26247"/>
                    <a:pt x="79841" y="26371"/>
                    <a:pt x="78811" y="25729"/>
                  </a:cubicBezTo>
                  <a:cubicBezTo>
                    <a:pt x="73405" y="22403"/>
                    <a:pt x="68171" y="19936"/>
                    <a:pt x="63168" y="18329"/>
                  </a:cubicBezTo>
                  <a:cubicBezTo>
                    <a:pt x="58138" y="16741"/>
                    <a:pt x="52785" y="15941"/>
                    <a:pt x="47115" y="15941"/>
                  </a:cubicBezTo>
                  <a:cubicBezTo>
                    <a:pt x="39002" y="15941"/>
                    <a:pt x="32811" y="17889"/>
                    <a:pt x="28553" y="21793"/>
                  </a:cubicBezTo>
                  <a:cubicBezTo>
                    <a:pt x="24309" y="25702"/>
                    <a:pt x="22177" y="30806"/>
                    <a:pt x="22177" y="37064"/>
                  </a:cubicBezTo>
                  <a:cubicBezTo>
                    <a:pt x="22177" y="42568"/>
                    <a:pt x="24230" y="47082"/>
                    <a:pt x="28362" y="50611"/>
                  </a:cubicBezTo>
                  <a:cubicBezTo>
                    <a:pt x="32481" y="54134"/>
                    <a:pt x="39636" y="56587"/>
                    <a:pt x="49821" y="58004"/>
                  </a:cubicBezTo>
                  <a:lnTo>
                    <a:pt x="56197" y="58968"/>
                  </a:lnTo>
                  <a:cubicBezTo>
                    <a:pt x="69082" y="60759"/>
                    <a:pt x="78752" y="64597"/>
                    <a:pt x="85201" y="70488"/>
                  </a:cubicBezTo>
                  <a:cubicBezTo>
                    <a:pt x="91630" y="76385"/>
                    <a:pt x="94851" y="84704"/>
                    <a:pt x="94851" y="95469"/>
                  </a:cubicBezTo>
                  <a:cubicBezTo>
                    <a:pt x="94851" y="101215"/>
                    <a:pt x="93855" y="106503"/>
                    <a:pt x="91855" y="111311"/>
                  </a:cubicBezTo>
                  <a:cubicBezTo>
                    <a:pt x="89861" y="116113"/>
                    <a:pt x="86838" y="120233"/>
                    <a:pt x="82772" y="123697"/>
                  </a:cubicBezTo>
                  <a:cubicBezTo>
                    <a:pt x="78719" y="127147"/>
                    <a:pt x="73689" y="129876"/>
                    <a:pt x="67702" y="131851"/>
                  </a:cubicBezTo>
                  <a:cubicBezTo>
                    <a:pt x="61715" y="133838"/>
                    <a:pt x="54771" y="134836"/>
                    <a:pt x="46917" y="134836"/>
                  </a:cubicBezTo>
                  <a:lnTo>
                    <a:pt x="46917" y="134836"/>
                  </a:lnTo>
                  <a:close/>
                </a:path>
              </a:pathLst>
            </a:custGeom>
            <a:solidFill>
              <a:schemeClr val="bg2"/>
            </a:solidFill>
            <a:ln w="7" cap="flat">
              <a:noFill/>
              <a:prstDash val="solid"/>
              <a:miter/>
            </a:ln>
          </p:spPr>
          <p:txBody>
            <a:bodyPr rtlCol="0" anchor="ctr"/>
            <a:lstStyle/>
            <a:p>
              <a:endParaRPr lang="de-DE"/>
            </a:p>
          </p:txBody>
        </p:sp>
        <p:sp>
          <p:nvSpPr>
            <p:cNvPr id="18" name="Freeform: Shape 17">
              <a:extLst>
                <a:ext uri="{FF2B5EF4-FFF2-40B4-BE49-F238E27FC236}">
                  <a16:creationId xmlns:a16="http://schemas.microsoft.com/office/drawing/2014/main" id="{97AA3D17-E8DE-4AF0-8356-B5BB38BF5593}"/>
                </a:ext>
              </a:extLst>
            </p:cNvPr>
            <p:cNvSpPr/>
            <p:nvPr/>
          </p:nvSpPr>
          <p:spPr>
            <a:xfrm>
              <a:off x="1264144" y="595196"/>
              <a:ext cx="17386" cy="130604"/>
            </a:xfrm>
            <a:custGeom>
              <a:avLst/>
              <a:gdLst>
                <a:gd name="connsiteX0" fmla="*/ 0 w 17386"/>
                <a:gd name="connsiteY0" fmla="*/ 1916 h 130604"/>
                <a:gd name="connsiteX1" fmla="*/ 1954 w 17386"/>
                <a:gd name="connsiteY1" fmla="*/ 0 h 130604"/>
                <a:gd name="connsiteX2" fmla="*/ 15439 w 17386"/>
                <a:gd name="connsiteY2" fmla="*/ 0 h 130604"/>
                <a:gd name="connsiteX3" fmla="*/ 17386 w 17386"/>
                <a:gd name="connsiteY3" fmla="*/ 1916 h 130604"/>
                <a:gd name="connsiteX4" fmla="*/ 17386 w 17386"/>
                <a:gd name="connsiteY4" fmla="*/ 128682 h 130604"/>
                <a:gd name="connsiteX5" fmla="*/ 15439 w 17386"/>
                <a:gd name="connsiteY5" fmla="*/ 130604 h 130604"/>
                <a:gd name="connsiteX6" fmla="*/ 1954 w 17386"/>
                <a:gd name="connsiteY6" fmla="*/ 130604 h 130604"/>
                <a:gd name="connsiteX7" fmla="*/ 0 w 17386"/>
                <a:gd name="connsiteY7" fmla="*/ 128682 h 130604"/>
                <a:gd name="connsiteX8" fmla="*/ 0 w 17386"/>
                <a:gd name="connsiteY8"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6" h="130604">
                  <a:moveTo>
                    <a:pt x="0" y="1916"/>
                  </a:moveTo>
                  <a:cubicBezTo>
                    <a:pt x="0" y="636"/>
                    <a:pt x="653" y="0"/>
                    <a:pt x="1954" y="0"/>
                  </a:cubicBezTo>
                  <a:lnTo>
                    <a:pt x="15439" y="0"/>
                  </a:lnTo>
                  <a:cubicBezTo>
                    <a:pt x="16740" y="0"/>
                    <a:pt x="17386" y="636"/>
                    <a:pt x="17386" y="1916"/>
                  </a:cubicBezTo>
                  <a:lnTo>
                    <a:pt x="17386" y="128682"/>
                  </a:lnTo>
                  <a:cubicBezTo>
                    <a:pt x="17386" y="129961"/>
                    <a:pt x="16740" y="130604"/>
                    <a:pt x="15439" y="130604"/>
                  </a:cubicBezTo>
                  <a:lnTo>
                    <a:pt x="1954"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19" name="Freeform: Shape 18">
              <a:extLst>
                <a:ext uri="{FF2B5EF4-FFF2-40B4-BE49-F238E27FC236}">
                  <a16:creationId xmlns:a16="http://schemas.microsoft.com/office/drawing/2014/main" id="{B8BFC562-81C1-48B3-9EDB-E80DC510657F}"/>
                </a:ext>
              </a:extLst>
            </p:cNvPr>
            <p:cNvSpPr/>
            <p:nvPr/>
          </p:nvSpPr>
          <p:spPr>
            <a:xfrm>
              <a:off x="1315742" y="595196"/>
              <a:ext cx="90641" cy="130604"/>
            </a:xfrm>
            <a:custGeom>
              <a:avLst/>
              <a:gdLst>
                <a:gd name="connsiteX0" fmla="*/ 0 w 90641"/>
                <a:gd name="connsiteY0" fmla="*/ 1916 h 130604"/>
                <a:gd name="connsiteX1" fmla="*/ 1941 w 90641"/>
                <a:gd name="connsiteY1" fmla="*/ 0 h 130604"/>
                <a:gd name="connsiteX2" fmla="*/ 48516 w 90641"/>
                <a:gd name="connsiteY2" fmla="*/ 0 h 130604"/>
                <a:gd name="connsiteX3" fmla="*/ 78272 w 90641"/>
                <a:gd name="connsiteY3" fmla="*/ 9315 h 130604"/>
                <a:gd name="connsiteX4" fmla="*/ 88134 w 90641"/>
                <a:gd name="connsiteY4" fmla="*/ 34375 h 130604"/>
                <a:gd name="connsiteX5" fmla="*/ 83203 w 90641"/>
                <a:gd name="connsiteY5" fmla="*/ 52815 h 130604"/>
                <a:gd name="connsiteX6" fmla="*/ 70549 w 90641"/>
                <a:gd name="connsiteY6" fmla="*/ 62806 h 130604"/>
                <a:gd name="connsiteX7" fmla="*/ 70549 w 90641"/>
                <a:gd name="connsiteY7" fmla="*/ 63193 h 130604"/>
                <a:gd name="connsiteX8" fmla="*/ 77401 w 90641"/>
                <a:gd name="connsiteY8" fmla="*/ 66552 h 130604"/>
                <a:gd name="connsiteX9" fmla="*/ 83876 w 90641"/>
                <a:gd name="connsiteY9" fmla="*/ 72699 h 130604"/>
                <a:gd name="connsiteX10" fmla="*/ 88721 w 90641"/>
                <a:gd name="connsiteY10" fmla="*/ 81633 h 130604"/>
                <a:gd name="connsiteX11" fmla="*/ 90642 w 90641"/>
                <a:gd name="connsiteY11" fmla="*/ 93356 h 130604"/>
                <a:gd name="connsiteX12" fmla="*/ 79500 w 90641"/>
                <a:gd name="connsiteY12" fmla="*/ 121204 h 130604"/>
                <a:gd name="connsiteX13" fmla="*/ 47644 w 90641"/>
                <a:gd name="connsiteY13" fmla="*/ 130604 h 130604"/>
                <a:gd name="connsiteX14" fmla="*/ 1941 w 90641"/>
                <a:gd name="connsiteY14" fmla="*/ 130604 h 130604"/>
                <a:gd name="connsiteX15" fmla="*/ 0 w 90641"/>
                <a:gd name="connsiteY15" fmla="*/ 128682 h 130604"/>
                <a:gd name="connsiteX16" fmla="*/ 0 w 90641"/>
                <a:gd name="connsiteY16" fmla="*/ 1916 h 130604"/>
                <a:gd name="connsiteX17" fmla="*/ 48212 w 90641"/>
                <a:gd name="connsiteY17" fmla="*/ 56462 h 130604"/>
                <a:gd name="connsiteX18" fmla="*/ 65150 w 90641"/>
                <a:gd name="connsiteY18" fmla="*/ 50900 h 130604"/>
                <a:gd name="connsiteX19" fmla="*/ 71130 w 90641"/>
                <a:gd name="connsiteY19" fmla="*/ 36113 h 130604"/>
                <a:gd name="connsiteX20" fmla="*/ 65150 w 90641"/>
                <a:gd name="connsiteY20" fmla="*/ 21123 h 130604"/>
                <a:gd name="connsiteX21" fmla="*/ 48212 w 90641"/>
                <a:gd name="connsiteY21" fmla="*/ 15554 h 130604"/>
                <a:gd name="connsiteX22" fmla="*/ 18555 w 90641"/>
                <a:gd name="connsiteY22" fmla="*/ 15554 h 130604"/>
                <a:gd name="connsiteX23" fmla="*/ 17393 w 90641"/>
                <a:gd name="connsiteY23" fmla="*/ 16708 h 130604"/>
                <a:gd name="connsiteX24" fmla="*/ 17393 w 90641"/>
                <a:gd name="connsiteY24" fmla="*/ 55308 h 130604"/>
                <a:gd name="connsiteX25" fmla="*/ 18555 w 90641"/>
                <a:gd name="connsiteY25" fmla="*/ 56462 h 130604"/>
                <a:gd name="connsiteX26" fmla="*/ 48212 w 90641"/>
                <a:gd name="connsiteY26" fmla="*/ 56462 h 130604"/>
                <a:gd name="connsiteX27" fmla="*/ 17393 w 90641"/>
                <a:gd name="connsiteY27" fmla="*/ 113902 h 130604"/>
                <a:gd name="connsiteX28" fmla="*/ 18555 w 90641"/>
                <a:gd name="connsiteY28" fmla="*/ 115050 h 130604"/>
                <a:gd name="connsiteX29" fmla="*/ 49182 w 90641"/>
                <a:gd name="connsiteY29" fmla="*/ 115050 h 130604"/>
                <a:gd name="connsiteX30" fmla="*/ 67090 w 90641"/>
                <a:gd name="connsiteY30" fmla="*/ 109199 h 130604"/>
                <a:gd name="connsiteX31" fmla="*/ 73255 w 90641"/>
                <a:gd name="connsiteY31" fmla="*/ 93540 h 130604"/>
                <a:gd name="connsiteX32" fmla="*/ 67090 w 90641"/>
                <a:gd name="connsiteY32" fmla="*/ 77881 h 130604"/>
                <a:gd name="connsiteX33" fmla="*/ 49182 w 90641"/>
                <a:gd name="connsiteY33" fmla="*/ 72029 h 130604"/>
                <a:gd name="connsiteX34" fmla="*/ 18555 w 90641"/>
                <a:gd name="connsiteY34" fmla="*/ 72029 h 130604"/>
                <a:gd name="connsiteX35" fmla="*/ 17393 w 90641"/>
                <a:gd name="connsiteY35" fmla="*/ 73191 h 130604"/>
                <a:gd name="connsiteX36" fmla="*/ 17393 w 90641"/>
                <a:gd name="connsiteY36" fmla="*/ 113902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0641" h="130604">
                  <a:moveTo>
                    <a:pt x="0" y="1916"/>
                  </a:moveTo>
                  <a:cubicBezTo>
                    <a:pt x="0" y="636"/>
                    <a:pt x="647" y="0"/>
                    <a:pt x="1941" y="0"/>
                  </a:cubicBezTo>
                  <a:lnTo>
                    <a:pt x="48516" y="0"/>
                  </a:lnTo>
                  <a:cubicBezTo>
                    <a:pt x="61783" y="0"/>
                    <a:pt x="71704" y="3109"/>
                    <a:pt x="78272" y="9315"/>
                  </a:cubicBezTo>
                  <a:cubicBezTo>
                    <a:pt x="84840" y="15528"/>
                    <a:pt x="88134" y="23879"/>
                    <a:pt x="88134" y="34375"/>
                  </a:cubicBezTo>
                  <a:cubicBezTo>
                    <a:pt x="88134" y="42057"/>
                    <a:pt x="86497" y="48210"/>
                    <a:pt x="83203" y="52815"/>
                  </a:cubicBezTo>
                  <a:cubicBezTo>
                    <a:pt x="79916" y="57420"/>
                    <a:pt x="75691" y="60759"/>
                    <a:pt x="70549" y="62806"/>
                  </a:cubicBezTo>
                  <a:lnTo>
                    <a:pt x="70549" y="63193"/>
                  </a:lnTo>
                  <a:cubicBezTo>
                    <a:pt x="72734" y="63829"/>
                    <a:pt x="75024" y="64945"/>
                    <a:pt x="77401" y="66552"/>
                  </a:cubicBezTo>
                  <a:cubicBezTo>
                    <a:pt x="79784" y="68159"/>
                    <a:pt x="81955" y="70199"/>
                    <a:pt x="83876" y="72699"/>
                  </a:cubicBezTo>
                  <a:cubicBezTo>
                    <a:pt x="85817" y="75198"/>
                    <a:pt x="87427" y="78183"/>
                    <a:pt x="88721" y="81633"/>
                  </a:cubicBezTo>
                  <a:cubicBezTo>
                    <a:pt x="90002" y="85091"/>
                    <a:pt x="90642" y="89000"/>
                    <a:pt x="90642" y="93356"/>
                  </a:cubicBezTo>
                  <a:cubicBezTo>
                    <a:pt x="90648" y="105650"/>
                    <a:pt x="86932" y="114919"/>
                    <a:pt x="79500" y="121204"/>
                  </a:cubicBezTo>
                  <a:cubicBezTo>
                    <a:pt x="72080" y="127469"/>
                    <a:pt x="61460" y="130604"/>
                    <a:pt x="47644" y="130604"/>
                  </a:cubicBezTo>
                  <a:lnTo>
                    <a:pt x="1941" y="130604"/>
                  </a:lnTo>
                  <a:cubicBezTo>
                    <a:pt x="647" y="130604"/>
                    <a:pt x="0" y="129961"/>
                    <a:pt x="0" y="128682"/>
                  </a:cubicBezTo>
                  <a:lnTo>
                    <a:pt x="0" y="1916"/>
                  </a:lnTo>
                  <a:close/>
                  <a:moveTo>
                    <a:pt x="48212" y="56462"/>
                  </a:moveTo>
                  <a:cubicBezTo>
                    <a:pt x="55526" y="56462"/>
                    <a:pt x="61163" y="54606"/>
                    <a:pt x="65150" y="50900"/>
                  </a:cubicBezTo>
                  <a:cubicBezTo>
                    <a:pt x="69143" y="47187"/>
                    <a:pt x="71130" y="42253"/>
                    <a:pt x="71130" y="36113"/>
                  </a:cubicBezTo>
                  <a:cubicBezTo>
                    <a:pt x="71130" y="29829"/>
                    <a:pt x="69143" y="24836"/>
                    <a:pt x="65150" y="21123"/>
                  </a:cubicBezTo>
                  <a:cubicBezTo>
                    <a:pt x="61163" y="17404"/>
                    <a:pt x="55526" y="15554"/>
                    <a:pt x="48212" y="15554"/>
                  </a:cubicBezTo>
                  <a:lnTo>
                    <a:pt x="18555" y="15554"/>
                  </a:lnTo>
                  <a:cubicBezTo>
                    <a:pt x="17782" y="15554"/>
                    <a:pt x="17393" y="15934"/>
                    <a:pt x="17393" y="16708"/>
                  </a:cubicBezTo>
                  <a:lnTo>
                    <a:pt x="17393" y="55308"/>
                  </a:lnTo>
                  <a:cubicBezTo>
                    <a:pt x="17393" y="56075"/>
                    <a:pt x="17782" y="56462"/>
                    <a:pt x="18555" y="56462"/>
                  </a:cubicBezTo>
                  <a:lnTo>
                    <a:pt x="48212" y="56462"/>
                  </a:lnTo>
                  <a:close/>
                  <a:moveTo>
                    <a:pt x="17393" y="113902"/>
                  </a:moveTo>
                  <a:cubicBezTo>
                    <a:pt x="17393" y="114670"/>
                    <a:pt x="17782" y="115050"/>
                    <a:pt x="18555" y="115050"/>
                  </a:cubicBezTo>
                  <a:lnTo>
                    <a:pt x="49182" y="115050"/>
                  </a:lnTo>
                  <a:cubicBezTo>
                    <a:pt x="57011" y="115050"/>
                    <a:pt x="62978" y="113102"/>
                    <a:pt x="67090" y="109199"/>
                  </a:cubicBezTo>
                  <a:cubicBezTo>
                    <a:pt x="71196" y="105289"/>
                    <a:pt x="73255" y="100067"/>
                    <a:pt x="73255" y="93540"/>
                  </a:cubicBezTo>
                  <a:cubicBezTo>
                    <a:pt x="73255" y="87006"/>
                    <a:pt x="71196" y="81784"/>
                    <a:pt x="67090" y="77881"/>
                  </a:cubicBezTo>
                  <a:cubicBezTo>
                    <a:pt x="62978" y="73984"/>
                    <a:pt x="57011" y="72029"/>
                    <a:pt x="49182" y="72029"/>
                  </a:cubicBezTo>
                  <a:lnTo>
                    <a:pt x="18555" y="72029"/>
                  </a:lnTo>
                  <a:cubicBezTo>
                    <a:pt x="17782" y="72029"/>
                    <a:pt x="17393" y="72417"/>
                    <a:pt x="17393" y="73191"/>
                  </a:cubicBezTo>
                  <a:lnTo>
                    <a:pt x="17393" y="113902"/>
                  </a:lnTo>
                  <a:close/>
                </a:path>
              </a:pathLst>
            </a:custGeom>
            <a:solidFill>
              <a:schemeClr val="bg2"/>
            </a:solidFill>
            <a:ln w="7" cap="flat">
              <a:noFill/>
              <a:prstDash val="solid"/>
              <a:miter/>
            </a:ln>
          </p:spPr>
          <p:txBody>
            <a:bodyPr rtlCol="0" anchor="ctr"/>
            <a:lstStyle/>
            <a:p>
              <a:endParaRPr lang="de-DE"/>
            </a:p>
          </p:txBody>
        </p:sp>
        <p:sp>
          <p:nvSpPr>
            <p:cNvPr id="20" name="Freeform: Shape 19">
              <a:extLst>
                <a:ext uri="{FF2B5EF4-FFF2-40B4-BE49-F238E27FC236}">
                  <a16:creationId xmlns:a16="http://schemas.microsoft.com/office/drawing/2014/main" id="{0BEC1ECD-AAE1-43E9-93C7-45E510734F92}"/>
                </a:ext>
              </a:extLst>
            </p:cNvPr>
            <p:cNvSpPr/>
            <p:nvPr/>
          </p:nvSpPr>
          <p:spPr>
            <a:xfrm>
              <a:off x="1434417" y="595196"/>
              <a:ext cx="83103" cy="130604"/>
            </a:xfrm>
            <a:custGeom>
              <a:avLst/>
              <a:gdLst>
                <a:gd name="connsiteX0" fmla="*/ 0 w 83103"/>
                <a:gd name="connsiteY0" fmla="*/ 1916 h 130604"/>
                <a:gd name="connsiteX1" fmla="*/ 1941 w 83103"/>
                <a:gd name="connsiteY1" fmla="*/ 0 h 130604"/>
                <a:gd name="connsiteX2" fmla="*/ 81170 w 83103"/>
                <a:gd name="connsiteY2" fmla="*/ 0 h 130604"/>
                <a:gd name="connsiteX3" fmla="*/ 83104 w 83103"/>
                <a:gd name="connsiteY3" fmla="*/ 1916 h 130604"/>
                <a:gd name="connsiteX4" fmla="*/ 83104 w 83103"/>
                <a:gd name="connsiteY4" fmla="*/ 14012 h 130604"/>
                <a:gd name="connsiteX5" fmla="*/ 81170 w 83103"/>
                <a:gd name="connsiteY5" fmla="*/ 15934 h 130604"/>
                <a:gd name="connsiteX6" fmla="*/ 18555 w 83103"/>
                <a:gd name="connsiteY6" fmla="*/ 15934 h 130604"/>
                <a:gd name="connsiteX7" fmla="*/ 17400 w 83103"/>
                <a:gd name="connsiteY7" fmla="*/ 17089 h 130604"/>
                <a:gd name="connsiteX8" fmla="*/ 17400 w 83103"/>
                <a:gd name="connsiteY8" fmla="*/ 55511 h 130604"/>
                <a:gd name="connsiteX9" fmla="*/ 18555 w 83103"/>
                <a:gd name="connsiteY9" fmla="*/ 56653 h 130604"/>
                <a:gd name="connsiteX10" fmla="*/ 71704 w 83103"/>
                <a:gd name="connsiteY10" fmla="*/ 56653 h 130604"/>
                <a:gd name="connsiteX11" fmla="*/ 73645 w 83103"/>
                <a:gd name="connsiteY11" fmla="*/ 58575 h 130604"/>
                <a:gd name="connsiteX12" fmla="*/ 73645 w 83103"/>
                <a:gd name="connsiteY12" fmla="*/ 70685 h 130604"/>
                <a:gd name="connsiteX13" fmla="*/ 71704 w 83103"/>
                <a:gd name="connsiteY13" fmla="*/ 72607 h 130604"/>
                <a:gd name="connsiteX14" fmla="*/ 18555 w 83103"/>
                <a:gd name="connsiteY14" fmla="*/ 72607 h 130604"/>
                <a:gd name="connsiteX15" fmla="*/ 17400 w 83103"/>
                <a:gd name="connsiteY15" fmla="*/ 73755 h 130604"/>
                <a:gd name="connsiteX16" fmla="*/ 17400 w 83103"/>
                <a:gd name="connsiteY16" fmla="*/ 113515 h 130604"/>
                <a:gd name="connsiteX17" fmla="*/ 18555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7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41" y="0"/>
                  </a:cubicBezTo>
                  <a:lnTo>
                    <a:pt x="81170" y="0"/>
                  </a:lnTo>
                  <a:cubicBezTo>
                    <a:pt x="82463" y="0"/>
                    <a:pt x="83104" y="636"/>
                    <a:pt x="83104" y="1916"/>
                  </a:cubicBezTo>
                  <a:lnTo>
                    <a:pt x="83104" y="14012"/>
                  </a:lnTo>
                  <a:cubicBezTo>
                    <a:pt x="83104" y="15292"/>
                    <a:pt x="82463" y="15934"/>
                    <a:pt x="81170" y="15934"/>
                  </a:cubicBezTo>
                  <a:lnTo>
                    <a:pt x="18555" y="15934"/>
                  </a:lnTo>
                  <a:cubicBezTo>
                    <a:pt x="17776" y="15934"/>
                    <a:pt x="17400" y="16321"/>
                    <a:pt x="17400" y="17089"/>
                  </a:cubicBezTo>
                  <a:lnTo>
                    <a:pt x="17400" y="55511"/>
                  </a:lnTo>
                  <a:cubicBezTo>
                    <a:pt x="17400" y="56279"/>
                    <a:pt x="17776" y="56653"/>
                    <a:pt x="18555" y="56653"/>
                  </a:cubicBezTo>
                  <a:lnTo>
                    <a:pt x="71704" y="56653"/>
                  </a:lnTo>
                  <a:cubicBezTo>
                    <a:pt x="72985" y="56653"/>
                    <a:pt x="73645" y="57296"/>
                    <a:pt x="73645" y="58575"/>
                  </a:cubicBezTo>
                  <a:lnTo>
                    <a:pt x="73645" y="70685"/>
                  </a:lnTo>
                  <a:cubicBezTo>
                    <a:pt x="73645" y="71970"/>
                    <a:pt x="72985" y="72607"/>
                    <a:pt x="71704" y="72607"/>
                  </a:cubicBezTo>
                  <a:lnTo>
                    <a:pt x="18555" y="72607"/>
                  </a:lnTo>
                  <a:cubicBezTo>
                    <a:pt x="17776" y="72607"/>
                    <a:pt x="17400" y="72987"/>
                    <a:pt x="17400" y="73755"/>
                  </a:cubicBezTo>
                  <a:lnTo>
                    <a:pt x="17400" y="113515"/>
                  </a:lnTo>
                  <a:cubicBezTo>
                    <a:pt x="17400" y="114283"/>
                    <a:pt x="17776" y="114670"/>
                    <a:pt x="18555" y="114670"/>
                  </a:cubicBezTo>
                  <a:lnTo>
                    <a:pt x="81170" y="114670"/>
                  </a:lnTo>
                  <a:cubicBezTo>
                    <a:pt x="82463" y="114670"/>
                    <a:pt x="83104" y="115306"/>
                    <a:pt x="83104" y="116592"/>
                  </a:cubicBezTo>
                  <a:lnTo>
                    <a:pt x="83104" y="128682"/>
                  </a:lnTo>
                  <a:cubicBezTo>
                    <a:pt x="83104" y="129961"/>
                    <a:pt x="82463" y="130604"/>
                    <a:pt x="81170" y="130604"/>
                  </a:cubicBezTo>
                  <a:lnTo>
                    <a:pt x="1947"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21" name="Freeform: Shape 20">
              <a:extLst>
                <a:ext uri="{FF2B5EF4-FFF2-40B4-BE49-F238E27FC236}">
                  <a16:creationId xmlns:a16="http://schemas.microsoft.com/office/drawing/2014/main" id="{6B07CA4A-6C74-4672-8F19-04817AFB820A}"/>
                </a:ext>
              </a:extLst>
            </p:cNvPr>
            <p:cNvSpPr/>
            <p:nvPr/>
          </p:nvSpPr>
          <p:spPr>
            <a:xfrm>
              <a:off x="1533171" y="595189"/>
              <a:ext cx="95486" cy="130617"/>
            </a:xfrm>
            <a:custGeom>
              <a:avLst/>
              <a:gdLst>
                <a:gd name="connsiteX0" fmla="*/ 40991 w 95486"/>
                <a:gd name="connsiteY0" fmla="*/ 130617 h 130617"/>
                <a:gd name="connsiteX1" fmla="*/ 39044 w 95486"/>
                <a:gd name="connsiteY1" fmla="*/ 128689 h 130617"/>
                <a:gd name="connsiteX2" fmla="*/ 39044 w 95486"/>
                <a:gd name="connsiteY2" fmla="*/ 17102 h 130617"/>
                <a:gd name="connsiteX3" fmla="*/ 37882 w 95486"/>
                <a:gd name="connsiteY3" fmla="*/ 15941 h 130617"/>
                <a:gd name="connsiteX4" fmla="*/ 1927 w 95486"/>
                <a:gd name="connsiteY4" fmla="*/ 15941 h 130617"/>
                <a:gd name="connsiteX5" fmla="*/ 0 w 95486"/>
                <a:gd name="connsiteY5" fmla="*/ 14025 h 130617"/>
                <a:gd name="connsiteX6" fmla="*/ 0 w 95486"/>
                <a:gd name="connsiteY6" fmla="*/ 1922 h 130617"/>
                <a:gd name="connsiteX7" fmla="*/ 1927 w 95486"/>
                <a:gd name="connsiteY7" fmla="*/ 0 h 130617"/>
                <a:gd name="connsiteX8" fmla="*/ 93540 w 95486"/>
                <a:gd name="connsiteY8" fmla="*/ 0 h 130617"/>
                <a:gd name="connsiteX9" fmla="*/ 95487 w 95486"/>
                <a:gd name="connsiteY9" fmla="*/ 1922 h 130617"/>
                <a:gd name="connsiteX10" fmla="*/ 95487 w 95486"/>
                <a:gd name="connsiteY10" fmla="*/ 14025 h 130617"/>
                <a:gd name="connsiteX11" fmla="*/ 93540 w 95486"/>
                <a:gd name="connsiteY11" fmla="*/ 15941 h 130617"/>
                <a:gd name="connsiteX12" fmla="*/ 57598 w 95486"/>
                <a:gd name="connsiteY12" fmla="*/ 15941 h 130617"/>
                <a:gd name="connsiteX13" fmla="*/ 56450 w 95486"/>
                <a:gd name="connsiteY13" fmla="*/ 17102 h 130617"/>
                <a:gd name="connsiteX14" fmla="*/ 56450 w 95486"/>
                <a:gd name="connsiteY14" fmla="*/ 128689 h 130617"/>
                <a:gd name="connsiteX15" fmla="*/ 54476 w 95486"/>
                <a:gd name="connsiteY15" fmla="*/ 130617 h 130617"/>
                <a:gd name="connsiteX16" fmla="*/ 40991 w 95486"/>
                <a:gd name="connsiteY16" fmla="*/ 130617 h 130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486" h="130617">
                  <a:moveTo>
                    <a:pt x="40991" y="130617"/>
                  </a:moveTo>
                  <a:cubicBezTo>
                    <a:pt x="39697" y="130617"/>
                    <a:pt x="39044" y="129968"/>
                    <a:pt x="39044" y="128689"/>
                  </a:cubicBezTo>
                  <a:lnTo>
                    <a:pt x="39044" y="17102"/>
                  </a:lnTo>
                  <a:cubicBezTo>
                    <a:pt x="39044" y="16335"/>
                    <a:pt x="38667" y="15941"/>
                    <a:pt x="37882" y="15941"/>
                  </a:cubicBezTo>
                  <a:lnTo>
                    <a:pt x="1927" y="15941"/>
                  </a:lnTo>
                  <a:cubicBezTo>
                    <a:pt x="640" y="15941"/>
                    <a:pt x="0" y="15298"/>
                    <a:pt x="0" y="14025"/>
                  </a:cubicBezTo>
                  <a:lnTo>
                    <a:pt x="0" y="1922"/>
                  </a:lnTo>
                  <a:cubicBezTo>
                    <a:pt x="0" y="643"/>
                    <a:pt x="640" y="0"/>
                    <a:pt x="1927" y="0"/>
                  </a:cubicBezTo>
                  <a:lnTo>
                    <a:pt x="93540" y="0"/>
                  </a:lnTo>
                  <a:cubicBezTo>
                    <a:pt x="94833" y="0"/>
                    <a:pt x="95487" y="643"/>
                    <a:pt x="95487" y="1922"/>
                  </a:cubicBezTo>
                  <a:lnTo>
                    <a:pt x="95487" y="14025"/>
                  </a:lnTo>
                  <a:cubicBezTo>
                    <a:pt x="95487" y="15298"/>
                    <a:pt x="94833" y="15941"/>
                    <a:pt x="93540" y="15941"/>
                  </a:cubicBezTo>
                  <a:lnTo>
                    <a:pt x="57598" y="15941"/>
                  </a:lnTo>
                  <a:cubicBezTo>
                    <a:pt x="56826" y="15941"/>
                    <a:pt x="56450" y="16335"/>
                    <a:pt x="56450" y="17102"/>
                  </a:cubicBezTo>
                  <a:lnTo>
                    <a:pt x="56450" y="128689"/>
                  </a:lnTo>
                  <a:cubicBezTo>
                    <a:pt x="56450" y="129968"/>
                    <a:pt x="55790" y="130617"/>
                    <a:pt x="54476" y="130617"/>
                  </a:cubicBezTo>
                  <a:lnTo>
                    <a:pt x="40991" y="130617"/>
                  </a:lnTo>
                  <a:close/>
                </a:path>
              </a:pathLst>
            </a:custGeom>
            <a:solidFill>
              <a:schemeClr val="bg2"/>
            </a:solidFill>
            <a:ln w="7" cap="flat">
              <a:noFill/>
              <a:prstDash val="solid"/>
              <a:miter/>
            </a:ln>
          </p:spPr>
          <p:txBody>
            <a:bodyPr rtlCol="0" anchor="ctr"/>
            <a:lstStyle/>
            <a:p>
              <a:endParaRPr lang="de-DE"/>
            </a:p>
          </p:txBody>
        </p:sp>
        <p:sp>
          <p:nvSpPr>
            <p:cNvPr id="22" name="Freeform: Shape 21">
              <a:extLst>
                <a:ext uri="{FF2B5EF4-FFF2-40B4-BE49-F238E27FC236}">
                  <a16:creationId xmlns:a16="http://schemas.microsoft.com/office/drawing/2014/main" id="{1A3A3041-54A9-4B0F-A723-19691337BF7D}"/>
                </a:ext>
              </a:extLst>
            </p:cNvPr>
            <p:cNvSpPr/>
            <p:nvPr/>
          </p:nvSpPr>
          <p:spPr>
            <a:xfrm>
              <a:off x="1650870" y="595196"/>
              <a:ext cx="93929" cy="130604"/>
            </a:xfrm>
            <a:custGeom>
              <a:avLst/>
              <a:gdLst>
                <a:gd name="connsiteX0" fmla="*/ 0 w 93929"/>
                <a:gd name="connsiteY0" fmla="*/ 1916 h 130604"/>
                <a:gd name="connsiteX1" fmla="*/ 1947 w 93929"/>
                <a:gd name="connsiteY1" fmla="*/ 0 h 130604"/>
                <a:gd name="connsiteX2" fmla="*/ 15439 w 93929"/>
                <a:gd name="connsiteY2" fmla="*/ 0 h 130604"/>
                <a:gd name="connsiteX3" fmla="*/ 17406 w 93929"/>
                <a:gd name="connsiteY3" fmla="*/ 1916 h 130604"/>
                <a:gd name="connsiteX4" fmla="*/ 17406 w 93929"/>
                <a:gd name="connsiteY4" fmla="*/ 55511 h 130604"/>
                <a:gd name="connsiteX5" fmla="*/ 18548 w 93929"/>
                <a:gd name="connsiteY5" fmla="*/ 56653 h 130604"/>
                <a:gd name="connsiteX6" fmla="*/ 75381 w 93929"/>
                <a:gd name="connsiteY6" fmla="*/ 56653 h 130604"/>
                <a:gd name="connsiteX7" fmla="*/ 76536 w 93929"/>
                <a:gd name="connsiteY7" fmla="*/ 55511 h 130604"/>
                <a:gd name="connsiteX8" fmla="*/ 76536 w 93929"/>
                <a:gd name="connsiteY8" fmla="*/ 1916 h 130604"/>
                <a:gd name="connsiteX9" fmla="*/ 78496 w 93929"/>
                <a:gd name="connsiteY9" fmla="*/ 0 h 130604"/>
                <a:gd name="connsiteX10" fmla="*/ 91982 w 93929"/>
                <a:gd name="connsiteY10" fmla="*/ 0 h 130604"/>
                <a:gd name="connsiteX11" fmla="*/ 93929 w 93929"/>
                <a:gd name="connsiteY11" fmla="*/ 1916 h 130604"/>
                <a:gd name="connsiteX12" fmla="*/ 93929 w 93929"/>
                <a:gd name="connsiteY12" fmla="*/ 128682 h 130604"/>
                <a:gd name="connsiteX13" fmla="*/ 91982 w 93929"/>
                <a:gd name="connsiteY13" fmla="*/ 130604 h 130604"/>
                <a:gd name="connsiteX14" fmla="*/ 78496 w 93929"/>
                <a:gd name="connsiteY14" fmla="*/ 130604 h 130604"/>
                <a:gd name="connsiteX15" fmla="*/ 76536 w 93929"/>
                <a:gd name="connsiteY15" fmla="*/ 128682 h 130604"/>
                <a:gd name="connsiteX16" fmla="*/ 76536 w 93929"/>
                <a:gd name="connsiteY16" fmla="*/ 73755 h 130604"/>
                <a:gd name="connsiteX17" fmla="*/ 75381 w 93929"/>
                <a:gd name="connsiteY17" fmla="*/ 72607 h 130604"/>
                <a:gd name="connsiteX18" fmla="*/ 18548 w 93929"/>
                <a:gd name="connsiteY18" fmla="*/ 72607 h 130604"/>
                <a:gd name="connsiteX19" fmla="*/ 17406 w 93929"/>
                <a:gd name="connsiteY19" fmla="*/ 73755 h 130604"/>
                <a:gd name="connsiteX20" fmla="*/ 17406 w 93929"/>
                <a:gd name="connsiteY20" fmla="*/ 128682 h 130604"/>
                <a:gd name="connsiteX21" fmla="*/ 15439 w 93929"/>
                <a:gd name="connsiteY21" fmla="*/ 130604 h 130604"/>
                <a:gd name="connsiteX22" fmla="*/ 1947 w 93929"/>
                <a:gd name="connsiteY22" fmla="*/ 130604 h 130604"/>
                <a:gd name="connsiteX23" fmla="*/ 0 w 93929"/>
                <a:gd name="connsiteY23" fmla="*/ 128682 h 130604"/>
                <a:gd name="connsiteX24" fmla="*/ 0 w 93929"/>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3929" h="130604">
                  <a:moveTo>
                    <a:pt x="0" y="1916"/>
                  </a:moveTo>
                  <a:cubicBezTo>
                    <a:pt x="0" y="636"/>
                    <a:pt x="653" y="0"/>
                    <a:pt x="1947" y="0"/>
                  </a:cubicBezTo>
                  <a:lnTo>
                    <a:pt x="15439" y="0"/>
                  </a:lnTo>
                  <a:cubicBezTo>
                    <a:pt x="16746" y="0"/>
                    <a:pt x="17406" y="636"/>
                    <a:pt x="17406" y="1916"/>
                  </a:cubicBezTo>
                  <a:lnTo>
                    <a:pt x="17406" y="55511"/>
                  </a:lnTo>
                  <a:cubicBezTo>
                    <a:pt x="17406" y="56279"/>
                    <a:pt x="17776" y="56653"/>
                    <a:pt x="18548" y="56653"/>
                  </a:cubicBezTo>
                  <a:lnTo>
                    <a:pt x="75381" y="56653"/>
                  </a:lnTo>
                  <a:cubicBezTo>
                    <a:pt x="76160" y="56653"/>
                    <a:pt x="76536" y="56279"/>
                    <a:pt x="76536" y="55511"/>
                  </a:cubicBezTo>
                  <a:lnTo>
                    <a:pt x="76536" y="1916"/>
                  </a:lnTo>
                  <a:cubicBezTo>
                    <a:pt x="76536" y="636"/>
                    <a:pt x="77189" y="0"/>
                    <a:pt x="78496" y="0"/>
                  </a:cubicBezTo>
                  <a:lnTo>
                    <a:pt x="91982" y="0"/>
                  </a:lnTo>
                  <a:cubicBezTo>
                    <a:pt x="93276" y="0"/>
                    <a:pt x="93929" y="636"/>
                    <a:pt x="93929" y="1916"/>
                  </a:cubicBezTo>
                  <a:lnTo>
                    <a:pt x="93929" y="128682"/>
                  </a:lnTo>
                  <a:cubicBezTo>
                    <a:pt x="93929" y="129961"/>
                    <a:pt x="93276" y="130604"/>
                    <a:pt x="91982" y="130604"/>
                  </a:cubicBezTo>
                  <a:lnTo>
                    <a:pt x="78496" y="130604"/>
                  </a:lnTo>
                  <a:cubicBezTo>
                    <a:pt x="77189" y="130604"/>
                    <a:pt x="76536" y="129961"/>
                    <a:pt x="76536" y="128682"/>
                  </a:cubicBezTo>
                  <a:lnTo>
                    <a:pt x="76536" y="73755"/>
                  </a:lnTo>
                  <a:cubicBezTo>
                    <a:pt x="76536" y="72987"/>
                    <a:pt x="76160" y="72607"/>
                    <a:pt x="75381" y="72607"/>
                  </a:cubicBezTo>
                  <a:lnTo>
                    <a:pt x="18548" y="72607"/>
                  </a:lnTo>
                  <a:cubicBezTo>
                    <a:pt x="17776" y="72607"/>
                    <a:pt x="17406" y="72987"/>
                    <a:pt x="17406" y="73755"/>
                  </a:cubicBezTo>
                  <a:lnTo>
                    <a:pt x="17406" y="128682"/>
                  </a:lnTo>
                  <a:cubicBezTo>
                    <a:pt x="17406" y="129961"/>
                    <a:pt x="16746" y="130604"/>
                    <a:pt x="15439" y="130604"/>
                  </a:cubicBezTo>
                  <a:lnTo>
                    <a:pt x="1947"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23" name="Freeform: Shape 22">
              <a:extLst>
                <a:ext uri="{FF2B5EF4-FFF2-40B4-BE49-F238E27FC236}">
                  <a16:creationId xmlns:a16="http://schemas.microsoft.com/office/drawing/2014/main" id="{F554C4F7-662B-47B0-8C6D-11B7079086BE}"/>
                </a:ext>
              </a:extLst>
            </p:cNvPr>
            <p:cNvSpPr/>
            <p:nvPr/>
          </p:nvSpPr>
          <p:spPr>
            <a:xfrm>
              <a:off x="1147990" y="801425"/>
              <a:ext cx="92582" cy="130604"/>
            </a:xfrm>
            <a:custGeom>
              <a:avLst/>
              <a:gdLst>
                <a:gd name="connsiteX0" fmla="*/ 0 w 92582"/>
                <a:gd name="connsiteY0" fmla="*/ 1916 h 130604"/>
                <a:gd name="connsiteX1" fmla="*/ 1941 w 92582"/>
                <a:gd name="connsiteY1" fmla="*/ 0 h 130604"/>
                <a:gd name="connsiteX2" fmla="*/ 46186 w 92582"/>
                <a:gd name="connsiteY2" fmla="*/ 0 h 130604"/>
                <a:gd name="connsiteX3" fmla="*/ 89104 w 92582"/>
                <a:gd name="connsiteY3" fmla="*/ 27841 h 130604"/>
                <a:gd name="connsiteX4" fmla="*/ 90549 w 92582"/>
                <a:gd name="connsiteY4" fmla="*/ 33410 h 130604"/>
                <a:gd name="connsiteX5" fmla="*/ 91705 w 92582"/>
                <a:gd name="connsiteY5" fmla="*/ 40515 h 130604"/>
                <a:gd name="connsiteX6" fmla="*/ 92378 w 92582"/>
                <a:gd name="connsiteY6" fmla="*/ 50703 h 130604"/>
                <a:gd name="connsiteX7" fmla="*/ 92582 w 92582"/>
                <a:gd name="connsiteY7" fmla="*/ 65305 h 130604"/>
                <a:gd name="connsiteX8" fmla="*/ 92378 w 92582"/>
                <a:gd name="connsiteY8" fmla="*/ 79908 h 130604"/>
                <a:gd name="connsiteX9" fmla="*/ 91705 w 92582"/>
                <a:gd name="connsiteY9" fmla="*/ 90083 h 130604"/>
                <a:gd name="connsiteX10" fmla="*/ 90549 w 92582"/>
                <a:gd name="connsiteY10" fmla="*/ 97194 h 130604"/>
                <a:gd name="connsiteX11" fmla="*/ 89104 w 92582"/>
                <a:gd name="connsiteY11" fmla="*/ 102763 h 130604"/>
                <a:gd name="connsiteX12" fmla="*/ 46186 w 92582"/>
                <a:gd name="connsiteY12" fmla="*/ 130604 h 130604"/>
                <a:gd name="connsiteX13" fmla="*/ 1941 w 92582"/>
                <a:gd name="connsiteY13" fmla="*/ 130604 h 130604"/>
                <a:gd name="connsiteX14" fmla="*/ 0 w 92582"/>
                <a:gd name="connsiteY14" fmla="*/ 128682 h 130604"/>
                <a:gd name="connsiteX15" fmla="*/ 0 w 92582"/>
                <a:gd name="connsiteY15" fmla="*/ 1916 h 130604"/>
                <a:gd name="connsiteX16" fmla="*/ 17380 w 92582"/>
                <a:gd name="connsiteY16" fmla="*/ 113509 h 130604"/>
                <a:gd name="connsiteX17" fmla="*/ 18548 w 92582"/>
                <a:gd name="connsiteY17" fmla="*/ 114670 h 130604"/>
                <a:gd name="connsiteX18" fmla="*/ 42634 w 92582"/>
                <a:gd name="connsiteY18" fmla="*/ 114670 h 130604"/>
                <a:gd name="connsiteX19" fmla="*/ 61895 w 92582"/>
                <a:gd name="connsiteY19" fmla="*/ 110530 h 130604"/>
                <a:gd name="connsiteX20" fmla="*/ 72490 w 92582"/>
                <a:gd name="connsiteY20" fmla="*/ 96813 h 130604"/>
                <a:gd name="connsiteX21" fmla="*/ 73638 w 92582"/>
                <a:gd name="connsiteY21" fmla="*/ 92772 h 130604"/>
                <a:gd name="connsiteX22" fmla="*/ 74510 w 92582"/>
                <a:gd name="connsiteY22" fmla="*/ 86914 h 130604"/>
                <a:gd name="connsiteX23" fmla="*/ 74991 w 92582"/>
                <a:gd name="connsiteY23" fmla="*/ 78183 h 130604"/>
                <a:gd name="connsiteX24" fmla="*/ 75183 w 92582"/>
                <a:gd name="connsiteY24" fmla="*/ 65305 h 130604"/>
                <a:gd name="connsiteX25" fmla="*/ 74991 w 92582"/>
                <a:gd name="connsiteY25" fmla="*/ 52428 h 130604"/>
                <a:gd name="connsiteX26" fmla="*/ 74510 w 92582"/>
                <a:gd name="connsiteY26" fmla="*/ 43690 h 130604"/>
                <a:gd name="connsiteX27" fmla="*/ 73638 w 92582"/>
                <a:gd name="connsiteY27" fmla="*/ 37832 h 130604"/>
                <a:gd name="connsiteX28" fmla="*/ 72490 w 92582"/>
                <a:gd name="connsiteY28" fmla="*/ 33791 h 130604"/>
                <a:gd name="connsiteX29" fmla="*/ 61895 w 92582"/>
                <a:gd name="connsiteY29" fmla="*/ 20067 h 130604"/>
                <a:gd name="connsiteX30" fmla="*/ 42634 w 92582"/>
                <a:gd name="connsiteY30" fmla="*/ 15934 h 130604"/>
                <a:gd name="connsiteX31" fmla="*/ 18548 w 92582"/>
                <a:gd name="connsiteY31" fmla="*/ 15934 h 130604"/>
                <a:gd name="connsiteX32" fmla="*/ 17380 w 92582"/>
                <a:gd name="connsiteY32" fmla="*/ 17089 h 130604"/>
                <a:gd name="connsiteX33" fmla="*/ 17380 w 92582"/>
                <a:gd name="connsiteY33" fmla="*/ 1135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2582" h="130604">
                  <a:moveTo>
                    <a:pt x="0" y="1916"/>
                  </a:moveTo>
                  <a:cubicBezTo>
                    <a:pt x="0" y="636"/>
                    <a:pt x="647" y="0"/>
                    <a:pt x="1941" y="0"/>
                  </a:cubicBezTo>
                  <a:lnTo>
                    <a:pt x="46186" y="0"/>
                  </a:lnTo>
                  <a:cubicBezTo>
                    <a:pt x="68734" y="0"/>
                    <a:pt x="83044" y="9269"/>
                    <a:pt x="89104" y="27841"/>
                  </a:cubicBezTo>
                  <a:cubicBezTo>
                    <a:pt x="89606" y="29645"/>
                    <a:pt x="90094" y="31488"/>
                    <a:pt x="90549" y="33410"/>
                  </a:cubicBezTo>
                  <a:cubicBezTo>
                    <a:pt x="91005" y="35332"/>
                    <a:pt x="91388" y="37707"/>
                    <a:pt x="91705" y="40515"/>
                  </a:cubicBezTo>
                  <a:cubicBezTo>
                    <a:pt x="92028" y="43342"/>
                    <a:pt x="92252" y="46734"/>
                    <a:pt x="92378" y="50703"/>
                  </a:cubicBezTo>
                  <a:cubicBezTo>
                    <a:pt x="92516" y="54665"/>
                    <a:pt x="92582" y="59539"/>
                    <a:pt x="92582" y="65305"/>
                  </a:cubicBezTo>
                  <a:cubicBezTo>
                    <a:pt x="92582" y="71072"/>
                    <a:pt x="92516" y="75939"/>
                    <a:pt x="92378" y="79908"/>
                  </a:cubicBezTo>
                  <a:cubicBezTo>
                    <a:pt x="92252" y="83870"/>
                    <a:pt x="92028" y="87269"/>
                    <a:pt x="91705" y="90083"/>
                  </a:cubicBezTo>
                  <a:cubicBezTo>
                    <a:pt x="91388" y="92897"/>
                    <a:pt x="91005" y="95265"/>
                    <a:pt x="90549" y="97194"/>
                  </a:cubicBezTo>
                  <a:cubicBezTo>
                    <a:pt x="90094" y="99116"/>
                    <a:pt x="89606" y="100959"/>
                    <a:pt x="89104" y="102763"/>
                  </a:cubicBezTo>
                  <a:cubicBezTo>
                    <a:pt x="83044" y="121335"/>
                    <a:pt x="68734" y="130604"/>
                    <a:pt x="46186" y="130604"/>
                  </a:cubicBezTo>
                  <a:lnTo>
                    <a:pt x="1941" y="130604"/>
                  </a:lnTo>
                  <a:cubicBezTo>
                    <a:pt x="647" y="130604"/>
                    <a:pt x="0" y="129961"/>
                    <a:pt x="0" y="128682"/>
                  </a:cubicBezTo>
                  <a:lnTo>
                    <a:pt x="0" y="1916"/>
                  </a:lnTo>
                  <a:close/>
                  <a:moveTo>
                    <a:pt x="17380" y="113509"/>
                  </a:moveTo>
                  <a:cubicBezTo>
                    <a:pt x="17380" y="114276"/>
                    <a:pt x="17776" y="114670"/>
                    <a:pt x="18548" y="114670"/>
                  </a:cubicBezTo>
                  <a:lnTo>
                    <a:pt x="42634" y="114670"/>
                  </a:lnTo>
                  <a:cubicBezTo>
                    <a:pt x="50595" y="114670"/>
                    <a:pt x="57024" y="113292"/>
                    <a:pt x="61895" y="110530"/>
                  </a:cubicBezTo>
                  <a:cubicBezTo>
                    <a:pt x="66773" y="107775"/>
                    <a:pt x="70298" y="103203"/>
                    <a:pt x="72490" y="96813"/>
                  </a:cubicBezTo>
                  <a:cubicBezTo>
                    <a:pt x="72879" y="95652"/>
                    <a:pt x="73255" y="94307"/>
                    <a:pt x="73638" y="92772"/>
                  </a:cubicBezTo>
                  <a:cubicBezTo>
                    <a:pt x="74028" y="91237"/>
                    <a:pt x="74312" y="89282"/>
                    <a:pt x="74510" y="86914"/>
                  </a:cubicBezTo>
                  <a:cubicBezTo>
                    <a:pt x="74701" y="84546"/>
                    <a:pt x="74866" y="81633"/>
                    <a:pt x="74991" y="78183"/>
                  </a:cubicBezTo>
                  <a:cubicBezTo>
                    <a:pt x="75117" y="74719"/>
                    <a:pt x="75183" y="70429"/>
                    <a:pt x="75183" y="65305"/>
                  </a:cubicBezTo>
                  <a:cubicBezTo>
                    <a:pt x="75183" y="60175"/>
                    <a:pt x="75117" y="55892"/>
                    <a:pt x="74991" y="52428"/>
                  </a:cubicBezTo>
                  <a:cubicBezTo>
                    <a:pt x="74866" y="48977"/>
                    <a:pt x="74701" y="46065"/>
                    <a:pt x="74510" y="43690"/>
                  </a:cubicBezTo>
                  <a:cubicBezTo>
                    <a:pt x="74312" y="41315"/>
                    <a:pt x="74028" y="39367"/>
                    <a:pt x="73638" y="37832"/>
                  </a:cubicBezTo>
                  <a:cubicBezTo>
                    <a:pt x="73255" y="36297"/>
                    <a:pt x="72879" y="34952"/>
                    <a:pt x="72490" y="33791"/>
                  </a:cubicBezTo>
                  <a:cubicBezTo>
                    <a:pt x="70298" y="27401"/>
                    <a:pt x="66773" y="22822"/>
                    <a:pt x="61895" y="20067"/>
                  </a:cubicBezTo>
                  <a:cubicBezTo>
                    <a:pt x="57024" y="17312"/>
                    <a:pt x="50595" y="15934"/>
                    <a:pt x="42634" y="15934"/>
                  </a:cubicBezTo>
                  <a:lnTo>
                    <a:pt x="18548" y="15934"/>
                  </a:lnTo>
                  <a:cubicBezTo>
                    <a:pt x="17776" y="15934"/>
                    <a:pt x="17380" y="16321"/>
                    <a:pt x="17380" y="17089"/>
                  </a:cubicBezTo>
                  <a:lnTo>
                    <a:pt x="17380" y="113509"/>
                  </a:lnTo>
                  <a:close/>
                </a:path>
              </a:pathLst>
            </a:custGeom>
            <a:solidFill>
              <a:schemeClr val="bg2"/>
            </a:solidFill>
            <a:ln w="7" cap="flat">
              <a:noFill/>
              <a:prstDash val="solid"/>
              <a:miter/>
            </a:ln>
          </p:spPr>
          <p:txBody>
            <a:bodyPr rtlCol="0" anchor="ctr"/>
            <a:lstStyle/>
            <a:p>
              <a:endParaRPr lang="de-DE"/>
            </a:p>
          </p:txBody>
        </p:sp>
        <p:sp>
          <p:nvSpPr>
            <p:cNvPr id="24" name="Freeform: Shape 23">
              <a:extLst>
                <a:ext uri="{FF2B5EF4-FFF2-40B4-BE49-F238E27FC236}">
                  <a16:creationId xmlns:a16="http://schemas.microsoft.com/office/drawing/2014/main" id="{CE58B292-6101-4DAE-82BF-1C3F399AF875}"/>
                </a:ext>
              </a:extLst>
            </p:cNvPr>
            <p:cNvSpPr/>
            <p:nvPr/>
          </p:nvSpPr>
          <p:spPr>
            <a:xfrm>
              <a:off x="1255519" y="801425"/>
              <a:ext cx="108302" cy="130604"/>
            </a:xfrm>
            <a:custGeom>
              <a:avLst/>
              <a:gdLst>
                <a:gd name="connsiteX0" fmla="*/ 45740 w 108302"/>
                <a:gd name="connsiteY0" fmla="*/ 1916 h 130604"/>
                <a:gd name="connsiteX1" fmla="*/ 48057 w 108302"/>
                <a:gd name="connsiteY1" fmla="*/ 0 h 130604"/>
                <a:gd name="connsiteX2" fmla="*/ 60632 w 108302"/>
                <a:gd name="connsiteY2" fmla="*/ 0 h 130604"/>
                <a:gd name="connsiteX3" fmla="*/ 63140 w 108302"/>
                <a:gd name="connsiteY3" fmla="*/ 1916 h 130604"/>
                <a:gd name="connsiteX4" fmla="*/ 108171 w 108302"/>
                <a:gd name="connsiteY4" fmla="*/ 128682 h 130604"/>
                <a:gd name="connsiteX5" fmla="*/ 106817 w 108302"/>
                <a:gd name="connsiteY5" fmla="*/ 130604 h 130604"/>
                <a:gd name="connsiteX6" fmla="*/ 93292 w 108302"/>
                <a:gd name="connsiteY6" fmla="*/ 130604 h 130604"/>
                <a:gd name="connsiteX7" fmla="*/ 90784 w 108302"/>
                <a:gd name="connsiteY7" fmla="*/ 128682 h 130604"/>
                <a:gd name="connsiteX8" fmla="*/ 80731 w 108302"/>
                <a:gd name="connsiteY8" fmla="*/ 100257 h 130604"/>
                <a:gd name="connsiteX9" fmla="*/ 27575 w 108302"/>
                <a:gd name="connsiteY9" fmla="*/ 100257 h 130604"/>
                <a:gd name="connsiteX10" fmla="*/ 17522 w 108302"/>
                <a:gd name="connsiteY10" fmla="*/ 128682 h 130604"/>
                <a:gd name="connsiteX11" fmla="*/ 15014 w 108302"/>
                <a:gd name="connsiteY11" fmla="*/ 130604 h 130604"/>
                <a:gd name="connsiteX12" fmla="*/ 1482 w 108302"/>
                <a:gd name="connsiteY12" fmla="*/ 130604 h 130604"/>
                <a:gd name="connsiteX13" fmla="*/ 136 w 108302"/>
                <a:gd name="connsiteY13" fmla="*/ 128682 h 130604"/>
                <a:gd name="connsiteX14" fmla="*/ 45740 w 108302"/>
                <a:gd name="connsiteY14" fmla="*/ 1916 h 130604"/>
                <a:gd name="connsiteX15" fmla="*/ 75127 w 108302"/>
                <a:gd name="connsiteY15" fmla="*/ 84513 h 130604"/>
                <a:gd name="connsiteX16" fmla="*/ 54440 w 108302"/>
                <a:gd name="connsiteY16" fmla="*/ 25164 h 130604"/>
                <a:gd name="connsiteX17" fmla="*/ 54051 w 108302"/>
                <a:gd name="connsiteY17" fmla="*/ 25164 h 130604"/>
                <a:gd name="connsiteX18" fmla="*/ 33179 w 108302"/>
                <a:gd name="connsiteY18" fmla="*/ 84513 h 130604"/>
                <a:gd name="connsiteX19" fmla="*/ 75127 w 108302"/>
                <a:gd name="connsiteY19" fmla="*/ 84513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302" h="130604">
                  <a:moveTo>
                    <a:pt x="45740" y="1916"/>
                  </a:moveTo>
                  <a:cubicBezTo>
                    <a:pt x="46117" y="636"/>
                    <a:pt x="46896" y="0"/>
                    <a:pt x="48057" y="0"/>
                  </a:cubicBezTo>
                  <a:lnTo>
                    <a:pt x="60632" y="0"/>
                  </a:lnTo>
                  <a:cubicBezTo>
                    <a:pt x="61906" y="0"/>
                    <a:pt x="62757" y="636"/>
                    <a:pt x="63140" y="1916"/>
                  </a:cubicBezTo>
                  <a:lnTo>
                    <a:pt x="108171" y="128682"/>
                  </a:lnTo>
                  <a:cubicBezTo>
                    <a:pt x="108553" y="129961"/>
                    <a:pt x="108105" y="130604"/>
                    <a:pt x="106817" y="130604"/>
                  </a:cubicBezTo>
                  <a:lnTo>
                    <a:pt x="93292" y="130604"/>
                  </a:lnTo>
                  <a:cubicBezTo>
                    <a:pt x="91999" y="130604"/>
                    <a:pt x="91160" y="129961"/>
                    <a:pt x="90784" y="128682"/>
                  </a:cubicBezTo>
                  <a:lnTo>
                    <a:pt x="80731" y="100257"/>
                  </a:lnTo>
                  <a:lnTo>
                    <a:pt x="27575" y="100257"/>
                  </a:lnTo>
                  <a:lnTo>
                    <a:pt x="17522" y="128682"/>
                  </a:lnTo>
                  <a:cubicBezTo>
                    <a:pt x="17007" y="129961"/>
                    <a:pt x="16169" y="130604"/>
                    <a:pt x="15014" y="130604"/>
                  </a:cubicBezTo>
                  <a:lnTo>
                    <a:pt x="1482" y="130604"/>
                  </a:lnTo>
                  <a:cubicBezTo>
                    <a:pt x="195" y="130604"/>
                    <a:pt x="-254" y="129961"/>
                    <a:pt x="136" y="128682"/>
                  </a:cubicBezTo>
                  <a:lnTo>
                    <a:pt x="45740" y="1916"/>
                  </a:lnTo>
                  <a:close/>
                  <a:moveTo>
                    <a:pt x="75127" y="84513"/>
                  </a:moveTo>
                  <a:lnTo>
                    <a:pt x="54440" y="25164"/>
                  </a:lnTo>
                  <a:lnTo>
                    <a:pt x="54051" y="25164"/>
                  </a:lnTo>
                  <a:lnTo>
                    <a:pt x="33179" y="84513"/>
                  </a:lnTo>
                  <a:lnTo>
                    <a:pt x="75127" y="84513"/>
                  </a:lnTo>
                  <a:close/>
                </a:path>
              </a:pathLst>
            </a:custGeom>
            <a:solidFill>
              <a:schemeClr val="bg2"/>
            </a:solidFill>
            <a:ln w="7" cap="flat">
              <a:noFill/>
              <a:prstDash val="solid"/>
              <a:miter/>
            </a:ln>
          </p:spPr>
          <p:txBody>
            <a:bodyPr rtlCol="0" anchor="ctr"/>
            <a:lstStyle/>
            <a:p>
              <a:endParaRPr lang="de-DE"/>
            </a:p>
          </p:txBody>
        </p:sp>
        <p:sp>
          <p:nvSpPr>
            <p:cNvPr id="25" name="Freeform: Shape 24">
              <a:extLst>
                <a:ext uri="{FF2B5EF4-FFF2-40B4-BE49-F238E27FC236}">
                  <a16:creationId xmlns:a16="http://schemas.microsoft.com/office/drawing/2014/main" id="{8E37CA7B-2A07-4B31-B191-22A0776C6856}"/>
                </a:ext>
              </a:extLst>
            </p:cNvPr>
            <p:cNvSpPr/>
            <p:nvPr/>
          </p:nvSpPr>
          <p:spPr>
            <a:xfrm>
              <a:off x="1386489" y="801425"/>
              <a:ext cx="90655" cy="130604"/>
            </a:xfrm>
            <a:custGeom>
              <a:avLst/>
              <a:gdLst>
                <a:gd name="connsiteX0" fmla="*/ 0 w 90655"/>
                <a:gd name="connsiteY0" fmla="*/ 1916 h 130604"/>
                <a:gd name="connsiteX1" fmla="*/ 1941 w 90655"/>
                <a:gd name="connsiteY1" fmla="*/ 0 h 130604"/>
                <a:gd name="connsiteX2" fmla="*/ 48522 w 90655"/>
                <a:gd name="connsiteY2" fmla="*/ 0 h 130604"/>
                <a:gd name="connsiteX3" fmla="*/ 78272 w 90655"/>
                <a:gd name="connsiteY3" fmla="*/ 9309 h 130604"/>
                <a:gd name="connsiteX4" fmla="*/ 88127 w 90655"/>
                <a:gd name="connsiteY4" fmla="*/ 34375 h 130604"/>
                <a:gd name="connsiteX5" fmla="*/ 83203 w 90655"/>
                <a:gd name="connsiteY5" fmla="*/ 52815 h 130604"/>
                <a:gd name="connsiteX6" fmla="*/ 70556 w 90655"/>
                <a:gd name="connsiteY6" fmla="*/ 62806 h 130604"/>
                <a:gd name="connsiteX7" fmla="*/ 70556 w 90655"/>
                <a:gd name="connsiteY7" fmla="*/ 63193 h 130604"/>
                <a:gd name="connsiteX8" fmla="*/ 77401 w 90655"/>
                <a:gd name="connsiteY8" fmla="*/ 66552 h 130604"/>
                <a:gd name="connsiteX9" fmla="*/ 83883 w 90655"/>
                <a:gd name="connsiteY9" fmla="*/ 72699 h 130604"/>
                <a:gd name="connsiteX10" fmla="*/ 88708 w 90655"/>
                <a:gd name="connsiteY10" fmla="*/ 81633 h 130604"/>
                <a:gd name="connsiteX11" fmla="*/ 90655 w 90655"/>
                <a:gd name="connsiteY11" fmla="*/ 93356 h 130604"/>
                <a:gd name="connsiteX12" fmla="*/ 79506 w 90655"/>
                <a:gd name="connsiteY12" fmla="*/ 121204 h 130604"/>
                <a:gd name="connsiteX13" fmla="*/ 47644 w 90655"/>
                <a:gd name="connsiteY13" fmla="*/ 130604 h 130604"/>
                <a:gd name="connsiteX14" fmla="*/ 1941 w 90655"/>
                <a:gd name="connsiteY14" fmla="*/ 130604 h 130604"/>
                <a:gd name="connsiteX15" fmla="*/ 0 w 90655"/>
                <a:gd name="connsiteY15" fmla="*/ 128682 h 130604"/>
                <a:gd name="connsiteX16" fmla="*/ 0 w 90655"/>
                <a:gd name="connsiteY16" fmla="*/ 1916 h 130604"/>
                <a:gd name="connsiteX17" fmla="*/ 48205 w 90655"/>
                <a:gd name="connsiteY17" fmla="*/ 56462 h 130604"/>
                <a:gd name="connsiteX18" fmla="*/ 65176 w 90655"/>
                <a:gd name="connsiteY18" fmla="*/ 50906 h 130604"/>
                <a:gd name="connsiteX19" fmla="*/ 71137 w 90655"/>
                <a:gd name="connsiteY19" fmla="*/ 36113 h 130604"/>
                <a:gd name="connsiteX20" fmla="*/ 65176 w 90655"/>
                <a:gd name="connsiteY20" fmla="*/ 21123 h 130604"/>
                <a:gd name="connsiteX21" fmla="*/ 48205 w 90655"/>
                <a:gd name="connsiteY21" fmla="*/ 15554 h 130604"/>
                <a:gd name="connsiteX22" fmla="*/ 18555 w 90655"/>
                <a:gd name="connsiteY22" fmla="*/ 15554 h 130604"/>
                <a:gd name="connsiteX23" fmla="*/ 17393 w 90655"/>
                <a:gd name="connsiteY23" fmla="*/ 16702 h 130604"/>
                <a:gd name="connsiteX24" fmla="*/ 17393 w 90655"/>
                <a:gd name="connsiteY24" fmla="*/ 55308 h 130604"/>
                <a:gd name="connsiteX25" fmla="*/ 18555 w 90655"/>
                <a:gd name="connsiteY25" fmla="*/ 56462 h 130604"/>
                <a:gd name="connsiteX26" fmla="*/ 48205 w 90655"/>
                <a:gd name="connsiteY26" fmla="*/ 56462 h 130604"/>
                <a:gd name="connsiteX27" fmla="*/ 17393 w 90655"/>
                <a:gd name="connsiteY27" fmla="*/ 113896 h 130604"/>
                <a:gd name="connsiteX28" fmla="*/ 18555 w 90655"/>
                <a:gd name="connsiteY28" fmla="*/ 115044 h 130604"/>
                <a:gd name="connsiteX29" fmla="*/ 49196 w 90655"/>
                <a:gd name="connsiteY29" fmla="*/ 115044 h 130604"/>
                <a:gd name="connsiteX30" fmla="*/ 67097 w 90655"/>
                <a:gd name="connsiteY30" fmla="*/ 109199 h 130604"/>
                <a:gd name="connsiteX31" fmla="*/ 73262 w 90655"/>
                <a:gd name="connsiteY31" fmla="*/ 93540 h 130604"/>
                <a:gd name="connsiteX32" fmla="*/ 67097 w 90655"/>
                <a:gd name="connsiteY32" fmla="*/ 77881 h 130604"/>
                <a:gd name="connsiteX33" fmla="*/ 49196 w 90655"/>
                <a:gd name="connsiteY33" fmla="*/ 72029 h 130604"/>
                <a:gd name="connsiteX34" fmla="*/ 18555 w 90655"/>
                <a:gd name="connsiteY34" fmla="*/ 72029 h 130604"/>
                <a:gd name="connsiteX35" fmla="*/ 17393 w 90655"/>
                <a:gd name="connsiteY35" fmla="*/ 73191 h 130604"/>
                <a:gd name="connsiteX36" fmla="*/ 17393 w 90655"/>
                <a:gd name="connsiteY36" fmla="*/ 11389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0655" h="130604">
                  <a:moveTo>
                    <a:pt x="0" y="1916"/>
                  </a:moveTo>
                  <a:cubicBezTo>
                    <a:pt x="0" y="636"/>
                    <a:pt x="647" y="0"/>
                    <a:pt x="1941" y="0"/>
                  </a:cubicBezTo>
                  <a:lnTo>
                    <a:pt x="48522" y="0"/>
                  </a:lnTo>
                  <a:cubicBezTo>
                    <a:pt x="61790" y="0"/>
                    <a:pt x="71704" y="3109"/>
                    <a:pt x="78272" y="9309"/>
                  </a:cubicBezTo>
                  <a:cubicBezTo>
                    <a:pt x="84853" y="15521"/>
                    <a:pt x="88127" y="23879"/>
                    <a:pt x="88127" y="34375"/>
                  </a:cubicBezTo>
                  <a:cubicBezTo>
                    <a:pt x="88127" y="42057"/>
                    <a:pt x="86483" y="48210"/>
                    <a:pt x="83203" y="52815"/>
                  </a:cubicBezTo>
                  <a:cubicBezTo>
                    <a:pt x="79929" y="57420"/>
                    <a:pt x="75691" y="60759"/>
                    <a:pt x="70556" y="62806"/>
                  </a:cubicBezTo>
                  <a:lnTo>
                    <a:pt x="70556" y="63193"/>
                  </a:lnTo>
                  <a:cubicBezTo>
                    <a:pt x="72747" y="63829"/>
                    <a:pt x="75018" y="64945"/>
                    <a:pt x="77401" y="66552"/>
                  </a:cubicBezTo>
                  <a:cubicBezTo>
                    <a:pt x="79784" y="68159"/>
                    <a:pt x="81949" y="70199"/>
                    <a:pt x="83883" y="72699"/>
                  </a:cubicBezTo>
                  <a:cubicBezTo>
                    <a:pt x="85803" y="75198"/>
                    <a:pt x="87414" y="78183"/>
                    <a:pt x="88708" y="81633"/>
                  </a:cubicBezTo>
                  <a:cubicBezTo>
                    <a:pt x="90002" y="85091"/>
                    <a:pt x="90655" y="88994"/>
                    <a:pt x="90655" y="93356"/>
                  </a:cubicBezTo>
                  <a:cubicBezTo>
                    <a:pt x="90655" y="105650"/>
                    <a:pt x="86939" y="114919"/>
                    <a:pt x="79506" y="121204"/>
                  </a:cubicBezTo>
                  <a:cubicBezTo>
                    <a:pt x="72080" y="127462"/>
                    <a:pt x="61473" y="130604"/>
                    <a:pt x="47644" y="130604"/>
                  </a:cubicBezTo>
                  <a:lnTo>
                    <a:pt x="1941" y="130604"/>
                  </a:lnTo>
                  <a:cubicBezTo>
                    <a:pt x="647" y="130604"/>
                    <a:pt x="0" y="129961"/>
                    <a:pt x="0" y="128682"/>
                  </a:cubicBezTo>
                  <a:lnTo>
                    <a:pt x="0" y="1916"/>
                  </a:lnTo>
                  <a:close/>
                  <a:moveTo>
                    <a:pt x="48205" y="56462"/>
                  </a:moveTo>
                  <a:cubicBezTo>
                    <a:pt x="55539" y="56462"/>
                    <a:pt x="61176" y="54606"/>
                    <a:pt x="65176" y="50906"/>
                  </a:cubicBezTo>
                  <a:cubicBezTo>
                    <a:pt x="69143" y="47193"/>
                    <a:pt x="71137" y="42253"/>
                    <a:pt x="71137" y="36113"/>
                  </a:cubicBezTo>
                  <a:cubicBezTo>
                    <a:pt x="71137" y="29829"/>
                    <a:pt x="69143" y="24830"/>
                    <a:pt x="65176" y="21123"/>
                  </a:cubicBezTo>
                  <a:cubicBezTo>
                    <a:pt x="61176" y="17404"/>
                    <a:pt x="55539" y="15554"/>
                    <a:pt x="48205" y="15554"/>
                  </a:cubicBezTo>
                  <a:lnTo>
                    <a:pt x="18555" y="15554"/>
                  </a:lnTo>
                  <a:cubicBezTo>
                    <a:pt x="17782" y="15554"/>
                    <a:pt x="17393" y="15934"/>
                    <a:pt x="17393" y="16702"/>
                  </a:cubicBezTo>
                  <a:lnTo>
                    <a:pt x="17393" y="55308"/>
                  </a:lnTo>
                  <a:cubicBezTo>
                    <a:pt x="17393" y="56075"/>
                    <a:pt x="17782" y="56462"/>
                    <a:pt x="18555" y="56462"/>
                  </a:cubicBezTo>
                  <a:lnTo>
                    <a:pt x="48205" y="56462"/>
                  </a:lnTo>
                  <a:close/>
                  <a:moveTo>
                    <a:pt x="17393" y="113896"/>
                  </a:moveTo>
                  <a:cubicBezTo>
                    <a:pt x="17393" y="114670"/>
                    <a:pt x="17782" y="115044"/>
                    <a:pt x="18555" y="115044"/>
                  </a:cubicBezTo>
                  <a:lnTo>
                    <a:pt x="49196" y="115044"/>
                  </a:lnTo>
                  <a:cubicBezTo>
                    <a:pt x="57024" y="115044"/>
                    <a:pt x="62985" y="113089"/>
                    <a:pt x="67097" y="109199"/>
                  </a:cubicBezTo>
                  <a:cubicBezTo>
                    <a:pt x="71209" y="105289"/>
                    <a:pt x="73262" y="100067"/>
                    <a:pt x="73262" y="93540"/>
                  </a:cubicBezTo>
                  <a:cubicBezTo>
                    <a:pt x="73262" y="87000"/>
                    <a:pt x="71209" y="81791"/>
                    <a:pt x="67097" y="77881"/>
                  </a:cubicBezTo>
                  <a:cubicBezTo>
                    <a:pt x="62985" y="73984"/>
                    <a:pt x="57024" y="72029"/>
                    <a:pt x="49196" y="72029"/>
                  </a:cubicBezTo>
                  <a:lnTo>
                    <a:pt x="18555" y="72029"/>
                  </a:lnTo>
                  <a:cubicBezTo>
                    <a:pt x="17782" y="72029"/>
                    <a:pt x="17393" y="72417"/>
                    <a:pt x="17393" y="73191"/>
                  </a:cubicBezTo>
                  <a:lnTo>
                    <a:pt x="17393" y="113896"/>
                  </a:lnTo>
                  <a:close/>
                </a:path>
              </a:pathLst>
            </a:custGeom>
            <a:solidFill>
              <a:schemeClr val="bg2"/>
            </a:solidFill>
            <a:ln w="7" cap="flat">
              <a:noFill/>
              <a:prstDash val="solid"/>
              <a:miter/>
            </a:ln>
          </p:spPr>
          <p:txBody>
            <a:bodyPr rtlCol="0" anchor="ctr"/>
            <a:lstStyle/>
            <a:p>
              <a:endParaRPr lang="de-DE"/>
            </a:p>
          </p:txBody>
        </p:sp>
        <p:sp>
          <p:nvSpPr>
            <p:cNvPr id="26" name="Freeform: Shape 25">
              <a:extLst>
                <a:ext uri="{FF2B5EF4-FFF2-40B4-BE49-F238E27FC236}">
                  <a16:creationId xmlns:a16="http://schemas.microsoft.com/office/drawing/2014/main" id="{58ABC67D-281C-4F6E-B665-2AC9883A96C9}"/>
                </a:ext>
              </a:extLst>
            </p:cNvPr>
            <p:cNvSpPr/>
            <p:nvPr/>
          </p:nvSpPr>
          <p:spPr>
            <a:xfrm>
              <a:off x="1505164" y="801425"/>
              <a:ext cx="83103" cy="130604"/>
            </a:xfrm>
            <a:custGeom>
              <a:avLst/>
              <a:gdLst>
                <a:gd name="connsiteX0" fmla="*/ 0 w 83103"/>
                <a:gd name="connsiteY0" fmla="*/ 1916 h 130604"/>
                <a:gd name="connsiteX1" fmla="*/ 1934 w 83103"/>
                <a:gd name="connsiteY1" fmla="*/ 0 h 130604"/>
                <a:gd name="connsiteX2" fmla="*/ 81170 w 83103"/>
                <a:gd name="connsiteY2" fmla="*/ 0 h 130604"/>
                <a:gd name="connsiteX3" fmla="*/ 83104 w 83103"/>
                <a:gd name="connsiteY3" fmla="*/ 1916 h 130604"/>
                <a:gd name="connsiteX4" fmla="*/ 83104 w 83103"/>
                <a:gd name="connsiteY4" fmla="*/ 14006 h 130604"/>
                <a:gd name="connsiteX5" fmla="*/ 81170 w 83103"/>
                <a:gd name="connsiteY5" fmla="*/ 15934 h 130604"/>
                <a:gd name="connsiteX6" fmla="*/ 18555 w 83103"/>
                <a:gd name="connsiteY6" fmla="*/ 15934 h 130604"/>
                <a:gd name="connsiteX7" fmla="*/ 17406 w 83103"/>
                <a:gd name="connsiteY7" fmla="*/ 17089 h 130604"/>
                <a:gd name="connsiteX8" fmla="*/ 17406 w 83103"/>
                <a:gd name="connsiteY8" fmla="*/ 55505 h 130604"/>
                <a:gd name="connsiteX9" fmla="*/ 18555 w 83103"/>
                <a:gd name="connsiteY9" fmla="*/ 56653 h 130604"/>
                <a:gd name="connsiteX10" fmla="*/ 71691 w 83103"/>
                <a:gd name="connsiteY10" fmla="*/ 56653 h 130604"/>
                <a:gd name="connsiteX11" fmla="*/ 73638 w 83103"/>
                <a:gd name="connsiteY11" fmla="*/ 58575 h 130604"/>
                <a:gd name="connsiteX12" fmla="*/ 73638 w 83103"/>
                <a:gd name="connsiteY12" fmla="*/ 70678 h 130604"/>
                <a:gd name="connsiteX13" fmla="*/ 71691 w 83103"/>
                <a:gd name="connsiteY13" fmla="*/ 72607 h 130604"/>
                <a:gd name="connsiteX14" fmla="*/ 18555 w 83103"/>
                <a:gd name="connsiteY14" fmla="*/ 72607 h 130604"/>
                <a:gd name="connsiteX15" fmla="*/ 17406 w 83103"/>
                <a:gd name="connsiteY15" fmla="*/ 73755 h 130604"/>
                <a:gd name="connsiteX16" fmla="*/ 17406 w 83103"/>
                <a:gd name="connsiteY16" fmla="*/ 113509 h 130604"/>
                <a:gd name="connsiteX17" fmla="*/ 18555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1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34" y="0"/>
                  </a:cubicBezTo>
                  <a:lnTo>
                    <a:pt x="81170" y="0"/>
                  </a:lnTo>
                  <a:cubicBezTo>
                    <a:pt x="82463" y="0"/>
                    <a:pt x="83104" y="636"/>
                    <a:pt x="83104" y="1916"/>
                  </a:cubicBezTo>
                  <a:lnTo>
                    <a:pt x="83104" y="14006"/>
                  </a:lnTo>
                  <a:cubicBezTo>
                    <a:pt x="83104" y="15292"/>
                    <a:pt x="82463" y="15934"/>
                    <a:pt x="81170" y="15934"/>
                  </a:cubicBezTo>
                  <a:lnTo>
                    <a:pt x="18555" y="15934"/>
                  </a:lnTo>
                  <a:cubicBezTo>
                    <a:pt x="17782" y="15934"/>
                    <a:pt x="17406" y="16321"/>
                    <a:pt x="17406" y="17089"/>
                  </a:cubicBezTo>
                  <a:lnTo>
                    <a:pt x="17406" y="55505"/>
                  </a:lnTo>
                  <a:cubicBezTo>
                    <a:pt x="17406" y="56279"/>
                    <a:pt x="17782" y="56653"/>
                    <a:pt x="18555" y="56653"/>
                  </a:cubicBezTo>
                  <a:lnTo>
                    <a:pt x="71691" y="56653"/>
                  </a:lnTo>
                  <a:cubicBezTo>
                    <a:pt x="72985" y="56653"/>
                    <a:pt x="73638" y="57296"/>
                    <a:pt x="73638" y="58575"/>
                  </a:cubicBezTo>
                  <a:lnTo>
                    <a:pt x="73638" y="70678"/>
                  </a:lnTo>
                  <a:cubicBezTo>
                    <a:pt x="73638" y="71970"/>
                    <a:pt x="72985" y="72607"/>
                    <a:pt x="71691" y="72607"/>
                  </a:cubicBezTo>
                  <a:lnTo>
                    <a:pt x="18555" y="72607"/>
                  </a:lnTo>
                  <a:cubicBezTo>
                    <a:pt x="17782" y="72607"/>
                    <a:pt x="17406" y="72987"/>
                    <a:pt x="17406" y="73755"/>
                  </a:cubicBezTo>
                  <a:lnTo>
                    <a:pt x="17406" y="113509"/>
                  </a:lnTo>
                  <a:cubicBezTo>
                    <a:pt x="17406" y="114276"/>
                    <a:pt x="17782" y="114670"/>
                    <a:pt x="18555" y="114670"/>
                  </a:cubicBezTo>
                  <a:lnTo>
                    <a:pt x="81170" y="114670"/>
                  </a:lnTo>
                  <a:cubicBezTo>
                    <a:pt x="82463" y="114670"/>
                    <a:pt x="83104" y="115306"/>
                    <a:pt x="83104" y="116592"/>
                  </a:cubicBezTo>
                  <a:lnTo>
                    <a:pt x="83104" y="128682"/>
                  </a:lnTo>
                  <a:cubicBezTo>
                    <a:pt x="83104" y="129961"/>
                    <a:pt x="82463" y="130604"/>
                    <a:pt x="81170" y="130604"/>
                  </a:cubicBezTo>
                  <a:lnTo>
                    <a:pt x="1941"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27" name="Freeform: Shape 26">
              <a:extLst>
                <a:ext uri="{FF2B5EF4-FFF2-40B4-BE49-F238E27FC236}">
                  <a16:creationId xmlns:a16="http://schemas.microsoft.com/office/drawing/2014/main" id="{C9A0DEAC-55F3-48E3-AE82-00B41F65FA04}"/>
                </a:ext>
              </a:extLst>
            </p:cNvPr>
            <p:cNvSpPr/>
            <p:nvPr/>
          </p:nvSpPr>
          <p:spPr>
            <a:xfrm>
              <a:off x="1615905" y="801425"/>
              <a:ext cx="83103" cy="130604"/>
            </a:xfrm>
            <a:custGeom>
              <a:avLst/>
              <a:gdLst>
                <a:gd name="connsiteX0" fmla="*/ 0 w 83103"/>
                <a:gd name="connsiteY0" fmla="*/ 1916 h 130604"/>
                <a:gd name="connsiteX1" fmla="*/ 1947 w 83103"/>
                <a:gd name="connsiteY1" fmla="*/ 0 h 130604"/>
                <a:gd name="connsiteX2" fmla="*/ 15433 w 83103"/>
                <a:gd name="connsiteY2" fmla="*/ 0 h 130604"/>
                <a:gd name="connsiteX3" fmla="*/ 17406 w 83103"/>
                <a:gd name="connsiteY3" fmla="*/ 1916 h 130604"/>
                <a:gd name="connsiteX4" fmla="*/ 17406 w 83103"/>
                <a:gd name="connsiteY4" fmla="*/ 113509 h 130604"/>
                <a:gd name="connsiteX5" fmla="*/ 18555 w 83103"/>
                <a:gd name="connsiteY5" fmla="*/ 114670 h 130604"/>
                <a:gd name="connsiteX6" fmla="*/ 81176 w 83103"/>
                <a:gd name="connsiteY6" fmla="*/ 114670 h 130604"/>
                <a:gd name="connsiteX7" fmla="*/ 83097 w 83103"/>
                <a:gd name="connsiteY7" fmla="*/ 116592 h 130604"/>
                <a:gd name="connsiteX8" fmla="*/ 83104 w 83103"/>
                <a:gd name="connsiteY8" fmla="*/ 128682 h 130604"/>
                <a:gd name="connsiteX9" fmla="*/ 81176 w 83103"/>
                <a:gd name="connsiteY9" fmla="*/ 130604 h 130604"/>
                <a:gd name="connsiteX10" fmla="*/ 1947 w 83103"/>
                <a:gd name="connsiteY10" fmla="*/ 130604 h 130604"/>
                <a:gd name="connsiteX11" fmla="*/ 0 w 83103"/>
                <a:gd name="connsiteY11" fmla="*/ 128682 h 130604"/>
                <a:gd name="connsiteX12" fmla="*/ 0 w 83103"/>
                <a:gd name="connsiteY12"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03" h="130604">
                  <a:moveTo>
                    <a:pt x="0" y="1916"/>
                  </a:moveTo>
                  <a:cubicBezTo>
                    <a:pt x="0" y="636"/>
                    <a:pt x="653" y="0"/>
                    <a:pt x="1947" y="0"/>
                  </a:cubicBezTo>
                  <a:lnTo>
                    <a:pt x="15433" y="0"/>
                  </a:lnTo>
                  <a:cubicBezTo>
                    <a:pt x="16753" y="0"/>
                    <a:pt x="17406" y="636"/>
                    <a:pt x="17406" y="1916"/>
                  </a:cubicBezTo>
                  <a:lnTo>
                    <a:pt x="17406" y="113509"/>
                  </a:lnTo>
                  <a:cubicBezTo>
                    <a:pt x="17406" y="114276"/>
                    <a:pt x="17776" y="114670"/>
                    <a:pt x="18555" y="114670"/>
                  </a:cubicBezTo>
                  <a:lnTo>
                    <a:pt x="81176" y="114670"/>
                  </a:lnTo>
                  <a:cubicBezTo>
                    <a:pt x="82463" y="114670"/>
                    <a:pt x="83097" y="115306"/>
                    <a:pt x="83097" y="116592"/>
                  </a:cubicBezTo>
                  <a:lnTo>
                    <a:pt x="83104" y="128682"/>
                  </a:lnTo>
                  <a:cubicBezTo>
                    <a:pt x="83104" y="129961"/>
                    <a:pt x="82463" y="130604"/>
                    <a:pt x="81176" y="130604"/>
                  </a:cubicBezTo>
                  <a:lnTo>
                    <a:pt x="1947"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28" name="Freeform: Shape 27">
              <a:extLst>
                <a:ext uri="{FF2B5EF4-FFF2-40B4-BE49-F238E27FC236}">
                  <a16:creationId xmlns:a16="http://schemas.microsoft.com/office/drawing/2014/main" id="{FF5CD098-B9F8-4BA7-A453-4570F04B8CC3}"/>
                </a:ext>
              </a:extLst>
            </p:cNvPr>
            <p:cNvSpPr/>
            <p:nvPr/>
          </p:nvSpPr>
          <p:spPr>
            <a:xfrm>
              <a:off x="1714714" y="799312"/>
              <a:ext cx="94858" cy="134835"/>
            </a:xfrm>
            <a:custGeom>
              <a:avLst/>
              <a:gdLst>
                <a:gd name="connsiteX0" fmla="*/ 46910 w 94858"/>
                <a:gd name="connsiteY0" fmla="*/ 134836 h 134835"/>
                <a:gd name="connsiteX1" fmla="*/ 33187 w 94858"/>
                <a:gd name="connsiteY1" fmla="*/ 133491 h 134835"/>
                <a:gd name="connsiteX2" fmla="*/ 20434 w 94858"/>
                <a:gd name="connsiteY2" fmla="*/ 129929 h 134835"/>
                <a:gd name="connsiteX3" fmla="*/ 9431 w 94858"/>
                <a:gd name="connsiteY3" fmla="*/ 124753 h 134835"/>
                <a:gd name="connsiteX4" fmla="*/ 724 w 94858"/>
                <a:gd name="connsiteY4" fmla="*/ 118508 h 134835"/>
                <a:gd name="connsiteX5" fmla="*/ 526 w 94858"/>
                <a:gd name="connsiteY5" fmla="*/ 115621 h 134835"/>
                <a:gd name="connsiteX6" fmla="*/ 9028 w 94858"/>
                <a:gd name="connsiteY6" fmla="*/ 105643 h 134835"/>
                <a:gd name="connsiteX7" fmla="*/ 11748 w 94858"/>
                <a:gd name="connsiteY7" fmla="*/ 105446 h 134835"/>
                <a:gd name="connsiteX8" fmla="*/ 27583 w 94858"/>
                <a:gd name="connsiteY8" fmla="*/ 114663 h 134835"/>
                <a:gd name="connsiteX9" fmla="*/ 48461 w 94858"/>
                <a:gd name="connsiteY9" fmla="*/ 118895 h 134835"/>
                <a:gd name="connsiteX10" fmla="*/ 69821 w 94858"/>
                <a:gd name="connsiteY10" fmla="*/ 112748 h 134835"/>
                <a:gd name="connsiteX11" fmla="*/ 77452 w 94858"/>
                <a:gd name="connsiteY11" fmla="*/ 96610 h 134835"/>
                <a:gd name="connsiteX12" fmla="*/ 76099 w 94858"/>
                <a:gd name="connsiteY12" fmla="*/ 88928 h 134835"/>
                <a:gd name="connsiteX13" fmla="*/ 71551 w 94858"/>
                <a:gd name="connsiteY13" fmla="*/ 82781 h 134835"/>
                <a:gd name="connsiteX14" fmla="*/ 63148 w 94858"/>
                <a:gd name="connsiteY14" fmla="*/ 78170 h 134835"/>
                <a:gd name="connsiteX15" fmla="*/ 50019 w 94858"/>
                <a:gd name="connsiteY15" fmla="*/ 75303 h 134835"/>
                <a:gd name="connsiteX16" fmla="*/ 43445 w 94858"/>
                <a:gd name="connsiteY16" fmla="*/ 74332 h 134835"/>
                <a:gd name="connsiteX17" fmla="*/ 4777 w 94858"/>
                <a:gd name="connsiteY17" fmla="*/ 38219 h 134835"/>
                <a:gd name="connsiteX18" fmla="*/ 7774 w 94858"/>
                <a:gd name="connsiteY18" fmla="*/ 22468 h 134835"/>
                <a:gd name="connsiteX19" fmla="*/ 16388 w 94858"/>
                <a:gd name="connsiteY19" fmla="*/ 10365 h 134835"/>
                <a:gd name="connsiteX20" fmla="*/ 29913 w 94858"/>
                <a:gd name="connsiteY20" fmla="*/ 2683 h 134835"/>
                <a:gd name="connsiteX21" fmla="*/ 47682 w 94858"/>
                <a:gd name="connsiteY21" fmla="*/ 0 h 134835"/>
                <a:gd name="connsiteX22" fmla="*/ 69821 w 94858"/>
                <a:gd name="connsiteY22" fmla="*/ 3359 h 134835"/>
                <a:gd name="connsiteX23" fmla="*/ 87703 w 94858"/>
                <a:gd name="connsiteY23" fmla="*/ 12090 h 134835"/>
                <a:gd name="connsiteX24" fmla="*/ 88086 w 94858"/>
                <a:gd name="connsiteY24" fmla="*/ 14780 h 134835"/>
                <a:gd name="connsiteX25" fmla="*/ 81505 w 94858"/>
                <a:gd name="connsiteY25" fmla="*/ 25348 h 134835"/>
                <a:gd name="connsiteX26" fmla="*/ 78805 w 94858"/>
                <a:gd name="connsiteY26" fmla="*/ 25729 h 134835"/>
                <a:gd name="connsiteX27" fmla="*/ 63148 w 94858"/>
                <a:gd name="connsiteY27" fmla="*/ 18329 h 134835"/>
                <a:gd name="connsiteX28" fmla="*/ 47115 w 94858"/>
                <a:gd name="connsiteY28" fmla="*/ 15934 h 134835"/>
                <a:gd name="connsiteX29" fmla="*/ 28560 w 94858"/>
                <a:gd name="connsiteY29" fmla="*/ 21793 h 134835"/>
                <a:gd name="connsiteX30" fmla="*/ 22190 w 94858"/>
                <a:gd name="connsiteY30" fmla="*/ 37064 h 134835"/>
                <a:gd name="connsiteX31" fmla="*/ 28362 w 94858"/>
                <a:gd name="connsiteY31" fmla="*/ 50611 h 134835"/>
                <a:gd name="connsiteX32" fmla="*/ 49814 w 94858"/>
                <a:gd name="connsiteY32" fmla="*/ 58004 h 134835"/>
                <a:gd name="connsiteX33" fmla="*/ 56197 w 94858"/>
                <a:gd name="connsiteY33" fmla="*/ 58962 h 134835"/>
                <a:gd name="connsiteX34" fmla="*/ 85175 w 94858"/>
                <a:gd name="connsiteY34" fmla="*/ 70488 h 134835"/>
                <a:gd name="connsiteX35" fmla="*/ 94858 w 94858"/>
                <a:gd name="connsiteY35" fmla="*/ 95469 h 134835"/>
                <a:gd name="connsiteX36" fmla="*/ 91861 w 94858"/>
                <a:gd name="connsiteY36" fmla="*/ 111311 h 134835"/>
                <a:gd name="connsiteX37" fmla="*/ 82785 w 94858"/>
                <a:gd name="connsiteY37" fmla="*/ 123697 h 134835"/>
                <a:gd name="connsiteX38" fmla="*/ 67703 w 94858"/>
                <a:gd name="connsiteY38" fmla="*/ 131851 h 134835"/>
                <a:gd name="connsiteX39" fmla="*/ 46910 w 94858"/>
                <a:gd name="connsiteY39" fmla="*/ 134836 h 134835"/>
                <a:gd name="connsiteX40" fmla="*/ 46910 w 94858"/>
                <a:gd name="connsiteY40" fmla="*/ 134836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4858" h="134835">
                  <a:moveTo>
                    <a:pt x="46910" y="134836"/>
                  </a:moveTo>
                  <a:cubicBezTo>
                    <a:pt x="42296" y="134836"/>
                    <a:pt x="37709" y="134376"/>
                    <a:pt x="33187" y="133491"/>
                  </a:cubicBezTo>
                  <a:cubicBezTo>
                    <a:pt x="28679" y="132592"/>
                    <a:pt x="24428" y="131398"/>
                    <a:pt x="20434" y="129929"/>
                  </a:cubicBezTo>
                  <a:cubicBezTo>
                    <a:pt x="16441" y="128466"/>
                    <a:pt x="12764" y="126734"/>
                    <a:pt x="9431" y="124753"/>
                  </a:cubicBezTo>
                  <a:cubicBezTo>
                    <a:pt x="6071" y="122772"/>
                    <a:pt x="3167" y="120685"/>
                    <a:pt x="724" y="118508"/>
                  </a:cubicBezTo>
                  <a:cubicBezTo>
                    <a:pt x="-167" y="117615"/>
                    <a:pt x="-239" y="116644"/>
                    <a:pt x="526" y="115621"/>
                  </a:cubicBezTo>
                  <a:lnTo>
                    <a:pt x="9028" y="105643"/>
                  </a:lnTo>
                  <a:cubicBezTo>
                    <a:pt x="9807" y="104738"/>
                    <a:pt x="10725" y="104672"/>
                    <a:pt x="11748" y="105446"/>
                  </a:cubicBezTo>
                  <a:cubicBezTo>
                    <a:pt x="16005" y="108786"/>
                    <a:pt x="21273" y="111849"/>
                    <a:pt x="27583" y="114663"/>
                  </a:cubicBezTo>
                  <a:cubicBezTo>
                    <a:pt x="33913" y="117491"/>
                    <a:pt x="40864" y="118895"/>
                    <a:pt x="48461" y="118895"/>
                  </a:cubicBezTo>
                  <a:cubicBezTo>
                    <a:pt x="57603" y="118895"/>
                    <a:pt x="64739" y="116848"/>
                    <a:pt x="69821" y="112748"/>
                  </a:cubicBezTo>
                  <a:cubicBezTo>
                    <a:pt x="74911" y="108654"/>
                    <a:pt x="77452" y="103269"/>
                    <a:pt x="77452" y="96610"/>
                  </a:cubicBezTo>
                  <a:cubicBezTo>
                    <a:pt x="77452" y="93802"/>
                    <a:pt x="76990" y="91237"/>
                    <a:pt x="76099" y="88928"/>
                  </a:cubicBezTo>
                  <a:cubicBezTo>
                    <a:pt x="75214" y="86626"/>
                    <a:pt x="73676" y="84572"/>
                    <a:pt x="71551" y="82781"/>
                  </a:cubicBezTo>
                  <a:cubicBezTo>
                    <a:pt x="69425" y="80984"/>
                    <a:pt x="66627" y="79449"/>
                    <a:pt x="63148" y="78170"/>
                  </a:cubicBezTo>
                  <a:cubicBezTo>
                    <a:pt x="59669" y="76897"/>
                    <a:pt x="55300" y="75933"/>
                    <a:pt x="50019" y="75303"/>
                  </a:cubicBezTo>
                  <a:lnTo>
                    <a:pt x="43445" y="74332"/>
                  </a:lnTo>
                  <a:cubicBezTo>
                    <a:pt x="17675" y="70875"/>
                    <a:pt x="4777" y="58831"/>
                    <a:pt x="4777" y="38219"/>
                  </a:cubicBezTo>
                  <a:cubicBezTo>
                    <a:pt x="4777" y="32453"/>
                    <a:pt x="5787" y="27198"/>
                    <a:pt x="7774" y="22468"/>
                  </a:cubicBezTo>
                  <a:cubicBezTo>
                    <a:pt x="9781" y="17732"/>
                    <a:pt x="12645" y="13691"/>
                    <a:pt x="16388" y="10365"/>
                  </a:cubicBezTo>
                  <a:cubicBezTo>
                    <a:pt x="20118" y="7039"/>
                    <a:pt x="24626" y="4487"/>
                    <a:pt x="29913" y="2683"/>
                  </a:cubicBezTo>
                  <a:cubicBezTo>
                    <a:pt x="35200" y="899"/>
                    <a:pt x="41121" y="0"/>
                    <a:pt x="47682" y="0"/>
                  </a:cubicBezTo>
                  <a:cubicBezTo>
                    <a:pt x="55418" y="0"/>
                    <a:pt x="62792" y="1122"/>
                    <a:pt x="69821" y="3359"/>
                  </a:cubicBezTo>
                  <a:cubicBezTo>
                    <a:pt x="76838" y="5596"/>
                    <a:pt x="82798" y="8522"/>
                    <a:pt x="87703" y="12090"/>
                  </a:cubicBezTo>
                  <a:cubicBezTo>
                    <a:pt x="88746" y="12851"/>
                    <a:pt x="88865" y="13750"/>
                    <a:pt x="88086" y="14780"/>
                  </a:cubicBezTo>
                  <a:lnTo>
                    <a:pt x="81505" y="25348"/>
                  </a:lnTo>
                  <a:cubicBezTo>
                    <a:pt x="80752" y="26247"/>
                    <a:pt x="79835" y="26371"/>
                    <a:pt x="78805" y="25729"/>
                  </a:cubicBezTo>
                  <a:cubicBezTo>
                    <a:pt x="73399" y="22403"/>
                    <a:pt x="68184" y="19936"/>
                    <a:pt x="63148" y="18329"/>
                  </a:cubicBezTo>
                  <a:cubicBezTo>
                    <a:pt x="58118" y="16735"/>
                    <a:pt x="52778" y="15934"/>
                    <a:pt x="47115" y="15934"/>
                  </a:cubicBezTo>
                  <a:cubicBezTo>
                    <a:pt x="38996" y="15934"/>
                    <a:pt x="32811" y="17889"/>
                    <a:pt x="28560" y="21793"/>
                  </a:cubicBezTo>
                  <a:cubicBezTo>
                    <a:pt x="24309" y="25702"/>
                    <a:pt x="22190" y="30806"/>
                    <a:pt x="22190" y="37064"/>
                  </a:cubicBezTo>
                  <a:cubicBezTo>
                    <a:pt x="22190" y="42568"/>
                    <a:pt x="24250" y="47082"/>
                    <a:pt x="28362" y="50611"/>
                  </a:cubicBezTo>
                  <a:cubicBezTo>
                    <a:pt x="32501" y="54134"/>
                    <a:pt x="39656" y="56587"/>
                    <a:pt x="49814" y="58004"/>
                  </a:cubicBezTo>
                  <a:lnTo>
                    <a:pt x="56197" y="58962"/>
                  </a:lnTo>
                  <a:cubicBezTo>
                    <a:pt x="69075" y="60759"/>
                    <a:pt x="78746" y="64597"/>
                    <a:pt x="85175" y="70488"/>
                  </a:cubicBezTo>
                  <a:cubicBezTo>
                    <a:pt x="91624" y="76385"/>
                    <a:pt x="94858" y="84704"/>
                    <a:pt x="94858" y="95469"/>
                  </a:cubicBezTo>
                  <a:cubicBezTo>
                    <a:pt x="94858" y="101222"/>
                    <a:pt x="93842" y="106509"/>
                    <a:pt x="91861" y="111311"/>
                  </a:cubicBezTo>
                  <a:cubicBezTo>
                    <a:pt x="89855" y="116107"/>
                    <a:pt x="86832" y="120233"/>
                    <a:pt x="82785" y="123697"/>
                  </a:cubicBezTo>
                  <a:cubicBezTo>
                    <a:pt x="78706" y="127154"/>
                    <a:pt x="73676" y="129876"/>
                    <a:pt x="67703" y="131851"/>
                  </a:cubicBezTo>
                  <a:cubicBezTo>
                    <a:pt x="61696" y="133838"/>
                    <a:pt x="54785" y="134836"/>
                    <a:pt x="46910" y="134836"/>
                  </a:cubicBezTo>
                  <a:lnTo>
                    <a:pt x="46910" y="134836"/>
                  </a:lnTo>
                  <a:close/>
                </a:path>
              </a:pathLst>
            </a:custGeom>
            <a:solidFill>
              <a:schemeClr val="bg2"/>
            </a:solidFill>
            <a:ln w="7" cap="flat">
              <a:noFill/>
              <a:prstDash val="solid"/>
              <a:miter/>
            </a:ln>
          </p:spPr>
          <p:txBody>
            <a:bodyPr rtlCol="0" anchor="ctr"/>
            <a:lstStyle/>
            <a:p>
              <a:endParaRPr lang="de-DE"/>
            </a:p>
          </p:txBody>
        </p:sp>
        <p:sp>
          <p:nvSpPr>
            <p:cNvPr id="29" name="Freeform: Shape 28">
              <a:extLst>
                <a:ext uri="{FF2B5EF4-FFF2-40B4-BE49-F238E27FC236}">
                  <a16:creationId xmlns:a16="http://schemas.microsoft.com/office/drawing/2014/main" id="{BDA4D520-BC3C-4528-87AD-776E0B0FD5CD}"/>
                </a:ext>
              </a:extLst>
            </p:cNvPr>
            <p:cNvSpPr/>
            <p:nvPr/>
          </p:nvSpPr>
          <p:spPr>
            <a:xfrm>
              <a:off x="1823698" y="801425"/>
              <a:ext cx="95486" cy="130610"/>
            </a:xfrm>
            <a:custGeom>
              <a:avLst/>
              <a:gdLst>
                <a:gd name="connsiteX0" fmla="*/ 40984 w 95486"/>
                <a:gd name="connsiteY0" fmla="*/ 130611 h 130610"/>
                <a:gd name="connsiteX1" fmla="*/ 39037 w 95486"/>
                <a:gd name="connsiteY1" fmla="*/ 128682 h 130610"/>
                <a:gd name="connsiteX2" fmla="*/ 39037 w 95486"/>
                <a:gd name="connsiteY2" fmla="*/ 17096 h 130610"/>
                <a:gd name="connsiteX3" fmla="*/ 37882 w 95486"/>
                <a:gd name="connsiteY3" fmla="*/ 15934 h 130610"/>
                <a:gd name="connsiteX4" fmla="*/ 1934 w 95486"/>
                <a:gd name="connsiteY4" fmla="*/ 15934 h 130610"/>
                <a:gd name="connsiteX5" fmla="*/ 0 w 95486"/>
                <a:gd name="connsiteY5" fmla="*/ 14012 h 130610"/>
                <a:gd name="connsiteX6" fmla="*/ 0 w 95486"/>
                <a:gd name="connsiteY6" fmla="*/ 1916 h 130610"/>
                <a:gd name="connsiteX7" fmla="*/ 1934 w 95486"/>
                <a:gd name="connsiteY7" fmla="*/ 0 h 130610"/>
                <a:gd name="connsiteX8" fmla="*/ 93546 w 95486"/>
                <a:gd name="connsiteY8" fmla="*/ 0 h 130610"/>
                <a:gd name="connsiteX9" fmla="*/ 95487 w 95486"/>
                <a:gd name="connsiteY9" fmla="*/ 1916 h 130610"/>
                <a:gd name="connsiteX10" fmla="*/ 95487 w 95486"/>
                <a:gd name="connsiteY10" fmla="*/ 14012 h 130610"/>
                <a:gd name="connsiteX11" fmla="*/ 93540 w 95486"/>
                <a:gd name="connsiteY11" fmla="*/ 15934 h 130610"/>
                <a:gd name="connsiteX12" fmla="*/ 57598 w 95486"/>
                <a:gd name="connsiteY12" fmla="*/ 15934 h 130610"/>
                <a:gd name="connsiteX13" fmla="*/ 56437 w 95486"/>
                <a:gd name="connsiteY13" fmla="*/ 17096 h 130610"/>
                <a:gd name="connsiteX14" fmla="*/ 56437 w 95486"/>
                <a:gd name="connsiteY14" fmla="*/ 128682 h 130610"/>
                <a:gd name="connsiteX15" fmla="*/ 54476 w 95486"/>
                <a:gd name="connsiteY15" fmla="*/ 130611 h 130610"/>
                <a:gd name="connsiteX16" fmla="*/ 40984 w 95486"/>
                <a:gd name="connsiteY16" fmla="*/ 130611 h 13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486" h="130610">
                  <a:moveTo>
                    <a:pt x="40984" y="130611"/>
                  </a:moveTo>
                  <a:cubicBezTo>
                    <a:pt x="39690" y="130611"/>
                    <a:pt x="39037" y="129961"/>
                    <a:pt x="39037" y="128682"/>
                  </a:cubicBezTo>
                  <a:lnTo>
                    <a:pt x="39037" y="17096"/>
                  </a:lnTo>
                  <a:cubicBezTo>
                    <a:pt x="39037" y="16328"/>
                    <a:pt x="38661" y="15934"/>
                    <a:pt x="37882" y="15934"/>
                  </a:cubicBezTo>
                  <a:lnTo>
                    <a:pt x="1934" y="15934"/>
                  </a:lnTo>
                  <a:cubicBezTo>
                    <a:pt x="640" y="15934"/>
                    <a:pt x="0" y="15292"/>
                    <a:pt x="0" y="14012"/>
                  </a:cubicBezTo>
                  <a:lnTo>
                    <a:pt x="0" y="1916"/>
                  </a:lnTo>
                  <a:cubicBezTo>
                    <a:pt x="0" y="636"/>
                    <a:pt x="640" y="0"/>
                    <a:pt x="1934" y="0"/>
                  </a:cubicBezTo>
                  <a:lnTo>
                    <a:pt x="93546" y="0"/>
                  </a:lnTo>
                  <a:cubicBezTo>
                    <a:pt x="94833" y="0"/>
                    <a:pt x="95487" y="636"/>
                    <a:pt x="95487" y="1916"/>
                  </a:cubicBezTo>
                  <a:lnTo>
                    <a:pt x="95487" y="14012"/>
                  </a:lnTo>
                  <a:cubicBezTo>
                    <a:pt x="95487" y="15292"/>
                    <a:pt x="94833" y="15934"/>
                    <a:pt x="93540" y="15934"/>
                  </a:cubicBezTo>
                  <a:lnTo>
                    <a:pt x="57598" y="15934"/>
                  </a:lnTo>
                  <a:cubicBezTo>
                    <a:pt x="56819" y="15934"/>
                    <a:pt x="56437" y="16328"/>
                    <a:pt x="56437" y="17096"/>
                  </a:cubicBezTo>
                  <a:lnTo>
                    <a:pt x="56437" y="128682"/>
                  </a:lnTo>
                  <a:cubicBezTo>
                    <a:pt x="56437" y="129961"/>
                    <a:pt x="55783" y="130611"/>
                    <a:pt x="54476" y="130611"/>
                  </a:cubicBezTo>
                  <a:lnTo>
                    <a:pt x="40984" y="130611"/>
                  </a:lnTo>
                  <a:close/>
                </a:path>
              </a:pathLst>
            </a:custGeom>
            <a:solidFill>
              <a:schemeClr val="bg2"/>
            </a:solidFill>
            <a:ln w="7" cap="flat">
              <a:noFill/>
              <a:prstDash val="solid"/>
              <a:miter/>
            </a:ln>
          </p:spPr>
          <p:txBody>
            <a:bodyPr rtlCol="0" anchor="ctr"/>
            <a:lstStyle/>
            <a:p>
              <a:endParaRPr lang="de-DE"/>
            </a:p>
          </p:txBody>
        </p:sp>
        <p:sp>
          <p:nvSpPr>
            <p:cNvPr id="30" name="Freeform: Shape 29">
              <a:extLst>
                <a:ext uri="{FF2B5EF4-FFF2-40B4-BE49-F238E27FC236}">
                  <a16:creationId xmlns:a16="http://schemas.microsoft.com/office/drawing/2014/main" id="{99FDE735-8F08-462A-899E-58EC5209F214}"/>
                </a:ext>
              </a:extLst>
            </p:cNvPr>
            <p:cNvSpPr/>
            <p:nvPr/>
          </p:nvSpPr>
          <p:spPr>
            <a:xfrm>
              <a:off x="1941403" y="801425"/>
              <a:ext cx="83103" cy="130604"/>
            </a:xfrm>
            <a:custGeom>
              <a:avLst/>
              <a:gdLst>
                <a:gd name="connsiteX0" fmla="*/ 0 w 83103"/>
                <a:gd name="connsiteY0" fmla="*/ 1916 h 130604"/>
                <a:gd name="connsiteX1" fmla="*/ 1941 w 83103"/>
                <a:gd name="connsiteY1" fmla="*/ 0 h 130604"/>
                <a:gd name="connsiteX2" fmla="*/ 81170 w 83103"/>
                <a:gd name="connsiteY2" fmla="*/ 0 h 130604"/>
                <a:gd name="connsiteX3" fmla="*/ 83104 w 83103"/>
                <a:gd name="connsiteY3" fmla="*/ 1916 h 130604"/>
                <a:gd name="connsiteX4" fmla="*/ 83104 w 83103"/>
                <a:gd name="connsiteY4" fmla="*/ 14006 h 130604"/>
                <a:gd name="connsiteX5" fmla="*/ 81170 w 83103"/>
                <a:gd name="connsiteY5" fmla="*/ 15934 h 130604"/>
                <a:gd name="connsiteX6" fmla="*/ 18548 w 83103"/>
                <a:gd name="connsiteY6" fmla="*/ 15934 h 130604"/>
                <a:gd name="connsiteX7" fmla="*/ 17406 w 83103"/>
                <a:gd name="connsiteY7" fmla="*/ 17089 h 130604"/>
                <a:gd name="connsiteX8" fmla="*/ 17406 w 83103"/>
                <a:gd name="connsiteY8" fmla="*/ 55505 h 130604"/>
                <a:gd name="connsiteX9" fmla="*/ 18548 w 83103"/>
                <a:gd name="connsiteY9" fmla="*/ 56653 h 130604"/>
                <a:gd name="connsiteX10" fmla="*/ 71698 w 83103"/>
                <a:gd name="connsiteY10" fmla="*/ 56653 h 130604"/>
                <a:gd name="connsiteX11" fmla="*/ 73638 w 83103"/>
                <a:gd name="connsiteY11" fmla="*/ 58575 h 130604"/>
                <a:gd name="connsiteX12" fmla="*/ 73638 w 83103"/>
                <a:gd name="connsiteY12" fmla="*/ 70678 h 130604"/>
                <a:gd name="connsiteX13" fmla="*/ 71698 w 83103"/>
                <a:gd name="connsiteY13" fmla="*/ 72607 h 130604"/>
                <a:gd name="connsiteX14" fmla="*/ 18548 w 83103"/>
                <a:gd name="connsiteY14" fmla="*/ 72607 h 130604"/>
                <a:gd name="connsiteX15" fmla="*/ 17406 w 83103"/>
                <a:gd name="connsiteY15" fmla="*/ 73755 h 130604"/>
                <a:gd name="connsiteX16" fmla="*/ 17406 w 83103"/>
                <a:gd name="connsiteY16" fmla="*/ 113509 h 130604"/>
                <a:gd name="connsiteX17" fmla="*/ 18548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7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41" y="0"/>
                  </a:cubicBezTo>
                  <a:lnTo>
                    <a:pt x="81170" y="0"/>
                  </a:lnTo>
                  <a:cubicBezTo>
                    <a:pt x="82463" y="0"/>
                    <a:pt x="83104" y="636"/>
                    <a:pt x="83104" y="1916"/>
                  </a:cubicBezTo>
                  <a:lnTo>
                    <a:pt x="83104" y="14006"/>
                  </a:lnTo>
                  <a:cubicBezTo>
                    <a:pt x="83104" y="15292"/>
                    <a:pt x="82463" y="15934"/>
                    <a:pt x="81170" y="15934"/>
                  </a:cubicBezTo>
                  <a:lnTo>
                    <a:pt x="18548" y="15934"/>
                  </a:lnTo>
                  <a:cubicBezTo>
                    <a:pt x="17776" y="15934"/>
                    <a:pt x="17406" y="16321"/>
                    <a:pt x="17406" y="17089"/>
                  </a:cubicBezTo>
                  <a:lnTo>
                    <a:pt x="17406" y="55505"/>
                  </a:lnTo>
                  <a:cubicBezTo>
                    <a:pt x="17406" y="56279"/>
                    <a:pt x="17776" y="56653"/>
                    <a:pt x="18548" y="56653"/>
                  </a:cubicBezTo>
                  <a:lnTo>
                    <a:pt x="71698" y="56653"/>
                  </a:lnTo>
                  <a:cubicBezTo>
                    <a:pt x="72991" y="56653"/>
                    <a:pt x="73638" y="57296"/>
                    <a:pt x="73638" y="58575"/>
                  </a:cubicBezTo>
                  <a:lnTo>
                    <a:pt x="73638" y="70678"/>
                  </a:lnTo>
                  <a:cubicBezTo>
                    <a:pt x="73638" y="71970"/>
                    <a:pt x="72991" y="72607"/>
                    <a:pt x="71698" y="72607"/>
                  </a:cubicBezTo>
                  <a:lnTo>
                    <a:pt x="18548" y="72607"/>
                  </a:lnTo>
                  <a:cubicBezTo>
                    <a:pt x="17776" y="72607"/>
                    <a:pt x="17406" y="72987"/>
                    <a:pt x="17406" y="73755"/>
                  </a:cubicBezTo>
                  <a:lnTo>
                    <a:pt x="17406" y="113509"/>
                  </a:lnTo>
                  <a:cubicBezTo>
                    <a:pt x="17406" y="114276"/>
                    <a:pt x="17776" y="114670"/>
                    <a:pt x="18548" y="114670"/>
                  </a:cubicBezTo>
                  <a:lnTo>
                    <a:pt x="81170" y="114670"/>
                  </a:lnTo>
                  <a:cubicBezTo>
                    <a:pt x="82463" y="114670"/>
                    <a:pt x="83104" y="115306"/>
                    <a:pt x="83104" y="116592"/>
                  </a:cubicBezTo>
                  <a:lnTo>
                    <a:pt x="83104" y="128682"/>
                  </a:lnTo>
                  <a:cubicBezTo>
                    <a:pt x="83104" y="129961"/>
                    <a:pt x="82463" y="130604"/>
                    <a:pt x="81170" y="130604"/>
                  </a:cubicBezTo>
                  <a:lnTo>
                    <a:pt x="1947"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31" name="Freeform: Shape 30">
              <a:extLst>
                <a:ext uri="{FF2B5EF4-FFF2-40B4-BE49-F238E27FC236}">
                  <a16:creationId xmlns:a16="http://schemas.microsoft.com/office/drawing/2014/main" id="{B51AC440-5191-4BCF-B0BA-E2496D219CFE}"/>
                </a:ext>
              </a:extLst>
            </p:cNvPr>
            <p:cNvSpPr/>
            <p:nvPr/>
          </p:nvSpPr>
          <p:spPr>
            <a:xfrm>
              <a:off x="2052144" y="801425"/>
              <a:ext cx="17393" cy="130604"/>
            </a:xfrm>
            <a:custGeom>
              <a:avLst/>
              <a:gdLst>
                <a:gd name="connsiteX0" fmla="*/ 0 w 17393"/>
                <a:gd name="connsiteY0" fmla="*/ 1916 h 130604"/>
                <a:gd name="connsiteX1" fmla="*/ 1941 w 17393"/>
                <a:gd name="connsiteY1" fmla="*/ 0 h 130604"/>
                <a:gd name="connsiteX2" fmla="*/ 15426 w 17393"/>
                <a:gd name="connsiteY2" fmla="*/ 0 h 130604"/>
                <a:gd name="connsiteX3" fmla="*/ 17393 w 17393"/>
                <a:gd name="connsiteY3" fmla="*/ 1916 h 130604"/>
                <a:gd name="connsiteX4" fmla="*/ 17393 w 17393"/>
                <a:gd name="connsiteY4" fmla="*/ 128682 h 130604"/>
                <a:gd name="connsiteX5" fmla="*/ 15426 w 17393"/>
                <a:gd name="connsiteY5" fmla="*/ 130604 h 130604"/>
                <a:gd name="connsiteX6" fmla="*/ 1947 w 17393"/>
                <a:gd name="connsiteY6" fmla="*/ 130604 h 130604"/>
                <a:gd name="connsiteX7" fmla="*/ 0 w 17393"/>
                <a:gd name="connsiteY7" fmla="*/ 128682 h 130604"/>
                <a:gd name="connsiteX8" fmla="*/ 0 w 17393"/>
                <a:gd name="connsiteY8"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93" h="130604">
                  <a:moveTo>
                    <a:pt x="0" y="1916"/>
                  </a:moveTo>
                  <a:cubicBezTo>
                    <a:pt x="0" y="636"/>
                    <a:pt x="653" y="0"/>
                    <a:pt x="1941" y="0"/>
                  </a:cubicBezTo>
                  <a:lnTo>
                    <a:pt x="15426" y="0"/>
                  </a:lnTo>
                  <a:cubicBezTo>
                    <a:pt x="16746" y="0"/>
                    <a:pt x="17393" y="636"/>
                    <a:pt x="17393" y="1916"/>
                  </a:cubicBezTo>
                  <a:lnTo>
                    <a:pt x="17393" y="128682"/>
                  </a:lnTo>
                  <a:cubicBezTo>
                    <a:pt x="17393" y="129961"/>
                    <a:pt x="16740" y="130604"/>
                    <a:pt x="15426" y="130604"/>
                  </a:cubicBezTo>
                  <a:lnTo>
                    <a:pt x="1947"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32" name="Freeform: Shape 31">
              <a:extLst>
                <a:ext uri="{FF2B5EF4-FFF2-40B4-BE49-F238E27FC236}">
                  <a16:creationId xmlns:a16="http://schemas.microsoft.com/office/drawing/2014/main" id="{A8A083E1-83AB-42EA-8DA8-F80E97AEF230}"/>
                </a:ext>
              </a:extLst>
            </p:cNvPr>
            <p:cNvSpPr/>
            <p:nvPr/>
          </p:nvSpPr>
          <p:spPr>
            <a:xfrm>
              <a:off x="2103755" y="801425"/>
              <a:ext cx="93929" cy="130604"/>
            </a:xfrm>
            <a:custGeom>
              <a:avLst/>
              <a:gdLst>
                <a:gd name="connsiteX0" fmla="*/ 0 w 93929"/>
                <a:gd name="connsiteY0" fmla="*/ 1916 h 130604"/>
                <a:gd name="connsiteX1" fmla="*/ 1934 w 93929"/>
                <a:gd name="connsiteY1" fmla="*/ 0 h 130604"/>
                <a:gd name="connsiteX2" fmla="*/ 14310 w 93929"/>
                <a:gd name="connsiteY2" fmla="*/ 0 h 130604"/>
                <a:gd name="connsiteX3" fmla="*/ 17584 w 93929"/>
                <a:gd name="connsiteY3" fmla="*/ 1916 h 130604"/>
                <a:gd name="connsiteX4" fmla="*/ 77117 w 93929"/>
                <a:gd name="connsiteY4" fmla="*/ 99877 h 130604"/>
                <a:gd name="connsiteX5" fmla="*/ 77896 w 93929"/>
                <a:gd name="connsiteY5" fmla="*/ 99877 h 130604"/>
                <a:gd name="connsiteX6" fmla="*/ 77896 w 93929"/>
                <a:gd name="connsiteY6" fmla="*/ 1916 h 130604"/>
                <a:gd name="connsiteX7" fmla="*/ 79823 w 93929"/>
                <a:gd name="connsiteY7" fmla="*/ 0 h 130604"/>
                <a:gd name="connsiteX8" fmla="*/ 92008 w 93929"/>
                <a:gd name="connsiteY8" fmla="*/ 0 h 130604"/>
                <a:gd name="connsiteX9" fmla="*/ 93929 w 93929"/>
                <a:gd name="connsiteY9" fmla="*/ 1916 h 130604"/>
                <a:gd name="connsiteX10" fmla="*/ 93929 w 93929"/>
                <a:gd name="connsiteY10" fmla="*/ 128682 h 130604"/>
                <a:gd name="connsiteX11" fmla="*/ 92008 w 93929"/>
                <a:gd name="connsiteY11" fmla="*/ 130604 h 130604"/>
                <a:gd name="connsiteX12" fmla="*/ 79625 w 93929"/>
                <a:gd name="connsiteY12" fmla="*/ 130604 h 130604"/>
                <a:gd name="connsiteX13" fmla="*/ 76345 w 93929"/>
                <a:gd name="connsiteY13" fmla="*/ 128682 h 130604"/>
                <a:gd name="connsiteX14" fmla="*/ 16634 w 93929"/>
                <a:gd name="connsiteY14" fmla="*/ 31108 h 130604"/>
                <a:gd name="connsiteX15" fmla="*/ 16053 w 93929"/>
                <a:gd name="connsiteY15" fmla="*/ 31108 h 130604"/>
                <a:gd name="connsiteX16" fmla="*/ 16053 w 93929"/>
                <a:gd name="connsiteY16" fmla="*/ 128682 h 130604"/>
                <a:gd name="connsiteX17" fmla="*/ 14106 w 93929"/>
                <a:gd name="connsiteY17" fmla="*/ 130604 h 130604"/>
                <a:gd name="connsiteX18" fmla="*/ 1934 w 93929"/>
                <a:gd name="connsiteY18" fmla="*/ 130604 h 130604"/>
                <a:gd name="connsiteX19" fmla="*/ 0 w 93929"/>
                <a:gd name="connsiteY19" fmla="*/ 128682 h 130604"/>
                <a:gd name="connsiteX20" fmla="*/ 0 w 93929"/>
                <a:gd name="connsiteY20"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29" h="130604">
                  <a:moveTo>
                    <a:pt x="0" y="1916"/>
                  </a:moveTo>
                  <a:cubicBezTo>
                    <a:pt x="0" y="636"/>
                    <a:pt x="653" y="0"/>
                    <a:pt x="1934" y="0"/>
                  </a:cubicBezTo>
                  <a:lnTo>
                    <a:pt x="14310" y="0"/>
                  </a:lnTo>
                  <a:cubicBezTo>
                    <a:pt x="15855" y="0"/>
                    <a:pt x="16944" y="636"/>
                    <a:pt x="17584" y="1916"/>
                  </a:cubicBezTo>
                  <a:lnTo>
                    <a:pt x="77117" y="99877"/>
                  </a:lnTo>
                  <a:lnTo>
                    <a:pt x="77896" y="99877"/>
                  </a:lnTo>
                  <a:lnTo>
                    <a:pt x="77896" y="1916"/>
                  </a:lnTo>
                  <a:cubicBezTo>
                    <a:pt x="77896" y="636"/>
                    <a:pt x="78536" y="0"/>
                    <a:pt x="79823" y="0"/>
                  </a:cubicBezTo>
                  <a:lnTo>
                    <a:pt x="92008" y="0"/>
                  </a:lnTo>
                  <a:cubicBezTo>
                    <a:pt x="93276" y="0"/>
                    <a:pt x="93929" y="636"/>
                    <a:pt x="93929" y="1916"/>
                  </a:cubicBezTo>
                  <a:lnTo>
                    <a:pt x="93929" y="128682"/>
                  </a:lnTo>
                  <a:cubicBezTo>
                    <a:pt x="93929" y="129961"/>
                    <a:pt x="93276" y="130604"/>
                    <a:pt x="92008" y="130604"/>
                  </a:cubicBezTo>
                  <a:lnTo>
                    <a:pt x="79625" y="130604"/>
                  </a:lnTo>
                  <a:cubicBezTo>
                    <a:pt x="78074" y="130604"/>
                    <a:pt x="76985" y="129961"/>
                    <a:pt x="76345" y="128682"/>
                  </a:cubicBezTo>
                  <a:lnTo>
                    <a:pt x="16634" y="31108"/>
                  </a:lnTo>
                  <a:lnTo>
                    <a:pt x="16053" y="31108"/>
                  </a:lnTo>
                  <a:lnTo>
                    <a:pt x="16053" y="128682"/>
                  </a:lnTo>
                  <a:cubicBezTo>
                    <a:pt x="16053" y="129961"/>
                    <a:pt x="15400" y="130604"/>
                    <a:pt x="14106" y="130604"/>
                  </a:cubicBezTo>
                  <a:lnTo>
                    <a:pt x="1934"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grpSp>
      <p:grpSp>
        <p:nvGrpSpPr>
          <p:cNvPr id="33" name="Graphic 13">
            <a:extLst>
              <a:ext uri="{FF2B5EF4-FFF2-40B4-BE49-F238E27FC236}">
                <a16:creationId xmlns:a16="http://schemas.microsoft.com/office/drawing/2014/main" id="{7664D666-EDE1-4208-BF49-5DA73EFECF38}"/>
              </a:ext>
            </a:extLst>
          </p:cNvPr>
          <p:cNvGrpSpPr/>
          <p:nvPr/>
        </p:nvGrpSpPr>
        <p:grpSpPr>
          <a:xfrm>
            <a:off x="9558360" y="2693236"/>
            <a:ext cx="2029688" cy="316256"/>
            <a:chOff x="9558360" y="2693236"/>
            <a:chExt cx="2029688" cy="316256"/>
          </a:xfrm>
          <a:solidFill>
            <a:schemeClr val="bg2"/>
          </a:solidFill>
        </p:grpSpPr>
        <p:grpSp>
          <p:nvGrpSpPr>
            <p:cNvPr id="34" name="Graphic 13">
              <a:extLst>
                <a:ext uri="{FF2B5EF4-FFF2-40B4-BE49-F238E27FC236}">
                  <a16:creationId xmlns:a16="http://schemas.microsoft.com/office/drawing/2014/main" id="{95464546-EBEA-426D-8B01-20C3CCBC13B9}"/>
                </a:ext>
              </a:extLst>
            </p:cNvPr>
            <p:cNvGrpSpPr/>
            <p:nvPr/>
          </p:nvGrpSpPr>
          <p:grpSpPr>
            <a:xfrm>
              <a:off x="9558360" y="2693236"/>
              <a:ext cx="747774" cy="316256"/>
              <a:chOff x="9558360" y="2693236"/>
              <a:chExt cx="747774" cy="316256"/>
            </a:xfrm>
            <a:solidFill>
              <a:schemeClr val="bg2"/>
            </a:solidFill>
          </p:grpSpPr>
          <p:sp>
            <p:nvSpPr>
              <p:cNvPr id="35" name="Freeform: Shape 34">
                <a:extLst>
                  <a:ext uri="{FF2B5EF4-FFF2-40B4-BE49-F238E27FC236}">
                    <a16:creationId xmlns:a16="http://schemas.microsoft.com/office/drawing/2014/main" id="{542044C8-F258-416A-8D5B-A9963EBA9670}"/>
                  </a:ext>
                </a:extLst>
              </p:cNvPr>
              <p:cNvSpPr/>
              <p:nvPr/>
            </p:nvSpPr>
            <p:spPr>
              <a:xfrm>
                <a:off x="9558360" y="2724899"/>
                <a:ext cx="209869" cy="252930"/>
              </a:xfrm>
              <a:custGeom>
                <a:avLst/>
                <a:gdLst>
                  <a:gd name="connsiteX0" fmla="*/ 145594 w 209869"/>
                  <a:gd name="connsiteY0" fmla="*/ 163695 h 252930"/>
                  <a:gd name="connsiteX1" fmla="*/ 105519 w 209869"/>
                  <a:gd name="connsiteY1" fmla="*/ 48779 h 252930"/>
                  <a:gd name="connsiteX2" fmla="*/ 104747 w 209869"/>
                  <a:gd name="connsiteY2" fmla="*/ 48779 h 252930"/>
                  <a:gd name="connsiteX3" fmla="*/ 64333 w 209869"/>
                  <a:gd name="connsiteY3" fmla="*/ 163695 h 252930"/>
                  <a:gd name="connsiteX4" fmla="*/ 88659 w 209869"/>
                  <a:gd name="connsiteY4" fmla="*/ 3752 h 252930"/>
                  <a:gd name="connsiteX5" fmla="*/ 93166 w 209869"/>
                  <a:gd name="connsiteY5" fmla="*/ 37 h 252930"/>
                  <a:gd name="connsiteX6" fmla="*/ 117493 w 209869"/>
                  <a:gd name="connsiteY6" fmla="*/ 37 h 252930"/>
                  <a:gd name="connsiteX7" fmla="*/ 122373 w 209869"/>
                  <a:gd name="connsiteY7" fmla="*/ 3752 h 252930"/>
                  <a:gd name="connsiteX8" fmla="*/ 209621 w 209869"/>
                  <a:gd name="connsiteY8" fmla="*/ 249211 h 252930"/>
                  <a:gd name="connsiteX9" fmla="*/ 207003 w 209869"/>
                  <a:gd name="connsiteY9" fmla="*/ 252953 h 252930"/>
                  <a:gd name="connsiteX10" fmla="*/ 180788 w 209869"/>
                  <a:gd name="connsiteY10" fmla="*/ 252953 h 252930"/>
                  <a:gd name="connsiteX11" fmla="*/ 175925 w 209869"/>
                  <a:gd name="connsiteY11" fmla="*/ 249211 h 252930"/>
                  <a:gd name="connsiteX12" fmla="*/ 156432 w 209869"/>
                  <a:gd name="connsiteY12" fmla="*/ 194187 h 252930"/>
                  <a:gd name="connsiteX13" fmla="*/ 53465 w 209869"/>
                  <a:gd name="connsiteY13" fmla="*/ 194187 h 252930"/>
                  <a:gd name="connsiteX14" fmla="*/ 33984 w 209869"/>
                  <a:gd name="connsiteY14" fmla="*/ 249211 h 252930"/>
                  <a:gd name="connsiteX15" fmla="*/ 29103 w 209869"/>
                  <a:gd name="connsiteY15" fmla="*/ 252953 h 252930"/>
                  <a:gd name="connsiteX16" fmla="*/ 2889 w 209869"/>
                  <a:gd name="connsiteY16" fmla="*/ 252953 h 252930"/>
                  <a:gd name="connsiteX17" fmla="*/ 270 w 209869"/>
                  <a:gd name="connsiteY17" fmla="*/ 249211 h 25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9869" h="252930">
                    <a:moveTo>
                      <a:pt x="145594" y="163695"/>
                    </a:moveTo>
                    <a:lnTo>
                      <a:pt x="105519" y="48779"/>
                    </a:lnTo>
                    <a:lnTo>
                      <a:pt x="104747" y="48779"/>
                    </a:lnTo>
                    <a:lnTo>
                      <a:pt x="64333" y="163695"/>
                    </a:lnTo>
                    <a:close/>
                    <a:moveTo>
                      <a:pt x="88659" y="3752"/>
                    </a:moveTo>
                    <a:cubicBezTo>
                      <a:pt x="89038" y="1571"/>
                      <a:pt x="90952" y="-8"/>
                      <a:pt x="93166" y="37"/>
                    </a:cubicBezTo>
                    <a:lnTo>
                      <a:pt x="117493" y="37"/>
                    </a:lnTo>
                    <a:cubicBezTo>
                      <a:pt x="119807" y="-79"/>
                      <a:pt x="121869" y="1490"/>
                      <a:pt x="122373" y="3752"/>
                    </a:cubicBezTo>
                    <a:lnTo>
                      <a:pt x="209621" y="249211"/>
                    </a:lnTo>
                    <a:cubicBezTo>
                      <a:pt x="210385" y="251693"/>
                      <a:pt x="209494" y="252953"/>
                      <a:pt x="207003" y="252953"/>
                    </a:cubicBezTo>
                    <a:lnTo>
                      <a:pt x="180788" y="252953"/>
                    </a:lnTo>
                    <a:cubicBezTo>
                      <a:pt x="178462" y="253091"/>
                      <a:pt x="176388" y="251495"/>
                      <a:pt x="175925" y="249211"/>
                    </a:cubicBezTo>
                    <a:lnTo>
                      <a:pt x="156432" y="194187"/>
                    </a:lnTo>
                    <a:lnTo>
                      <a:pt x="53465" y="194187"/>
                    </a:lnTo>
                    <a:lnTo>
                      <a:pt x="33984" y="249211"/>
                    </a:lnTo>
                    <a:cubicBezTo>
                      <a:pt x="33377" y="251410"/>
                      <a:pt x="31384" y="252938"/>
                      <a:pt x="29103" y="252953"/>
                    </a:cubicBezTo>
                    <a:lnTo>
                      <a:pt x="2889" y="252953"/>
                    </a:lnTo>
                    <a:cubicBezTo>
                      <a:pt x="389" y="252953"/>
                      <a:pt x="-461" y="251696"/>
                      <a:pt x="270" y="249211"/>
                    </a:cubicBezTo>
                    <a:close/>
                  </a:path>
                </a:pathLst>
              </a:custGeom>
              <a:solidFill>
                <a:schemeClr val="bg2"/>
              </a:solidFill>
              <a:ln w="2965" cap="flat">
                <a:noFill/>
                <a:prstDash val="solid"/>
                <a:miter/>
              </a:ln>
            </p:spPr>
            <p:txBody>
              <a:bodyPr rtlCol="0" anchor="ctr"/>
              <a:lstStyle/>
              <a:p>
                <a:endParaRPr lang="de-DE"/>
              </a:p>
            </p:txBody>
          </p:sp>
          <p:sp>
            <p:nvSpPr>
              <p:cNvPr id="36" name="Freeform: Shape 35">
                <a:extLst>
                  <a:ext uri="{FF2B5EF4-FFF2-40B4-BE49-F238E27FC236}">
                    <a16:creationId xmlns:a16="http://schemas.microsoft.com/office/drawing/2014/main" id="{FF0484B7-0B87-4F40-929B-4B7AF70C11F9}"/>
                  </a:ext>
                </a:extLst>
              </p:cNvPr>
              <p:cNvSpPr/>
              <p:nvPr/>
            </p:nvSpPr>
            <p:spPr>
              <a:xfrm>
                <a:off x="9794639" y="2720838"/>
                <a:ext cx="183802" cy="261084"/>
              </a:xfrm>
              <a:custGeom>
                <a:avLst/>
                <a:gdLst>
                  <a:gd name="connsiteX0" fmla="*/ 91025 w 183802"/>
                  <a:gd name="connsiteY0" fmla="*/ 261108 h 261084"/>
                  <a:gd name="connsiteX1" fmla="*/ 64419 w 183802"/>
                  <a:gd name="connsiteY1" fmla="*/ 258507 h 261084"/>
                  <a:gd name="connsiteX2" fmla="*/ 39717 w 183802"/>
                  <a:gd name="connsiteY2" fmla="*/ 251638 h 261084"/>
                  <a:gd name="connsiteX3" fmla="*/ 18393 w 183802"/>
                  <a:gd name="connsiteY3" fmla="*/ 241588 h 261084"/>
                  <a:gd name="connsiteX4" fmla="*/ 1515 w 183802"/>
                  <a:gd name="connsiteY4" fmla="*/ 229496 h 261084"/>
                  <a:gd name="connsiteX5" fmla="*/ 922 w 183802"/>
                  <a:gd name="connsiteY5" fmla="*/ 224161 h 261084"/>
                  <a:gd name="connsiteX6" fmla="*/ 1141 w 183802"/>
                  <a:gd name="connsiteY6" fmla="*/ 223911 h 261084"/>
                  <a:gd name="connsiteX7" fmla="*/ 17602 w 183802"/>
                  <a:gd name="connsiteY7" fmla="*/ 204590 h 261084"/>
                  <a:gd name="connsiteX8" fmla="*/ 22373 w 183802"/>
                  <a:gd name="connsiteY8" fmla="*/ 203811 h 261084"/>
                  <a:gd name="connsiteX9" fmla="*/ 22840 w 183802"/>
                  <a:gd name="connsiteY9" fmla="*/ 204215 h 261084"/>
                  <a:gd name="connsiteX10" fmla="*/ 53569 w 183802"/>
                  <a:gd name="connsiteY10" fmla="*/ 222050 h 261084"/>
                  <a:gd name="connsiteX11" fmla="*/ 93998 w 183802"/>
                  <a:gd name="connsiteY11" fmla="*/ 230233 h 261084"/>
                  <a:gd name="connsiteX12" fmla="*/ 135390 w 183802"/>
                  <a:gd name="connsiteY12" fmla="*/ 218343 h 261084"/>
                  <a:gd name="connsiteX13" fmla="*/ 150178 w 183802"/>
                  <a:gd name="connsiteY13" fmla="*/ 187100 h 261084"/>
                  <a:gd name="connsiteX14" fmla="*/ 147577 w 183802"/>
                  <a:gd name="connsiteY14" fmla="*/ 172219 h 261084"/>
                  <a:gd name="connsiteX15" fmla="*/ 138760 w 183802"/>
                  <a:gd name="connsiteY15" fmla="*/ 160329 h 261084"/>
                  <a:gd name="connsiteX16" fmla="*/ 122468 w 183802"/>
                  <a:gd name="connsiteY16" fmla="*/ 151412 h 261084"/>
                  <a:gd name="connsiteX17" fmla="*/ 97018 w 183802"/>
                  <a:gd name="connsiteY17" fmla="*/ 145850 h 261084"/>
                  <a:gd name="connsiteX18" fmla="*/ 84281 w 183802"/>
                  <a:gd name="connsiteY18" fmla="*/ 143972 h 261084"/>
                  <a:gd name="connsiteX19" fmla="*/ 9362 w 183802"/>
                  <a:gd name="connsiteY19" fmla="*/ 74065 h 261084"/>
                  <a:gd name="connsiteX20" fmla="*/ 15180 w 183802"/>
                  <a:gd name="connsiteY20" fmla="*/ 43553 h 261084"/>
                  <a:gd name="connsiteX21" fmla="*/ 31855 w 183802"/>
                  <a:gd name="connsiteY21" fmla="*/ 20127 h 261084"/>
                  <a:gd name="connsiteX22" fmla="*/ 58069 w 183802"/>
                  <a:gd name="connsiteY22" fmla="*/ 5237 h 261084"/>
                  <a:gd name="connsiteX23" fmla="*/ 92512 w 183802"/>
                  <a:gd name="connsiteY23" fmla="*/ 50 h 261084"/>
                  <a:gd name="connsiteX24" fmla="*/ 135401 w 183802"/>
                  <a:gd name="connsiteY24" fmla="*/ 6545 h 261084"/>
                  <a:gd name="connsiteX25" fmla="*/ 170007 w 183802"/>
                  <a:gd name="connsiteY25" fmla="*/ 23488 h 261084"/>
                  <a:gd name="connsiteX26" fmla="*/ 171352 w 183802"/>
                  <a:gd name="connsiteY26" fmla="*/ 27913 h 261084"/>
                  <a:gd name="connsiteX27" fmla="*/ 170780 w 183802"/>
                  <a:gd name="connsiteY27" fmla="*/ 28684 h 261084"/>
                  <a:gd name="connsiteX28" fmla="*/ 158034 w 183802"/>
                  <a:gd name="connsiteY28" fmla="*/ 49135 h 261084"/>
                  <a:gd name="connsiteX29" fmla="*/ 152936 w 183802"/>
                  <a:gd name="connsiteY29" fmla="*/ 49997 h 261084"/>
                  <a:gd name="connsiteX30" fmla="*/ 152796 w 183802"/>
                  <a:gd name="connsiteY30" fmla="*/ 49893 h 261084"/>
                  <a:gd name="connsiteX31" fmla="*/ 122477 w 183802"/>
                  <a:gd name="connsiteY31" fmla="*/ 35575 h 261084"/>
                  <a:gd name="connsiteX32" fmla="*/ 91415 w 183802"/>
                  <a:gd name="connsiteY32" fmla="*/ 30932 h 261084"/>
                  <a:gd name="connsiteX33" fmla="*/ 55448 w 183802"/>
                  <a:gd name="connsiteY33" fmla="*/ 42266 h 261084"/>
                  <a:gd name="connsiteX34" fmla="*/ 43085 w 183802"/>
                  <a:gd name="connsiteY34" fmla="*/ 71815 h 261084"/>
                  <a:gd name="connsiteX35" fmla="*/ 55058 w 183802"/>
                  <a:gd name="connsiteY35" fmla="*/ 98047 h 261084"/>
                  <a:gd name="connsiteX36" fmla="*/ 96628 w 183802"/>
                  <a:gd name="connsiteY36" fmla="*/ 112366 h 261084"/>
                  <a:gd name="connsiteX37" fmla="*/ 109000 w 183802"/>
                  <a:gd name="connsiteY37" fmla="*/ 114211 h 261084"/>
                  <a:gd name="connsiteX38" fmla="*/ 165162 w 183802"/>
                  <a:gd name="connsiteY38" fmla="*/ 136505 h 261084"/>
                  <a:gd name="connsiteX39" fmla="*/ 183888 w 183802"/>
                  <a:gd name="connsiteY39" fmla="*/ 184870 h 261084"/>
                  <a:gd name="connsiteX40" fmla="*/ 178095 w 183802"/>
                  <a:gd name="connsiteY40" fmla="*/ 215555 h 261084"/>
                  <a:gd name="connsiteX41" fmla="*/ 160468 w 183802"/>
                  <a:gd name="connsiteY41" fmla="*/ 239543 h 261084"/>
                  <a:gd name="connsiteX42" fmla="*/ 131287 w 183802"/>
                  <a:gd name="connsiteY42" fmla="*/ 255324 h 261084"/>
                  <a:gd name="connsiteX43" fmla="*/ 91025 w 183802"/>
                  <a:gd name="connsiteY43" fmla="*/ 261108 h 26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3802" h="261084">
                    <a:moveTo>
                      <a:pt x="91025" y="261108"/>
                    </a:moveTo>
                    <a:cubicBezTo>
                      <a:pt x="82093" y="261111"/>
                      <a:pt x="73181" y="260239"/>
                      <a:pt x="64419" y="258507"/>
                    </a:cubicBezTo>
                    <a:cubicBezTo>
                      <a:pt x="56021" y="256856"/>
                      <a:pt x="47762" y="254559"/>
                      <a:pt x="39717" y="251638"/>
                    </a:cubicBezTo>
                    <a:cubicBezTo>
                      <a:pt x="32314" y="248954"/>
                      <a:pt x="25175" y="245589"/>
                      <a:pt x="18393" y="241588"/>
                    </a:cubicBezTo>
                    <a:cubicBezTo>
                      <a:pt x="12384" y="238121"/>
                      <a:pt x="6731" y="234071"/>
                      <a:pt x="1515" y="229496"/>
                    </a:cubicBezTo>
                    <a:cubicBezTo>
                      <a:pt x="-122" y="228186"/>
                      <a:pt x="-388" y="225798"/>
                      <a:pt x="922" y="224161"/>
                    </a:cubicBezTo>
                    <a:cubicBezTo>
                      <a:pt x="991" y="224074"/>
                      <a:pt x="1064" y="223991"/>
                      <a:pt x="1141" y="223911"/>
                    </a:cubicBezTo>
                    <a:lnTo>
                      <a:pt x="17602" y="204590"/>
                    </a:lnTo>
                    <a:cubicBezTo>
                      <a:pt x="18705" y="203057"/>
                      <a:pt x="20841" y="202708"/>
                      <a:pt x="22373" y="203811"/>
                    </a:cubicBezTo>
                    <a:cubicBezTo>
                      <a:pt x="22541" y="203931"/>
                      <a:pt x="22697" y="204066"/>
                      <a:pt x="22840" y="204215"/>
                    </a:cubicBezTo>
                    <a:cubicBezTo>
                      <a:pt x="32319" y="211389"/>
                      <a:pt x="42638" y="217378"/>
                      <a:pt x="53569" y="222050"/>
                    </a:cubicBezTo>
                    <a:cubicBezTo>
                      <a:pt x="66312" y="227614"/>
                      <a:pt x="80094" y="230403"/>
                      <a:pt x="93998" y="230233"/>
                    </a:cubicBezTo>
                    <a:cubicBezTo>
                      <a:pt x="111710" y="230233"/>
                      <a:pt x="125507" y="226270"/>
                      <a:pt x="135390" y="218343"/>
                    </a:cubicBezTo>
                    <a:cubicBezTo>
                      <a:pt x="145024" y="210886"/>
                      <a:pt x="150519" y="199278"/>
                      <a:pt x="150178" y="187100"/>
                    </a:cubicBezTo>
                    <a:cubicBezTo>
                      <a:pt x="150238" y="182021"/>
                      <a:pt x="149356" y="176976"/>
                      <a:pt x="147577" y="172219"/>
                    </a:cubicBezTo>
                    <a:cubicBezTo>
                      <a:pt x="145662" y="167591"/>
                      <a:pt x="142633" y="163506"/>
                      <a:pt x="138760" y="160329"/>
                    </a:cubicBezTo>
                    <a:cubicBezTo>
                      <a:pt x="133876" y="156453"/>
                      <a:pt x="128366" y="153437"/>
                      <a:pt x="122468" y="151412"/>
                    </a:cubicBezTo>
                    <a:cubicBezTo>
                      <a:pt x="114221" y="148605"/>
                      <a:pt x="105684" y="146740"/>
                      <a:pt x="97018" y="145850"/>
                    </a:cubicBezTo>
                    <a:lnTo>
                      <a:pt x="84281" y="143972"/>
                    </a:lnTo>
                    <a:cubicBezTo>
                      <a:pt x="34353" y="137276"/>
                      <a:pt x="9380" y="113974"/>
                      <a:pt x="9362" y="74065"/>
                    </a:cubicBezTo>
                    <a:cubicBezTo>
                      <a:pt x="9220" y="63606"/>
                      <a:pt x="11199" y="53226"/>
                      <a:pt x="15180" y="43553"/>
                    </a:cubicBezTo>
                    <a:cubicBezTo>
                      <a:pt x="18901" y="34587"/>
                      <a:pt x="24602" y="26578"/>
                      <a:pt x="31855" y="20127"/>
                    </a:cubicBezTo>
                    <a:cubicBezTo>
                      <a:pt x="39496" y="13442"/>
                      <a:pt x="48414" y="8377"/>
                      <a:pt x="58069" y="5237"/>
                    </a:cubicBezTo>
                    <a:cubicBezTo>
                      <a:pt x="69191" y="1646"/>
                      <a:pt x="80825" y="-106"/>
                      <a:pt x="92512" y="50"/>
                    </a:cubicBezTo>
                    <a:cubicBezTo>
                      <a:pt x="107058" y="-10"/>
                      <a:pt x="121525" y="2181"/>
                      <a:pt x="135401" y="6545"/>
                    </a:cubicBezTo>
                    <a:cubicBezTo>
                      <a:pt x="147774" y="10291"/>
                      <a:pt x="159460" y="16013"/>
                      <a:pt x="170007" y="23488"/>
                    </a:cubicBezTo>
                    <a:cubicBezTo>
                      <a:pt x="171600" y="24339"/>
                      <a:pt x="172202" y="26320"/>
                      <a:pt x="171352" y="27913"/>
                    </a:cubicBezTo>
                    <a:cubicBezTo>
                      <a:pt x="171200" y="28197"/>
                      <a:pt x="171007" y="28457"/>
                      <a:pt x="170780" y="28684"/>
                    </a:cubicBezTo>
                    <a:lnTo>
                      <a:pt x="158034" y="49135"/>
                    </a:lnTo>
                    <a:cubicBezTo>
                      <a:pt x="156864" y="50781"/>
                      <a:pt x="154582" y="51167"/>
                      <a:pt x="152936" y="49997"/>
                    </a:cubicBezTo>
                    <a:cubicBezTo>
                      <a:pt x="152888" y="49963"/>
                      <a:pt x="152842" y="49929"/>
                      <a:pt x="152796" y="49893"/>
                    </a:cubicBezTo>
                    <a:cubicBezTo>
                      <a:pt x="143314" y="43897"/>
                      <a:pt x="133131" y="39089"/>
                      <a:pt x="122477" y="35575"/>
                    </a:cubicBezTo>
                    <a:cubicBezTo>
                      <a:pt x="112425" y="32433"/>
                      <a:pt x="101946" y="30867"/>
                      <a:pt x="91415" y="30932"/>
                    </a:cubicBezTo>
                    <a:cubicBezTo>
                      <a:pt x="75658" y="30932"/>
                      <a:pt x="63670" y="34710"/>
                      <a:pt x="55448" y="42266"/>
                    </a:cubicBezTo>
                    <a:cubicBezTo>
                      <a:pt x="47206" y="49835"/>
                      <a:pt x="42689" y="60632"/>
                      <a:pt x="43085" y="71815"/>
                    </a:cubicBezTo>
                    <a:cubicBezTo>
                      <a:pt x="42826" y="81936"/>
                      <a:pt x="47243" y="91612"/>
                      <a:pt x="55058" y="98047"/>
                    </a:cubicBezTo>
                    <a:cubicBezTo>
                      <a:pt x="63034" y="104848"/>
                      <a:pt x="76891" y="109621"/>
                      <a:pt x="96628" y="112366"/>
                    </a:cubicBezTo>
                    <a:lnTo>
                      <a:pt x="109000" y="114211"/>
                    </a:lnTo>
                    <a:cubicBezTo>
                      <a:pt x="133939" y="117681"/>
                      <a:pt x="152660" y="125112"/>
                      <a:pt x="165162" y="136505"/>
                    </a:cubicBezTo>
                    <a:cubicBezTo>
                      <a:pt x="177664" y="147898"/>
                      <a:pt x="183906" y="164019"/>
                      <a:pt x="183888" y="184870"/>
                    </a:cubicBezTo>
                    <a:cubicBezTo>
                      <a:pt x="184003" y="195381"/>
                      <a:pt x="182034" y="205810"/>
                      <a:pt x="178095" y="215555"/>
                    </a:cubicBezTo>
                    <a:cubicBezTo>
                      <a:pt x="174222" y="224845"/>
                      <a:pt x="168177" y="233071"/>
                      <a:pt x="160468" y="239543"/>
                    </a:cubicBezTo>
                    <a:cubicBezTo>
                      <a:pt x="151855" y="246643"/>
                      <a:pt x="141944" y="252002"/>
                      <a:pt x="131287" y="255324"/>
                    </a:cubicBezTo>
                    <a:cubicBezTo>
                      <a:pt x="118260" y="259380"/>
                      <a:pt x="104668" y="261333"/>
                      <a:pt x="91025" y="261108"/>
                    </a:cubicBezTo>
                  </a:path>
                </a:pathLst>
              </a:custGeom>
              <a:solidFill>
                <a:schemeClr val="bg2"/>
              </a:solidFill>
              <a:ln w="2965" cap="flat">
                <a:noFill/>
                <a:prstDash val="solid"/>
                <a:miter/>
              </a:ln>
            </p:spPr>
            <p:txBody>
              <a:bodyPr rtlCol="0" anchor="ctr"/>
              <a:lstStyle/>
              <a:p>
                <a:endParaRPr lang="de-DE"/>
              </a:p>
            </p:txBody>
          </p:sp>
          <p:sp>
            <p:nvSpPr>
              <p:cNvPr id="37" name="Freeform: Shape 36">
                <a:extLst>
                  <a:ext uri="{FF2B5EF4-FFF2-40B4-BE49-F238E27FC236}">
                    <a16:creationId xmlns:a16="http://schemas.microsoft.com/office/drawing/2014/main" id="{96FE977B-5488-4D0B-89E1-866CDF223A2F}"/>
                  </a:ext>
                </a:extLst>
              </p:cNvPr>
              <p:cNvSpPr/>
              <p:nvPr/>
            </p:nvSpPr>
            <p:spPr>
              <a:xfrm>
                <a:off x="10029707" y="2724887"/>
                <a:ext cx="179430" cy="252966"/>
              </a:xfrm>
              <a:custGeom>
                <a:avLst/>
                <a:gdLst>
                  <a:gd name="connsiteX0" fmla="*/ 33876 w 179430"/>
                  <a:gd name="connsiteY0" fmla="*/ 219859 h 252966"/>
                  <a:gd name="connsiteX1" fmla="*/ 35607 w 179430"/>
                  <a:gd name="connsiteY1" fmla="*/ 222107 h 252966"/>
                  <a:gd name="connsiteX2" fmla="*/ 36156 w 179430"/>
                  <a:gd name="connsiteY2" fmla="*/ 222103 h 252966"/>
                  <a:gd name="connsiteX3" fmla="*/ 82824 w 179430"/>
                  <a:gd name="connsiteY3" fmla="*/ 222103 h 252966"/>
                  <a:gd name="connsiteX4" fmla="*/ 120134 w 179430"/>
                  <a:gd name="connsiteY4" fmla="*/ 214110 h 252966"/>
                  <a:gd name="connsiteX5" fmla="*/ 140644 w 179430"/>
                  <a:gd name="connsiteY5" fmla="*/ 187512 h 252966"/>
                  <a:gd name="connsiteX6" fmla="*/ 142871 w 179430"/>
                  <a:gd name="connsiteY6" fmla="*/ 179698 h 252966"/>
                  <a:gd name="connsiteX7" fmla="*/ 144571 w 179430"/>
                  <a:gd name="connsiteY7" fmla="*/ 168355 h 252966"/>
                  <a:gd name="connsiteX8" fmla="*/ 145489 w 179430"/>
                  <a:gd name="connsiteY8" fmla="*/ 151441 h 252966"/>
                  <a:gd name="connsiteX9" fmla="*/ 145882 w 179430"/>
                  <a:gd name="connsiteY9" fmla="*/ 126529 h 252966"/>
                  <a:gd name="connsiteX10" fmla="*/ 145489 w 179430"/>
                  <a:gd name="connsiteY10" fmla="*/ 101599 h 252966"/>
                  <a:gd name="connsiteX11" fmla="*/ 144571 w 179430"/>
                  <a:gd name="connsiteY11" fmla="*/ 84676 h 252966"/>
                  <a:gd name="connsiteX12" fmla="*/ 142865 w 179430"/>
                  <a:gd name="connsiteY12" fmla="*/ 73339 h 252966"/>
                  <a:gd name="connsiteX13" fmla="*/ 140638 w 179430"/>
                  <a:gd name="connsiteY13" fmla="*/ 65525 h 252966"/>
                  <a:gd name="connsiteX14" fmla="*/ 120128 w 179430"/>
                  <a:gd name="connsiteY14" fmla="*/ 38927 h 252966"/>
                  <a:gd name="connsiteX15" fmla="*/ 82818 w 179430"/>
                  <a:gd name="connsiteY15" fmla="*/ 30934 h 252966"/>
                  <a:gd name="connsiteX16" fmla="*/ 36153 w 179430"/>
                  <a:gd name="connsiteY16" fmla="*/ 30934 h 252966"/>
                  <a:gd name="connsiteX17" fmla="*/ 33877 w 179430"/>
                  <a:gd name="connsiteY17" fmla="*/ 32636 h 252966"/>
                  <a:gd name="connsiteX18" fmla="*/ 33873 w 179430"/>
                  <a:gd name="connsiteY18" fmla="*/ 33178 h 252966"/>
                  <a:gd name="connsiteX19" fmla="*/ 195 w 179430"/>
                  <a:gd name="connsiteY19" fmla="*/ 3783 h 252966"/>
                  <a:gd name="connsiteX20" fmla="*/ 2998 w 179430"/>
                  <a:gd name="connsiteY20" fmla="*/ 69 h 252966"/>
                  <a:gd name="connsiteX21" fmla="*/ 3943 w 179430"/>
                  <a:gd name="connsiteY21" fmla="*/ 74 h 252966"/>
                  <a:gd name="connsiteX22" fmla="*/ 89705 w 179430"/>
                  <a:gd name="connsiteY22" fmla="*/ 74 h 252966"/>
                  <a:gd name="connsiteX23" fmla="*/ 172821 w 179430"/>
                  <a:gd name="connsiteY23" fmla="*/ 54001 h 252966"/>
                  <a:gd name="connsiteX24" fmla="*/ 175669 w 179430"/>
                  <a:gd name="connsiteY24" fmla="*/ 64782 h 252966"/>
                  <a:gd name="connsiteX25" fmla="*/ 177889 w 179430"/>
                  <a:gd name="connsiteY25" fmla="*/ 78538 h 252966"/>
                  <a:gd name="connsiteX26" fmla="*/ 179200 w 179430"/>
                  <a:gd name="connsiteY26" fmla="*/ 98249 h 252966"/>
                  <a:gd name="connsiteX27" fmla="*/ 179593 w 179430"/>
                  <a:gd name="connsiteY27" fmla="*/ 126529 h 252966"/>
                  <a:gd name="connsiteX28" fmla="*/ 179200 w 179430"/>
                  <a:gd name="connsiteY28" fmla="*/ 154794 h 252966"/>
                  <a:gd name="connsiteX29" fmla="*/ 177889 w 179430"/>
                  <a:gd name="connsiteY29" fmla="*/ 174505 h 252966"/>
                  <a:gd name="connsiteX30" fmla="*/ 175669 w 179430"/>
                  <a:gd name="connsiteY30" fmla="*/ 188270 h 252966"/>
                  <a:gd name="connsiteX31" fmla="*/ 172821 w 179430"/>
                  <a:gd name="connsiteY31" fmla="*/ 199043 h 252966"/>
                  <a:gd name="connsiteX32" fmla="*/ 89705 w 179430"/>
                  <a:gd name="connsiteY32" fmla="*/ 252969 h 252966"/>
                  <a:gd name="connsiteX33" fmla="*/ 3943 w 179430"/>
                  <a:gd name="connsiteY33" fmla="*/ 252969 h 252966"/>
                  <a:gd name="connsiteX34" fmla="*/ 201 w 179430"/>
                  <a:gd name="connsiteY34" fmla="*/ 250175 h 252966"/>
                  <a:gd name="connsiteX35" fmla="*/ 201 w 179430"/>
                  <a:gd name="connsiteY35" fmla="*/ 249227 h 25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79430" h="252966">
                    <a:moveTo>
                      <a:pt x="33876" y="219859"/>
                    </a:moveTo>
                    <a:cubicBezTo>
                      <a:pt x="33733" y="220958"/>
                      <a:pt x="34508" y="221965"/>
                      <a:pt x="35607" y="222107"/>
                    </a:cubicBezTo>
                    <a:cubicBezTo>
                      <a:pt x="35789" y="222131"/>
                      <a:pt x="35974" y="222129"/>
                      <a:pt x="36156" y="222103"/>
                    </a:cubicBezTo>
                    <a:lnTo>
                      <a:pt x="82824" y="222103"/>
                    </a:lnTo>
                    <a:cubicBezTo>
                      <a:pt x="98221" y="222103"/>
                      <a:pt x="110697" y="219428"/>
                      <a:pt x="120134" y="214110"/>
                    </a:cubicBezTo>
                    <a:cubicBezTo>
                      <a:pt x="129572" y="208792"/>
                      <a:pt x="136408" y="199911"/>
                      <a:pt x="140644" y="187512"/>
                    </a:cubicBezTo>
                    <a:cubicBezTo>
                      <a:pt x="141408" y="185277"/>
                      <a:pt x="142098" y="182682"/>
                      <a:pt x="142871" y="179698"/>
                    </a:cubicBezTo>
                    <a:cubicBezTo>
                      <a:pt x="143742" y="175969"/>
                      <a:pt x="144310" y="172175"/>
                      <a:pt x="144571" y="168355"/>
                    </a:cubicBezTo>
                    <a:cubicBezTo>
                      <a:pt x="144945" y="163781"/>
                      <a:pt x="145252" y="158143"/>
                      <a:pt x="145489" y="151441"/>
                    </a:cubicBezTo>
                    <a:cubicBezTo>
                      <a:pt x="145718" y="144732"/>
                      <a:pt x="145882" y="136433"/>
                      <a:pt x="145882" y="126529"/>
                    </a:cubicBezTo>
                    <a:cubicBezTo>
                      <a:pt x="145882" y="116625"/>
                      <a:pt x="145721" y="108308"/>
                      <a:pt x="145489" y="101599"/>
                    </a:cubicBezTo>
                    <a:cubicBezTo>
                      <a:pt x="145258" y="94890"/>
                      <a:pt x="144945" y="89269"/>
                      <a:pt x="144571" y="84676"/>
                    </a:cubicBezTo>
                    <a:cubicBezTo>
                      <a:pt x="144308" y="80858"/>
                      <a:pt x="143737" y="77066"/>
                      <a:pt x="142865" y="73339"/>
                    </a:cubicBezTo>
                    <a:cubicBezTo>
                      <a:pt x="142092" y="70367"/>
                      <a:pt x="141402" y="67760"/>
                      <a:pt x="140638" y="65525"/>
                    </a:cubicBezTo>
                    <a:cubicBezTo>
                      <a:pt x="136396" y="53128"/>
                      <a:pt x="129559" y="44262"/>
                      <a:pt x="120128" y="38927"/>
                    </a:cubicBezTo>
                    <a:cubicBezTo>
                      <a:pt x="110691" y="33594"/>
                      <a:pt x="98215" y="30934"/>
                      <a:pt x="82818" y="30934"/>
                    </a:cubicBezTo>
                    <a:lnTo>
                      <a:pt x="36153" y="30934"/>
                    </a:lnTo>
                    <a:cubicBezTo>
                      <a:pt x="35054" y="30776"/>
                      <a:pt x="34035" y="31538"/>
                      <a:pt x="33877" y="32636"/>
                    </a:cubicBezTo>
                    <a:cubicBezTo>
                      <a:pt x="33851" y="32816"/>
                      <a:pt x="33850" y="32998"/>
                      <a:pt x="33873" y="33178"/>
                    </a:cubicBezTo>
                    <a:close/>
                    <a:moveTo>
                      <a:pt x="195" y="3783"/>
                    </a:moveTo>
                    <a:cubicBezTo>
                      <a:pt x="-57" y="1984"/>
                      <a:pt x="1198" y="321"/>
                      <a:pt x="2998" y="69"/>
                    </a:cubicBezTo>
                    <a:cubicBezTo>
                      <a:pt x="3311" y="25"/>
                      <a:pt x="3630" y="27"/>
                      <a:pt x="3943" y="74"/>
                    </a:cubicBezTo>
                    <a:lnTo>
                      <a:pt x="89705" y="74"/>
                    </a:lnTo>
                    <a:cubicBezTo>
                      <a:pt x="133402" y="74"/>
                      <a:pt x="161108" y="18049"/>
                      <a:pt x="172821" y="54001"/>
                    </a:cubicBezTo>
                    <a:cubicBezTo>
                      <a:pt x="173817" y="57478"/>
                      <a:pt x="174736" y="61075"/>
                      <a:pt x="175669" y="64782"/>
                    </a:cubicBezTo>
                    <a:cubicBezTo>
                      <a:pt x="176665" y="69322"/>
                      <a:pt x="177406" y="73915"/>
                      <a:pt x="177889" y="78538"/>
                    </a:cubicBezTo>
                    <a:cubicBezTo>
                      <a:pt x="178511" y="84005"/>
                      <a:pt x="178968" y="90571"/>
                      <a:pt x="179200" y="98249"/>
                    </a:cubicBezTo>
                    <a:cubicBezTo>
                      <a:pt x="179432" y="105927"/>
                      <a:pt x="179593" y="115349"/>
                      <a:pt x="179593" y="126529"/>
                    </a:cubicBezTo>
                    <a:cubicBezTo>
                      <a:pt x="179593" y="137708"/>
                      <a:pt x="179432" y="147113"/>
                      <a:pt x="179200" y="154794"/>
                    </a:cubicBezTo>
                    <a:cubicBezTo>
                      <a:pt x="178968" y="162475"/>
                      <a:pt x="178511" y="169062"/>
                      <a:pt x="177889" y="174505"/>
                    </a:cubicBezTo>
                    <a:cubicBezTo>
                      <a:pt x="177405" y="179131"/>
                      <a:pt x="176664" y="183727"/>
                      <a:pt x="175669" y="188270"/>
                    </a:cubicBezTo>
                    <a:cubicBezTo>
                      <a:pt x="174733" y="191968"/>
                      <a:pt x="173814" y="195559"/>
                      <a:pt x="172821" y="199043"/>
                    </a:cubicBezTo>
                    <a:cubicBezTo>
                      <a:pt x="161114" y="235001"/>
                      <a:pt x="133408" y="252977"/>
                      <a:pt x="89705" y="252969"/>
                    </a:cubicBezTo>
                    <a:lnTo>
                      <a:pt x="3943" y="252969"/>
                    </a:lnTo>
                    <a:cubicBezTo>
                      <a:pt x="2138" y="253231"/>
                      <a:pt x="462" y="251980"/>
                      <a:pt x="201" y="250175"/>
                    </a:cubicBezTo>
                    <a:cubicBezTo>
                      <a:pt x="155" y="249861"/>
                      <a:pt x="155" y="249541"/>
                      <a:pt x="201" y="249227"/>
                    </a:cubicBezTo>
                    <a:close/>
                  </a:path>
                </a:pathLst>
              </a:custGeom>
              <a:solidFill>
                <a:schemeClr val="bg2"/>
              </a:solidFill>
              <a:ln w="2965" cap="flat">
                <a:noFill/>
                <a:prstDash val="solid"/>
                <a:miter/>
              </a:ln>
            </p:spPr>
            <p:txBody>
              <a:bodyPr rtlCol="0" anchor="ctr"/>
              <a:lstStyle/>
              <a:p>
                <a:endParaRPr lang="de-DE"/>
              </a:p>
            </p:txBody>
          </p:sp>
          <p:sp>
            <p:nvSpPr>
              <p:cNvPr id="38" name="Freeform: Shape 37">
                <a:extLst>
                  <a:ext uri="{FF2B5EF4-FFF2-40B4-BE49-F238E27FC236}">
                    <a16:creationId xmlns:a16="http://schemas.microsoft.com/office/drawing/2014/main" id="{E774FFB8-7970-4CA4-8E82-C268FB1BA163}"/>
                  </a:ext>
                </a:extLst>
              </p:cNvPr>
              <p:cNvSpPr/>
              <p:nvPr/>
            </p:nvSpPr>
            <p:spPr>
              <a:xfrm>
                <a:off x="10290232" y="2693236"/>
                <a:ext cx="15902" cy="316256"/>
              </a:xfrm>
              <a:custGeom>
                <a:avLst/>
                <a:gdLst>
                  <a:gd name="connsiteX0" fmla="*/ 8199 w 15902"/>
                  <a:gd name="connsiteY0" fmla="*/ 316295 h 316256"/>
                  <a:gd name="connsiteX1" fmla="*/ 247 w 15902"/>
                  <a:gd name="connsiteY1" fmla="*/ 308355 h 316256"/>
                  <a:gd name="connsiteX2" fmla="*/ 247 w 15902"/>
                  <a:gd name="connsiteY2" fmla="*/ 7980 h 316256"/>
                  <a:gd name="connsiteX3" fmla="*/ 8199 w 15902"/>
                  <a:gd name="connsiteY3" fmla="*/ 38 h 316256"/>
                  <a:gd name="connsiteX4" fmla="*/ 16150 w 15902"/>
                  <a:gd name="connsiteY4" fmla="*/ 7980 h 316256"/>
                  <a:gd name="connsiteX5" fmla="*/ 16150 w 15902"/>
                  <a:gd name="connsiteY5" fmla="*/ 308355 h 316256"/>
                  <a:gd name="connsiteX6" fmla="*/ 8199 w 15902"/>
                  <a:gd name="connsiteY6" fmla="*/ 316295 h 31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02" h="316256">
                    <a:moveTo>
                      <a:pt x="8199" y="316295"/>
                    </a:moveTo>
                    <a:cubicBezTo>
                      <a:pt x="3812" y="316293"/>
                      <a:pt x="255" y="312741"/>
                      <a:pt x="247" y="308355"/>
                    </a:cubicBezTo>
                    <a:lnTo>
                      <a:pt x="247" y="7980"/>
                    </a:lnTo>
                    <a:cubicBezTo>
                      <a:pt x="250" y="3592"/>
                      <a:pt x="3810" y="36"/>
                      <a:pt x="8199" y="38"/>
                    </a:cubicBezTo>
                    <a:cubicBezTo>
                      <a:pt x="12587" y="36"/>
                      <a:pt x="16147" y="3592"/>
                      <a:pt x="16150" y="7980"/>
                    </a:cubicBezTo>
                    <a:lnTo>
                      <a:pt x="16150" y="308355"/>
                    </a:lnTo>
                    <a:cubicBezTo>
                      <a:pt x="16142" y="312741"/>
                      <a:pt x="12585" y="316293"/>
                      <a:pt x="8199" y="316295"/>
                    </a:cubicBezTo>
                  </a:path>
                </a:pathLst>
              </a:custGeom>
              <a:solidFill>
                <a:schemeClr val="bg2"/>
              </a:solidFill>
              <a:ln w="2965" cap="flat">
                <a:noFill/>
                <a:prstDash val="solid"/>
                <a:miter/>
              </a:ln>
            </p:spPr>
            <p:txBody>
              <a:bodyPr rtlCol="0" anchor="ctr"/>
              <a:lstStyle/>
              <a:p>
                <a:endParaRPr lang="de-DE"/>
              </a:p>
            </p:txBody>
          </p:sp>
        </p:grpSp>
        <p:sp>
          <p:nvSpPr>
            <p:cNvPr id="39" name="Freeform: Shape 38">
              <a:extLst>
                <a:ext uri="{FF2B5EF4-FFF2-40B4-BE49-F238E27FC236}">
                  <a16:creationId xmlns:a16="http://schemas.microsoft.com/office/drawing/2014/main" id="{4ABD0374-83B4-417A-96D9-033C8CE60849}"/>
                </a:ext>
              </a:extLst>
            </p:cNvPr>
            <p:cNvSpPr/>
            <p:nvPr/>
          </p:nvSpPr>
          <p:spPr>
            <a:xfrm>
              <a:off x="10394175" y="2722664"/>
              <a:ext cx="1075613" cy="93936"/>
            </a:xfrm>
            <a:custGeom>
              <a:avLst/>
              <a:gdLst>
                <a:gd name="connsiteX0" fmla="*/ 28649 w 1075613"/>
                <a:gd name="connsiteY0" fmla="*/ 92452 h 93936"/>
                <a:gd name="connsiteX1" fmla="*/ 27311 w 1075613"/>
                <a:gd name="connsiteY1" fmla="*/ 91433 h 93936"/>
                <a:gd name="connsiteX2" fmla="*/ 27311 w 1075613"/>
                <a:gd name="connsiteY2" fmla="*/ 91114 h 93936"/>
                <a:gd name="connsiteX3" fmla="*/ 27311 w 1075613"/>
                <a:gd name="connsiteY3" fmla="*/ 13384 h 93936"/>
                <a:gd name="connsiteX4" fmla="*/ 26706 w 1075613"/>
                <a:gd name="connsiteY4" fmla="*/ 12581 h 93936"/>
                <a:gd name="connsiteX5" fmla="*/ 26508 w 1075613"/>
                <a:gd name="connsiteY5" fmla="*/ 12581 h 93936"/>
                <a:gd name="connsiteX6" fmla="*/ 1629 w 1075613"/>
                <a:gd name="connsiteY6" fmla="*/ 12581 h 93936"/>
                <a:gd name="connsiteX7" fmla="*/ 291 w 1075613"/>
                <a:gd name="connsiteY7" fmla="*/ 11563 h 93936"/>
                <a:gd name="connsiteX8" fmla="*/ 291 w 1075613"/>
                <a:gd name="connsiteY8" fmla="*/ 11244 h 93936"/>
                <a:gd name="connsiteX9" fmla="*/ 291 w 1075613"/>
                <a:gd name="connsiteY9" fmla="*/ 2832 h 93936"/>
                <a:gd name="connsiteX10" fmla="*/ 1310 w 1075613"/>
                <a:gd name="connsiteY10" fmla="*/ 1494 h 93936"/>
                <a:gd name="connsiteX11" fmla="*/ 1629 w 1075613"/>
                <a:gd name="connsiteY11" fmla="*/ 1494 h 93936"/>
                <a:gd name="connsiteX12" fmla="*/ 64898 w 1075613"/>
                <a:gd name="connsiteY12" fmla="*/ 1494 h 93936"/>
                <a:gd name="connsiteX13" fmla="*/ 66235 w 1075613"/>
                <a:gd name="connsiteY13" fmla="*/ 2513 h 93936"/>
                <a:gd name="connsiteX14" fmla="*/ 66235 w 1075613"/>
                <a:gd name="connsiteY14" fmla="*/ 2832 h 93936"/>
                <a:gd name="connsiteX15" fmla="*/ 66235 w 1075613"/>
                <a:gd name="connsiteY15" fmla="*/ 11259 h 93936"/>
                <a:gd name="connsiteX16" fmla="*/ 65217 w 1075613"/>
                <a:gd name="connsiteY16" fmla="*/ 12596 h 93936"/>
                <a:gd name="connsiteX17" fmla="*/ 64898 w 1075613"/>
                <a:gd name="connsiteY17" fmla="*/ 12596 h 93936"/>
                <a:gd name="connsiteX18" fmla="*/ 40018 w 1075613"/>
                <a:gd name="connsiteY18" fmla="*/ 12596 h 93936"/>
                <a:gd name="connsiteX19" fmla="*/ 39216 w 1075613"/>
                <a:gd name="connsiteY19" fmla="*/ 13201 h 93936"/>
                <a:gd name="connsiteX20" fmla="*/ 39216 w 1075613"/>
                <a:gd name="connsiteY20" fmla="*/ 13399 h 93936"/>
                <a:gd name="connsiteX21" fmla="*/ 39216 w 1075613"/>
                <a:gd name="connsiteY21" fmla="*/ 91114 h 93936"/>
                <a:gd name="connsiteX22" fmla="*/ 38197 w 1075613"/>
                <a:gd name="connsiteY22" fmla="*/ 92452 h 93936"/>
                <a:gd name="connsiteX23" fmla="*/ 37878 w 1075613"/>
                <a:gd name="connsiteY23" fmla="*/ 92452 h 93936"/>
                <a:gd name="connsiteX24" fmla="*/ 133116 w 1075613"/>
                <a:gd name="connsiteY24" fmla="*/ 92452 h 93936"/>
                <a:gd name="connsiteX25" fmla="*/ 131377 w 1075613"/>
                <a:gd name="connsiteY25" fmla="*/ 91114 h 93936"/>
                <a:gd name="connsiteX26" fmla="*/ 113186 w 1075613"/>
                <a:gd name="connsiteY26" fmla="*/ 53929 h 93936"/>
                <a:gd name="connsiteX27" fmla="*/ 93122 w 1075613"/>
                <a:gd name="connsiteY27" fmla="*/ 53929 h 93936"/>
                <a:gd name="connsiteX28" fmla="*/ 92319 w 1075613"/>
                <a:gd name="connsiteY28" fmla="*/ 54533 h 93936"/>
                <a:gd name="connsiteX29" fmla="*/ 92319 w 1075613"/>
                <a:gd name="connsiteY29" fmla="*/ 54731 h 93936"/>
                <a:gd name="connsiteX30" fmla="*/ 92319 w 1075613"/>
                <a:gd name="connsiteY30" fmla="*/ 91114 h 93936"/>
                <a:gd name="connsiteX31" fmla="*/ 91300 w 1075613"/>
                <a:gd name="connsiteY31" fmla="*/ 92452 h 93936"/>
                <a:gd name="connsiteX32" fmla="*/ 90981 w 1075613"/>
                <a:gd name="connsiteY32" fmla="*/ 92452 h 93936"/>
                <a:gd name="connsiteX33" fmla="*/ 81767 w 1075613"/>
                <a:gd name="connsiteY33" fmla="*/ 92452 h 93936"/>
                <a:gd name="connsiteX34" fmla="*/ 80429 w 1075613"/>
                <a:gd name="connsiteY34" fmla="*/ 91433 h 93936"/>
                <a:gd name="connsiteX35" fmla="*/ 80429 w 1075613"/>
                <a:gd name="connsiteY35" fmla="*/ 91114 h 93936"/>
                <a:gd name="connsiteX36" fmla="*/ 80429 w 1075613"/>
                <a:gd name="connsiteY36" fmla="*/ 2832 h 93936"/>
                <a:gd name="connsiteX37" fmla="*/ 81448 w 1075613"/>
                <a:gd name="connsiteY37" fmla="*/ 1494 h 93936"/>
                <a:gd name="connsiteX38" fmla="*/ 81767 w 1075613"/>
                <a:gd name="connsiteY38" fmla="*/ 1494 h 93936"/>
                <a:gd name="connsiteX39" fmla="*/ 114672 w 1075613"/>
                <a:gd name="connsiteY39" fmla="*/ 1494 h 93936"/>
                <a:gd name="connsiteX40" fmla="*/ 126309 w 1075613"/>
                <a:gd name="connsiteY40" fmla="*/ 3367 h 93936"/>
                <a:gd name="connsiteX41" fmla="*/ 135271 w 1075613"/>
                <a:gd name="connsiteY41" fmla="*/ 8649 h 93936"/>
                <a:gd name="connsiteX42" fmla="*/ 141077 w 1075613"/>
                <a:gd name="connsiteY42" fmla="*/ 16951 h 93936"/>
                <a:gd name="connsiteX43" fmla="*/ 143157 w 1075613"/>
                <a:gd name="connsiteY43" fmla="*/ 27717 h 93936"/>
                <a:gd name="connsiteX44" fmla="*/ 138342 w 1075613"/>
                <a:gd name="connsiteY44" fmla="*/ 43367 h 93936"/>
                <a:gd name="connsiteX45" fmla="*/ 125233 w 1075613"/>
                <a:gd name="connsiteY45" fmla="*/ 52463 h 93936"/>
                <a:gd name="connsiteX46" fmla="*/ 144620 w 1075613"/>
                <a:gd name="connsiteY46" fmla="*/ 90847 h 93936"/>
                <a:gd name="connsiteX47" fmla="*/ 144753 w 1075613"/>
                <a:gd name="connsiteY47" fmla="*/ 91982 h 93936"/>
                <a:gd name="connsiteX48" fmla="*/ 143817 w 1075613"/>
                <a:gd name="connsiteY48" fmla="*/ 92452 h 93936"/>
                <a:gd name="connsiteX49" fmla="*/ 114390 w 1075613"/>
                <a:gd name="connsiteY49" fmla="*/ 42826 h 93936"/>
                <a:gd name="connsiteX50" fmla="*/ 126829 w 1075613"/>
                <a:gd name="connsiteY50" fmla="*/ 38882 h 93936"/>
                <a:gd name="connsiteX51" fmla="*/ 131244 w 1075613"/>
                <a:gd name="connsiteY51" fmla="*/ 27711 h 93936"/>
                <a:gd name="connsiteX52" fmla="*/ 126829 w 1075613"/>
                <a:gd name="connsiteY52" fmla="*/ 16541 h 93936"/>
                <a:gd name="connsiteX53" fmla="*/ 114390 w 1075613"/>
                <a:gd name="connsiteY53" fmla="*/ 12596 h 93936"/>
                <a:gd name="connsiteX54" fmla="*/ 93122 w 1075613"/>
                <a:gd name="connsiteY54" fmla="*/ 12596 h 93936"/>
                <a:gd name="connsiteX55" fmla="*/ 92319 w 1075613"/>
                <a:gd name="connsiteY55" fmla="*/ 13201 h 93936"/>
                <a:gd name="connsiteX56" fmla="*/ 92319 w 1075613"/>
                <a:gd name="connsiteY56" fmla="*/ 13399 h 93936"/>
                <a:gd name="connsiteX57" fmla="*/ 92319 w 1075613"/>
                <a:gd name="connsiteY57" fmla="*/ 42024 h 93936"/>
                <a:gd name="connsiteX58" fmla="*/ 92923 w 1075613"/>
                <a:gd name="connsiteY58" fmla="*/ 42826 h 93936"/>
                <a:gd name="connsiteX59" fmla="*/ 93122 w 1075613"/>
                <a:gd name="connsiteY59" fmla="*/ 42826 h 93936"/>
                <a:gd name="connsiteX60" fmla="*/ 186487 w 1075613"/>
                <a:gd name="connsiteY60" fmla="*/ 2832 h 93936"/>
                <a:gd name="connsiteX61" fmla="*/ 188092 w 1075613"/>
                <a:gd name="connsiteY61" fmla="*/ 1494 h 93936"/>
                <a:gd name="connsiteX62" fmla="*/ 196802 w 1075613"/>
                <a:gd name="connsiteY62" fmla="*/ 1494 h 93936"/>
                <a:gd name="connsiteX63" fmla="*/ 198540 w 1075613"/>
                <a:gd name="connsiteY63" fmla="*/ 2832 h 93936"/>
                <a:gd name="connsiteX64" fmla="*/ 229707 w 1075613"/>
                <a:gd name="connsiteY64" fmla="*/ 91114 h 93936"/>
                <a:gd name="connsiteX65" fmla="*/ 228771 w 1075613"/>
                <a:gd name="connsiteY65" fmla="*/ 92452 h 93936"/>
                <a:gd name="connsiteX66" fmla="*/ 219392 w 1075613"/>
                <a:gd name="connsiteY66" fmla="*/ 92452 h 93936"/>
                <a:gd name="connsiteX67" fmla="*/ 217654 w 1075613"/>
                <a:gd name="connsiteY67" fmla="*/ 91114 h 93936"/>
                <a:gd name="connsiteX68" fmla="*/ 210698 w 1075613"/>
                <a:gd name="connsiteY68" fmla="*/ 71318 h 93936"/>
                <a:gd name="connsiteX69" fmla="*/ 173914 w 1075613"/>
                <a:gd name="connsiteY69" fmla="*/ 71318 h 93936"/>
                <a:gd name="connsiteX70" fmla="*/ 166958 w 1075613"/>
                <a:gd name="connsiteY70" fmla="*/ 91114 h 93936"/>
                <a:gd name="connsiteX71" fmla="*/ 165219 w 1075613"/>
                <a:gd name="connsiteY71" fmla="*/ 92452 h 93936"/>
                <a:gd name="connsiteX72" fmla="*/ 155856 w 1075613"/>
                <a:gd name="connsiteY72" fmla="*/ 92452 h 93936"/>
                <a:gd name="connsiteX73" fmla="*/ 154919 w 1075613"/>
                <a:gd name="connsiteY73" fmla="*/ 91114 h 93936"/>
                <a:gd name="connsiteX74" fmla="*/ 206819 w 1075613"/>
                <a:gd name="connsiteY74" fmla="*/ 60349 h 93936"/>
                <a:gd name="connsiteX75" fmla="*/ 192506 w 1075613"/>
                <a:gd name="connsiteY75" fmla="*/ 19017 h 93936"/>
                <a:gd name="connsiteX76" fmla="*/ 192239 w 1075613"/>
                <a:gd name="connsiteY76" fmla="*/ 19017 h 93936"/>
                <a:gd name="connsiteX77" fmla="*/ 177793 w 1075613"/>
                <a:gd name="connsiteY77" fmla="*/ 60349 h 93936"/>
                <a:gd name="connsiteX78" fmla="*/ 244138 w 1075613"/>
                <a:gd name="connsiteY78" fmla="*/ 2832 h 93936"/>
                <a:gd name="connsiteX79" fmla="*/ 245157 w 1075613"/>
                <a:gd name="connsiteY79" fmla="*/ 1494 h 93936"/>
                <a:gd name="connsiteX80" fmla="*/ 245476 w 1075613"/>
                <a:gd name="connsiteY80" fmla="*/ 1494 h 93936"/>
                <a:gd name="connsiteX81" fmla="*/ 254037 w 1075613"/>
                <a:gd name="connsiteY81" fmla="*/ 1494 h 93936"/>
                <a:gd name="connsiteX82" fmla="*/ 256311 w 1075613"/>
                <a:gd name="connsiteY82" fmla="*/ 2832 h 93936"/>
                <a:gd name="connsiteX83" fmla="*/ 297509 w 1075613"/>
                <a:gd name="connsiteY83" fmla="*/ 71050 h 93936"/>
                <a:gd name="connsiteX84" fmla="*/ 298044 w 1075613"/>
                <a:gd name="connsiteY84" fmla="*/ 71050 h 93936"/>
                <a:gd name="connsiteX85" fmla="*/ 298044 w 1075613"/>
                <a:gd name="connsiteY85" fmla="*/ 2832 h 93936"/>
                <a:gd name="connsiteX86" fmla="*/ 299064 w 1075613"/>
                <a:gd name="connsiteY86" fmla="*/ 1494 h 93936"/>
                <a:gd name="connsiteX87" fmla="*/ 299382 w 1075613"/>
                <a:gd name="connsiteY87" fmla="*/ 1494 h 93936"/>
                <a:gd name="connsiteX88" fmla="*/ 307809 w 1075613"/>
                <a:gd name="connsiteY88" fmla="*/ 1494 h 93936"/>
                <a:gd name="connsiteX89" fmla="*/ 309146 w 1075613"/>
                <a:gd name="connsiteY89" fmla="*/ 2513 h 93936"/>
                <a:gd name="connsiteX90" fmla="*/ 309146 w 1075613"/>
                <a:gd name="connsiteY90" fmla="*/ 2832 h 93936"/>
                <a:gd name="connsiteX91" fmla="*/ 309146 w 1075613"/>
                <a:gd name="connsiteY91" fmla="*/ 91114 h 93936"/>
                <a:gd name="connsiteX92" fmla="*/ 308127 w 1075613"/>
                <a:gd name="connsiteY92" fmla="*/ 92452 h 93936"/>
                <a:gd name="connsiteX93" fmla="*/ 307809 w 1075613"/>
                <a:gd name="connsiteY93" fmla="*/ 92452 h 93936"/>
                <a:gd name="connsiteX94" fmla="*/ 299248 w 1075613"/>
                <a:gd name="connsiteY94" fmla="*/ 92452 h 93936"/>
                <a:gd name="connsiteX95" fmla="*/ 296974 w 1075613"/>
                <a:gd name="connsiteY95" fmla="*/ 91114 h 93936"/>
                <a:gd name="connsiteX96" fmla="*/ 255657 w 1075613"/>
                <a:gd name="connsiteY96" fmla="*/ 23164 h 93936"/>
                <a:gd name="connsiteX97" fmla="*/ 255240 w 1075613"/>
                <a:gd name="connsiteY97" fmla="*/ 23164 h 93936"/>
                <a:gd name="connsiteX98" fmla="*/ 255240 w 1075613"/>
                <a:gd name="connsiteY98" fmla="*/ 91114 h 93936"/>
                <a:gd name="connsiteX99" fmla="*/ 254222 w 1075613"/>
                <a:gd name="connsiteY99" fmla="*/ 92452 h 93936"/>
                <a:gd name="connsiteX100" fmla="*/ 253903 w 1075613"/>
                <a:gd name="connsiteY100" fmla="*/ 92452 h 93936"/>
                <a:gd name="connsiteX101" fmla="*/ 245476 w 1075613"/>
                <a:gd name="connsiteY101" fmla="*/ 92452 h 93936"/>
                <a:gd name="connsiteX102" fmla="*/ 244138 w 1075613"/>
                <a:gd name="connsiteY102" fmla="*/ 91433 h 93936"/>
                <a:gd name="connsiteX103" fmla="*/ 244138 w 1075613"/>
                <a:gd name="connsiteY103" fmla="*/ 91114 h 93936"/>
                <a:gd name="connsiteX104" fmla="*/ 359173 w 1075613"/>
                <a:gd name="connsiteY104" fmla="*/ 93923 h 93936"/>
                <a:gd name="connsiteX105" fmla="*/ 349661 w 1075613"/>
                <a:gd name="connsiteY105" fmla="*/ 92987 h 93936"/>
                <a:gd name="connsiteX106" fmla="*/ 340833 w 1075613"/>
                <a:gd name="connsiteY106" fmla="*/ 90511 h 93936"/>
                <a:gd name="connsiteX107" fmla="*/ 333238 w 1075613"/>
                <a:gd name="connsiteY107" fmla="*/ 86899 h 93936"/>
                <a:gd name="connsiteX108" fmla="*/ 327219 w 1075613"/>
                <a:gd name="connsiteY108" fmla="*/ 82554 h 93936"/>
                <a:gd name="connsiteX109" fmla="*/ 327023 w 1075613"/>
                <a:gd name="connsiteY109" fmla="*/ 80617 h 93936"/>
                <a:gd name="connsiteX110" fmla="*/ 327085 w 1075613"/>
                <a:gd name="connsiteY110" fmla="*/ 80547 h 93936"/>
                <a:gd name="connsiteX111" fmla="*/ 332971 w 1075613"/>
                <a:gd name="connsiteY111" fmla="*/ 73592 h 93936"/>
                <a:gd name="connsiteX112" fmla="*/ 334680 w 1075613"/>
                <a:gd name="connsiteY112" fmla="*/ 73317 h 93936"/>
                <a:gd name="connsiteX113" fmla="*/ 334843 w 1075613"/>
                <a:gd name="connsiteY113" fmla="*/ 73458 h 93936"/>
                <a:gd name="connsiteX114" fmla="*/ 345812 w 1075613"/>
                <a:gd name="connsiteY114" fmla="*/ 79878 h 93936"/>
                <a:gd name="connsiteX115" fmla="*/ 360258 w 1075613"/>
                <a:gd name="connsiteY115" fmla="*/ 82821 h 93936"/>
                <a:gd name="connsiteX116" fmla="*/ 375037 w 1075613"/>
                <a:gd name="connsiteY116" fmla="*/ 78541 h 93936"/>
                <a:gd name="connsiteX117" fmla="*/ 380322 w 1075613"/>
                <a:gd name="connsiteY117" fmla="*/ 67305 h 93936"/>
                <a:gd name="connsiteX118" fmla="*/ 379386 w 1075613"/>
                <a:gd name="connsiteY118" fmla="*/ 61954 h 93936"/>
                <a:gd name="connsiteX119" fmla="*/ 376241 w 1075613"/>
                <a:gd name="connsiteY119" fmla="*/ 57674 h 93936"/>
                <a:gd name="connsiteX120" fmla="*/ 370424 w 1075613"/>
                <a:gd name="connsiteY120" fmla="*/ 54464 h 93936"/>
                <a:gd name="connsiteX121" fmla="*/ 361328 w 1075613"/>
                <a:gd name="connsiteY121" fmla="*/ 52457 h 93936"/>
                <a:gd name="connsiteX122" fmla="*/ 356780 w 1075613"/>
                <a:gd name="connsiteY122" fmla="*/ 51788 h 93936"/>
                <a:gd name="connsiteX123" fmla="*/ 330028 w 1075613"/>
                <a:gd name="connsiteY123" fmla="*/ 26641 h 93936"/>
                <a:gd name="connsiteX124" fmla="*/ 332109 w 1075613"/>
                <a:gd name="connsiteY124" fmla="*/ 15673 h 93936"/>
                <a:gd name="connsiteX125" fmla="*/ 338054 w 1075613"/>
                <a:gd name="connsiteY125" fmla="*/ 7246 h 93936"/>
                <a:gd name="connsiteX126" fmla="*/ 347417 w 1075613"/>
                <a:gd name="connsiteY126" fmla="*/ 1895 h 93936"/>
                <a:gd name="connsiteX127" fmla="*/ 359723 w 1075613"/>
                <a:gd name="connsiteY127" fmla="*/ 23 h 93936"/>
                <a:gd name="connsiteX128" fmla="*/ 375040 w 1075613"/>
                <a:gd name="connsiteY128" fmla="*/ 2362 h 93936"/>
                <a:gd name="connsiteX129" fmla="*/ 387397 w 1075613"/>
                <a:gd name="connsiteY129" fmla="*/ 8450 h 93936"/>
                <a:gd name="connsiteX130" fmla="*/ 387855 w 1075613"/>
                <a:gd name="connsiteY130" fmla="*/ 10067 h 93936"/>
                <a:gd name="connsiteX131" fmla="*/ 387664 w 1075613"/>
                <a:gd name="connsiteY131" fmla="*/ 10322 h 93936"/>
                <a:gd name="connsiteX132" fmla="*/ 383116 w 1075613"/>
                <a:gd name="connsiteY132" fmla="*/ 17679 h 93936"/>
                <a:gd name="connsiteX133" fmla="*/ 381300 w 1075613"/>
                <a:gd name="connsiteY133" fmla="*/ 17990 h 93936"/>
                <a:gd name="connsiteX134" fmla="*/ 381244 w 1075613"/>
                <a:gd name="connsiteY134" fmla="*/ 17947 h 93936"/>
                <a:gd name="connsiteX135" fmla="*/ 370409 w 1075613"/>
                <a:gd name="connsiteY135" fmla="*/ 12790 h 93936"/>
                <a:gd name="connsiteX136" fmla="*/ 359307 w 1075613"/>
                <a:gd name="connsiteY136" fmla="*/ 11119 h 93936"/>
                <a:gd name="connsiteX137" fmla="*/ 346466 w 1075613"/>
                <a:gd name="connsiteY137" fmla="*/ 15197 h 93936"/>
                <a:gd name="connsiteX138" fmla="*/ 342052 w 1075613"/>
                <a:gd name="connsiteY138" fmla="*/ 25830 h 93936"/>
                <a:gd name="connsiteX139" fmla="*/ 346332 w 1075613"/>
                <a:gd name="connsiteY139" fmla="*/ 35259 h 93936"/>
                <a:gd name="connsiteX140" fmla="*/ 361180 w 1075613"/>
                <a:gd name="connsiteY140" fmla="*/ 40434 h 93936"/>
                <a:gd name="connsiteX141" fmla="*/ 365594 w 1075613"/>
                <a:gd name="connsiteY141" fmla="*/ 41102 h 93936"/>
                <a:gd name="connsiteX142" fmla="*/ 385658 w 1075613"/>
                <a:gd name="connsiteY142" fmla="*/ 49128 h 93936"/>
                <a:gd name="connsiteX143" fmla="*/ 392346 w 1075613"/>
                <a:gd name="connsiteY143" fmla="*/ 66517 h 93936"/>
                <a:gd name="connsiteX144" fmla="*/ 390265 w 1075613"/>
                <a:gd name="connsiteY144" fmla="*/ 77551 h 93936"/>
                <a:gd name="connsiteX145" fmla="*/ 383979 w 1075613"/>
                <a:gd name="connsiteY145" fmla="*/ 86171 h 93936"/>
                <a:gd name="connsiteX146" fmla="*/ 373545 w 1075613"/>
                <a:gd name="connsiteY146" fmla="*/ 91857 h 93936"/>
                <a:gd name="connsiteX147" fmla="*/ 359173 w 1075613"/>
                <a:gd name="connsiteY147" fmla="*/ 93923 h 93936"/>
                <a:gd name="connsiteX148" fmla="*/ 412009 w 1075613"/>
                <a:gd name="connsiteY148" fmla="*/ 92452 h 93936"/>
                <a:gd name="connsiteX149" fmla="*/ 410671 w 1075613"/>
                <a:gd name="connsiteY149" fmla="*/ 91433 h 93936"/>
                <a:gd name="connsiteX150" fmla="*/ 410671 w 1075613"/>
                <a:gd name="connsiteY150" fmla="*/ 91114 h 93936"/>
                <a:gd name="connsiteX151" fmla="*/ 410671 w 1075613"/>
                <a:gd name="connsiteY151" fmla="*/ 2832 h 93936"/>
                <a:gd name="connsiteX152" fmla="*/ 411691 w 1075613"/>
                <a:gd name="connsiteY152" fmla="*/ 1494 h 93936"/>
                <a:gd name="connsiteX153" fmla="*/ 412009 w 1075613"/>
                <a:gd name="connsiteY153" fmla="*/ 1494 h 93936"/>
                <a:gd name="connsiteX154" fmla="*/ 444379 w 1075613"/>
                <a:gd name="connsiteY154" fmla="*/ 1494 h 93936"/>
                <a:gd name="connsiteX155" fmla="*/ 456284 w 1075613"/>
                <a:gd name="connsiteY155" fmla="*/ 3435 h 93936"/>
                <a:gd name="connsiteX156" fmla="*/ 465380 w 1075613"/>
                <a:gd name="connsiteY156" fmla="*/ 8919 h 93936"/>
                <a:gd name="connsiteX157" fmla="*/ 471200 w 1075613"/>
                <a:gd name="connsiteY157" fmla="*/ 17480 h 93936"/>
                <a:gd name="connsiteX158" fmla="*/ 473281 w 1075613"/>
                <a:gd name="connsiteY158" fmla="*/ 28651 h 93936"/>
                <a:gd name="connsiteX159" fmla="*/ 471200 w 1075613"/>
                <a:gd name="connsiteY159" fmla="*/ 39818 h 93936"/>
                <a:gd name="connsiteX160" fmla="*/ 465380 w 1075613"/>
                <a:gd name="connsiteY160" fmla="*/ 48379 h 93936"/>
                <a:gd name="connsiteX161" fmla="*/ 456284 w 1075613"/>
                <a:gd name="connsiteY161" fmla="*/ 53863 h 93936"/>
                <a:gd name="connsiteX162" fmla="*/ 444379 w 1075613"/>
                <a:gd name="connsiteY162" fmla="*/ 55804 h 93936"/>
                <a:gd name="connsiteX163" fmla="*/ 423379 w 1075613"/>
                <a:gd name="connsiteY163" fmla="*/ 55804 h 93936"/>
                <a:gd name="connsiteX164" fmla="*/ 422576 w 1075613"/>
                <a:gd name="connsiteY164" fmla="*/ 56409 h 93936"/>
                <a:gd name="connsiteX165" fmla="*/ 422576 w 1075613"/>
                <a:gd name="connsiteY165" fmla="*/ 56607 h 93936"/>
                <a:gd name="connsiteX166" fmla="*/ 422576 w 1075613"/>
                <a:gd name="connsiteY166" fmla="*/ 91114 h 93936"/>
                <a:gd name="connsiteX167" fmla="*/ 421557 w 1075613"/>
                <a:gd name="connsiteY167" fmla="*/ 92452 h 93936"/>
                <a:gd name="connsiteX168" fmla="*/ 421239 w 1075613"/>
                <a:gd name="connsiteY168" fmla="*/ 92452 h 93936"/>
                <a:gd name="connsiteX169" fmla="*/ 443710 w 1075613"/>
                <a:gd name="connsiteY169" fmla="*/ 44699 h 93936"/>
                <a:gd name="connsiteX170" fmla="*/ 456819 w 1075613"/>
                <a:gd name="connsiteY170" fmla="*/ 40419 h 93936"/>
                <a:gd name="connsiteX171" fmla="*/ 461501 w 1075613"/>
                <a:gd name="connsiteY171" fmla="*/ 28648 h 93936"/>
                <a:gd name="connsiteX172" fmla="*/ 456819 w 1075613"/>
                <a:gd name="connsiteY172" fmla="*/ 16877 h 93936"/>
                <a:gd name="connsiteX173" fmla="*/ 443710 w 1075613"/>
                <a:gd name="connsiteY173" fmla="*/ 12596 h 93936"/>
                <a:gd name="connsiteX174" fmla="*/ 423379 w 1075613"/>
                <a:gd name="connsiteY174" fmla="*/ 12596 h 93936"/>
                <a:gd name="connsiteX175" fmla="*/ 422576 w 1075613"/>
                <a:gd name="connsiteY175" fmla="*/ 13201 h 93936"/>
                <a:gd name="connsiteX176" fmla="*/ 422576 w 1075613"/>
                <a:gd name="connsiteY176" fmla="*/ 13399 h 93936"/>
                <a:gd name="connsiteX177" fmla="*/ 422576 w 1075613"/>
                <a:gd name="connsiteY177" fmla="*/ 43897 h 93936"/>
                <a:gd name="connsiteX178" fmla="*/ 423180 w 1075613"/>
                <a:gd name="connsiteY178" fmla="*/ 44699 h 93936"/>
                <a:gd name="connsiteX179" fmla="*/ 423379 w 1075613"/>
                <a:gd name="connsiteY179" fmla="*/ 44699 h 93936"/>
                <a:gd name="connsiteX180" fmla="*/ 519955 w 1075613"/>
                <a:gd name="connsiteY180" fmla="*/ 93923 h 93936"/>
                <a:gd name="connsiteX181" fmla="*/ 500491 w 1075613"/>
                <a:gd name="connsiteY181" fmla="*/ 88573 h 93936"/>
                <a:gd name="connsiteX182" fmla="*/ 489053 w 1075613"/>
                <a:gd name="connsiteY182" fmla="*/ 72655 h 93936"/>
                <a:gd name="connsiteX183" fmla="*/ 487917 w 1075613"/>
                <a:gd name="connsiteY183" fmla="*/ 68494 h 93936"/>
                <a:gd name="connsiteX184" fmla="*/ 487183 w 1075613"/>
                <a:gd name="connsiteY184" fmla="*/ 63479 h 93936"/>
                <a:gd name="connsiteX185" fmla="*/ 486782 w 1075613"/>
                <a:gd name="connsiteY185" fmla="*/ 56589 h 93936"/>
                <a:gd name="connsiteX186" fmla="*/ 486648 w 1075613"/>
                <a:gd name="connsiteY186" fmla="*/ 46958 h 93936"/>
                <a:gd name="connsiteX187" fmla="*/ 486782 w 1075613"/>
                <a:gd name="connsiteY187" fmla="*/ 37327 h 93936"/>
                <a:gd name="connsiteX188" fmla="*/ 487183 w 1075613"/>
                <a:gd name="connsiteY188" fmla="*/ 30440 h 93936"/>
                <a:gd name="connsiteX189" fmla="*/ 487917 w 1075613"/>
                <a:gd name="connsiteY189" fmla="*/ 25426 h 93936"/>
                <a:gd name="connsiteX190" fmla="*/ 489053 w 1075613"/>
                <a:gd name="connsiteY190" fmla="*/ 21264 h 93936"/>
                <a:gd name="connsiteX191" fmla="*/ 500494 w 1075613"/>
                <a:gd name="connsiteY191" fmla="*/ 5358 h 93936"/>
                <a:gd name="connsiteX192" fmla="*/ 539552 w 1075613"/>
                <a:gd name="connsiteY192" fmla="*/ 5358 h 93936"/>
                <a:gd name="connsiteX193" fmla="*/ 550990 w 1075613"/>
                <a:gd name="connsiteY193" fmla="*/ 21276 h 93936"/>
                <a:gd name="connsiteX194" fmla="*/ 552126 w 1075613"/>
                <a:gd name="connsiteY194" fmla="*/ 25437 h 93936"/>
                <a:gd name="connsiteX195" fmla="*/ 552863 w 1075613"/>
                <a:gd name="connsiteY195" fmla="*/ 30455 h 93936"/>
                <a:gd name="connsiteX196" fmla="*/ 553264 w 1075613"/>
                <a:gd name="connsiteY196" fmla="*/ 37342 h 93936"/>
                <a:gd name="connsiteX197" fmla="*/ 553398 w 1075613"/>
                <a:gd name="connsiteY197" fmla="*/ 46973 h 93936"/>
                <a:gd name="connsiteX198" fmla="*/ 553264 w 1075613"/>
                <a:gd name="connsiteY198" fmla="*/ 56604 h 93936"/>
                <a:gd name="connsiteX199" fmla="*/ 552863 w 1075613"/>
                <a:gd name="connsiteY199" fmla="*/ 63494 h 93936"/>
                <a:gd name="connsiteX200" fmla="*/ 552126 w 1075613"/>
                <a:gd name="connsiteY200" fmla="*/ 68512 h 93936"/>
                <a:gd name="connsiteX201" fmla="*/ 550990 w 1075613"/>
                <a:gd name="connsiteY201" fmla="*/ 72673 h 93936"/>
                <a:gd name="connsiteX202" fmla="*/ 539552 w 1075613"/>
                <a:gd name="connsiteY202" fmla="*/ 88591 h 93936"/>
                <a:gd name="connsiteX203" fmla="*/ 519955 w 1075613"/>
                <a:gd name="connsiteY203" fmla="*/ 93923 h 93936"/>
                <a:gd name="connsiteX204" fmla="*/ 519955 w 1075613"/>
                <a:gd name="connsiteY204" fmla="*/ 82821 h 93936"/>
                <a:gd name="connsiteX205" fmla="*/ 532394 w 1075613"/>
                <a:gd name="connsiteY205" fmla="*/ 79343 h 93936"/>
                <a:gd name="connsiteX206" fmla="*/ 539350 w 1075613"/>
                <a:gd name="connsiteY206" fmla="*/ 69311 h 93936"/>
                <a:gd name="connsiteX207" fmla="*/ 540087 w 1075613"/>
                <a:gd name="connsiteY207" fmla="*/ 66300 h 93936"/>
                <a:gd name="connsiteX208" fmla="*/ 540756 w 1075613"/>
                <a:gd name="connsiteY208" fmla="*/ 61821 h 93936"/>
                <a:gd name="connsiteX209" fmla="*/ 541226 w 1075613"/>
                <a:gd name="connsiteY209" fmla="*/ 55534 h 93936"/>
                <a:gd name="connsiteX210" fmla="*/ 541359 w 1075613"/>
                <a:gd name="connsiteY210" fmla="*/ 46973 h 93936"/>
                <a:gd name="connsiteX211" fmla="*/ 541226 w 1075613"/>
                <a:gd name="connsiteY211" fmla="*/ 38412 h 93936"/>
                <a:gd name="connsiteX212" fmla="*/ 540756 w 1075613"/>
                <a:gd name="connsiteY212" fmla="*/ 32126 h 93936"/>
                <a:gd name="connsiteX213" fmla="*/ 540087 w 1075613"/>
                <a:gd name="connsiteY213" fmla="*/ 27646 h 93936"/>
                <a:gd name="connsiteX214" fmla="*/ 539350 w 1075613"/>
                <a:gd name="connsiteY214" fmla="*/ 24635 h 93936"/>
                <a:gd name="connsiteX215" fmla="*/ 532394 w 1075613"/>
                <a:gd name="connsiteY215" fmla="*/ 14603 h 93936"/>
                <a:gd name="connsiteX216" fmla="*/ 519955 w 1075613"/>
                <a:gd name="connsiteY216" fmla="*/ 11125 h 93936"/>
                <a:gd name="connsiteX217" fmla="*/ 507580 w 1075613"/>
                <a:gd name="connsiteY217" fmla="*/ 14603 h 93936"/>
                <a:gd name="connsiteX218" fmla="*/ 500693 w 1075613"/>
                <a:gd name="connsiteY218" fmla="*/ 24635 h 93936"/>
                <a:gd name="connsiteX219" fmla="*/ 499959 w 1075613"/>
                <a:gd name="connsiteY219" fmla="*/ 27646 h 93936"/>
                <a:gd name="connsiteX220" fmla="*/ 499290 w 1075613"/>
                <a:gd name="connsiteY220" fmla="*/ 32126 h 93936"/>
                <a:gd name="connsiteX221" fmla="*/ 498820 w 1075613"/>
                <a:gd name="connsiteY221" fmla="*/ 38412 h 93936"/>
                <a:gd name="connsiteX222" fmla="*/ 498686 w 1075613"/>
                <a:gd name="connsiteY222" fmla="*/ 46973 h 93936"/>
                <a:gd name="connsiteX223" fmla="*/ 498820 w 1075613"/>
                <a:gd name="connsiteY223" fmla="*/ 55534 h 93936"/>
                <a:gd name="connsiteX224" fmla="*/ 499290 w 1075613"/>
                <a:gd name="connsiteY224" fmla="*/ 61821 h 93936"/>
                <a:gd name="connsiteX225" fmla="*/ 499959 w 1075613"/>
                <a:gd name="connsiteY225" fmla="*/ 66300 h 93936"/>
                <a:gd name="connsiteX226" fmla="*/ 500693 w 1075613"/>
                <a:gd name="connsiteY226" fmla="*/ 69311 h 93936"/>
                <a:gd name="connsiteX227" fmla="*/ 507580 w 1075613"/>
                <a:gd name="connsiteY227" fmla="*/ 79343 h 93936"/>
                <a:gd name="connsiteX228" fmla="*/ 519955 w 1075613"/>
                <a:gd name="connsiteY228" fmla="*/ 82821 h 93936"/>
                <a:gd name="connsiteX229" fmla="*/ 625359 w 1075613"/>
                <a:gd name="connsiteY229" fmla="*/ 92452 h 93936"/>
                <a:gd name="connsiteX230" fmla="*/ 623620 w 1075613"/>
                <a:gd name="connsiteY230" fmla="*/ 91114 h 93936"/>
                <a:gd name="connsiteX231" fmla="*/ 605428 w 1075613"/>
                <a:gd name="connsiteY231" fmla="*/ 53929 h 93936"/>
                <a:gd name="connsiteX232" fmla="*/ 585364 w 1075613"/>
                <a:gd name="connsiteY232" fmla="*/ 53929 h 93936"/>
                <a:gd name="connsiteX233" fmla="*/ 584561 w 1075613"/>
                <a:gd name="connsiteY233" fmla="*/ 54533 h 93936"/>
                <a:gd name="connsiteX234" fmla="*/ 584561 w 1075613"/>
                <a:gd name="connsiteY234" fmla="*/ 54731 h 93936"/>
                <a:gd name="connsiteX235" fmla="*/ 584561 w 1075613"/>
                <a:gd name="connsiteY235" fmla="*/ 91114 h 93936"/>
                <a:gd name="connsiteX236" fmla="*/ 583542 w 1075613"/>
                <a:gd name="connsiteY236" fmla="*/ 92452 h 93936"/>
                <a:gd name="connsiteX237" fmla="*/ 583224 w 1075613"/>
                <a:gd name="connsiteY237" fmla="*/ 92452 h 93936"/>
                <a:gd name="connsiteX238" fmla="*/ 573994 w 1075613"/>
                <a:gd name="connsiteY238" fmla="*/ 92452 h 93936"/>
                <a:gd name="connsiteX239" fmla="*/ 572657 w 1075613"/>
                <a:gd name="connsiteY239" fmla="*/ 91433 h 93936"/>
                <a:gd name="connsiteX240" fmla="*/ 572657 w 1075613"/>
                <a:gd name="connsiteY240" fmla="*/ 91114 h 93936"/>
                <a:gd name="connsiteX241" fmla="*/ 572657 w 1075613"/>
                <a:gd name="connsiteY241" fmla="*/ 2832 h 93936"/>
                <a:gd name="connsiteX242" fmla="*/ 573676 w 1075613"/>
                <a:gd name="connsiteY242" fmla="*/ 1494 h 93936"/>
                <a:gd name="connsiteX243" fmla="*/ 573994 w 1075613"/>
                <a:gd name="connsiteY243" fmla="*/ 1494 h 93936"/>
                <a:gd name="connsiteX244" fmla="*/ 606900 w 1075613"/>
                <a:gd name="connsiteY244" fmla="*/ 1494 h 93936"/>
                <a:gd name="connsiteX245" fmla="*/ 618537 w 1075613"/>
                <a:gd name="connsiteY245" fmla="*/ 3367 h 93936"/>
                <a:gd name="connsiteX246" fmla="*/ 627499 w 1075613"/>
                <a:gd name="connsiteY246" fmla="*/ 8652 h 93936"/>
                <a:gd name="connsiteX247" fmla="*/ 633319 w 1075613"/>
                <a:gd name="connsiteY247" fmla="*/ 16945 h 93936"/>
                <a:gd name="connsiteX248" fmla="*/ 635400 w 1075613"/>
                <a:gd name="connsiteY248" fmla="*/ 27711 h 93936"/>
                <a:gd name="connsiteX249" fmla="*/ 630584 w 1075613"/>
                <a:gd name="connsiteY249" fmla="*/ 43361 h 93936"/>
                <a:gd name="connsiteX250" fmla="*/ 617476 w 1075613"/>
                <a:gd name="connsiteY250" fmla="*/ 52457 h 93936"/>
                <a:gd name="connsiteX251" fmla="*/ 636871 w 1075613"/>
                <a:gd name="connsiteY251" fmla="*/ 90847 h 93936"/>
                <a:gd name="connsiteX252" fmla="*/ 637005 w 1075613"/>
                <a:gd name="connsiteY252" fmla="*/ 91982 h 93936"/>
                <a:gd name="connsiteX253" fmla="*/ 636068 w 1075613"/>
                <a:gd name="connsiteY253" fmla="*/ 92452 h 93936"/>
                <a:gd name="connsiteX254" fmla="*/ 606632 w 1075613"/>
                <a:gd name="connsiteY254" fmla="*/ 42826 h 93936"/>
                <a:gd name="connsiteX255" fmla="*/ 619072 w 1075613"/>
                <a:gd name="connsiteY255" fmla="*/ 38882 h 93936"/>
                <a:gd name="connsiteX256" fmla="*/ 623486 w 1075613"/>
                <a:gd name="connsiteY256" fmla="*/ 27711 h 93936"/>
                <a:gd name="connsiteX257" fmla="*/ 619072 w 1075613"/>
                <a:gd name="connsiteY257" fmla="*/ 16544 h 93936"/>
                <a:gd name="connsiteX258" fmla="*/ 606632 w 1075613"/>
                <a:gd name="connsiteY258" fmla="*/ 12599 h 93936"/>
                <a:gd name="connsiteX259" fmla="*/ 585364 w 1075613"/>
                <a:gd name="connsiteY259" fmla="*/ 12599 h 93936"/>
                <a:gd name="connsiteX260" fmla="*/ 584561 w 1075613"/>
                <a:gd name="connsiteY260" fmla="*/ 13204 h 93936"/>
                <a:gd name="connsiteX261" fmla="*/ 584561 w 1075613"/>
                <a:gd name="connsiteY261" fmla="*/ 13402 h 93936"/>
                <a:gd name="connsiteX262" fmla="*/ 584561 w 1075613"/>
                <a:gd name="connsiteY262" fmla="*/ 42027 h 93936"/>
                <a:gd name="connsiteX263" fmla="*/ 585165 w 1075613"/>
                <a:gd name="connsiteY263" fmla="*/ 42829 h 93936"/>
                <a:gd name="connsiteX264" fmla="*/ 585364 w 1075613"/>
                <a:gd name="connsiteY264" fmla="*/ 42829 h 93936"/>
                <a:gd name="connsiteX265" fmla="*/ 674717 w 1075613"/>
                <a:gd name="connsiteY265" fmla="*/ 92452 h 93936"/>
                <a:gd name="connsiteX266" fmla="*/ 673379 w 1075613"/>
                <a:gd name="connsiteY266" fmla="*/ 91433 h 93936"/>
                <a:gd name="connsiteX267" fmla="*/ 673379 w 1075613"/>
                <a:gd name="connsiteY267" fmla="*/ 91114 h 93936"/>
                <a:gd name="connsiteX268" fmla="*/ 673379 w 1075613"/>
                <a:gd name="connsiteY268" fmla="*/ 13384 h 93936"/>
                <a:gd name="connsiteX269" fmla="*/ 672776 w 1075613"/>
                <a:gd name="connsiteY269" fmla="*/ 12581 h 93936"/>
                <a:gd name="connsiteX270" fmla="*/ 672576 w 1075613"/>
                <a:gd name="connsiteY270" fmla="*/ 12581 h 93936"/>
                <a:gd name="connsiteX271" fmla="*/ 647697 w 1075613"/>
                <a:gd name="connsiteY271" fmla="*/ 12581 h 93936"/>
                <a:gd name="connsiteX272" fmla="*/ 646359 w 1075613"/>
                <a:gd name="connsiteY272" fmla="*/ 11563 h 93936"/>
                <a:gd name="connsiteX273" fmla="*/ 646359 w 1075613"/>
                <a:gd name="connsiteY273" fmla="*/ 11244 h 93936"/>
                <a:gd name="connsiteX274" fmla="*/ 646359 w 1075613"/>
                <a:gd name="connsiteY274" fmla="*/ 2832 h 93936"/>
                <a:gd name="connsiteX275" fmla="*/ 647379 w 1075613"/>
                <a:gd name="connsiteY275" fmla="*/ 1494 h 93936"/>
                <a:gd name="connsiteX276" fmla="*/ 647697 w 1075613"/>
                <a:gd name="connsiteY276" fmla="*/ 1494 h 93936"/>
                <a:gd name="connsiteX277" fmla="*/ 710966 w 1075613"/>
                <a:gd name="connsiteY277" fmla="*/ 1494 h 93936"/>
                <a:gd name="connsiteX278" fmla="*/ 712304 w 1075613"/>
                <a:gd name="connsiteY278" fmla="*/ 2513 h 93936"/>
                <a:gd name="connsiteX279" fmla="*/ 712304 w 1075613"/>
                <a:gd name="connsiteY279" fmla="*/ 2832 h 93936"/>
                <a:gd name="connsiteX280" fmla="*/ 712304 w 1075613"/>
                <a:gd name="connsiteY280" fmla="*/ 11259 h 93936"/>
                <a:gd name="connsiteX281" fmla="*/ 711284 w 1075613"/>
                <a:gd name="connsiteY281" fmla="*/ 12596 h 93936"/>
                <a:gd name="connsiteX282" fmla="*/ 710966 w 1075613"/>
                <a:gd name="connsiteY282" fmla="*/ 12596 h 93936"/>
                <a:gd name="connsiteX283" fmla="*/ 686086 w 1075613"/>
                <a:gd name="connsiteY283" fmla="*/ 12596 h 93936"/>
                <a:gd name="connsiteX284" fmla="*/ 685284 w 1075613"/>
                <a:gd name="connsiteY284" fmla="*/ 13201 h 93936"/>
                <a:gd name="connsiteX285" fmla="*/ 685284 w 1075613"/>
                <a:gd name="connsiteY285" fmla="*/ 13399 h 93936"/>
                <a:gd name="connsiteX286" fmla="*/ 685284 w 1075613"/>
                <a:gd name="connsiteY286" fmla="*/ 91114 h 93936"/>
                <a:gd name="connsiteX287" fmla="*/ 684264 w 1075613"/>
                <a:gd name="connsiteY287" fmla="*/ 92452 h 93936"/>
                <a:gd name="connsiteX288" fmla="*/ 683946 w 1075613"/>
                <a:gd name="connsiteY288" fmla="*/ 92452 h 93936"/>
                <a:gd name="connsiteX289" fmla="*/ 740393 w 1075613"/>
                <a:gd name="connsiteY289" fmla="*/ 2832 h 93936"/>
                <a:gd name="connsiteX290" fmla="*/ 741999 w 1075613"/>
                <a:gd name="connsiteY290" fmla="*/ 1494 h 93936"/>
                <a:gd name="connsiteX291" fmla="*/ 750693 w 1075613"/>
                <a:gd name="connsiteY291" fmla="*/ 1494 h 93936"/>
                <a:gd name="connsiteX292" fmla="*/ 752432 w 1075613"/>
                <a:gd name="connsiteY292" fmla="*/ 2832 h 93936"/>
                <a:gd name="connsiteX293" fmla="*/ 783598 w 1075613"/>
                <a:gd name="connsiteY293" fmla="*/ 91114 h 93936"/>
                <a:gd name="connsiteX294" fmla="*/ 782662 w 1075613"/>
                <a:gd name="connsiteY294" fmla="*/ 92452 h 93936"/>
                <a:gd name="connsiteX295" fmla="*/ 773299 w 1075613"/>
                <a:gd name="connsiteY295" fmla="*/ 92452 h 93936"/>
                <a:gd name="connsiteX296" fmla="*/ 771560 w 1075613"/>
                <a:gd name="connsiteY296" fmla="*/ 91114 h 93936"/>
                <a:gd name="connsiteX297" fmla="*/ 764604 w 1075613"/>
                <a:gd name="connsiteY297" fmla="*/ 71318 h 93936"/>
                <a:gd name="connsiteX298" fmla="*/ 727820 w 1075613"/>
                <a:gd name="connsiteY298" fmla="*/ 71318 h 93936"/>
                <a:gd name="connsiteX299" fmla="*/ 720864 w 1075613"/>
                <a:gd name="connsiteY299" fmla="*/ 91114 h 93936"/>
                <a:gd name="connsiteX300" fmla="*/ 719125 w 1075613"/>
                <a:gd name="connsiteY300" fmla="*/ 92452 h 93936"/>
                <a:gd name="connsiteX301" fmla="*/ 709762 w 1075613"/>
                <a:gd name="connsiteY301" fmla="*/ 92452 h 93936"/>
                <a:gd name="connsiteX302" fmla="*/ 708826 w 1075613"/>
                <a:gd name="connsiteY302" fmla="*/ 91114 h 93936"/>
                <a:gd name="connsiteX303" fmla="*/ 760725 w 1075613"/>
                <a:gd name="connsiteY303" fmla="*/ 60349 h 93936"/>
                <a:gd name="connsiteX304" fmla="*/ 746413 w 1075613"/>
                <a:gd name="connsiteY304" fmla="*/ 19017 h 93936"/>
                <a:gd name="connsiteX305" fmla="*/ 746145 w 1075613"/>
                <a:gd name="connsiteY305" fmla="*/ 19017 h 93936"/>
                <a:gd name="connsiteX306" fmla="*/ 731699 w 1075613"/>
                <a:gd name="connsiteY306" fmla="*/ 60349 h 93936"/>
                <a:gd name="connsiteX307" fmla="*/ 808478 w 1075613"/>
                <a:gd name="connsiteY307" fmla="*/ 92452 h 93936"/>
                <a:gd name="connsiteX308" fmla="*/ 807140 w 1075613"/>
                <a:gd name="connsiteY308" fmla="*/ 91433 h 93936"/>
                <a:gd name="connsiteX309" fmla="*/ 807140 w 1075613"/>
                <a:gd name="connsiteY309" fmla="*/ 91114 h 93936"/>
                <a:gd name="connsiteX310" fmla="*/ 807140 w 1075613"/>
                <a:gd name="connsiteY310" fmla="*/ 13384 h 93936"/>
                <a:gd name="connsiteX311" fmla="*/ 806537 w 1075613"/>
                <a:gd name="connsiteY311" fmla="*/ 12581 h 93936"/>
                <a:gd name="connsiteX312" fmla="*/ 806338 w 1075613"/>
                <a:gd name="connsiteY312" fmla="*/ 12581 h 93936"/>
                <a:gd name="connsiteX313" fmla="*/ 781458 w 1075613"/>
                <a:gd name="connsiteY313" fmla="*/ 12581 h 93936"/>
                <a:gd name="connsiteX314" fmla="*/ 780121 w 1075613"/>
                <a:gd name="connsiteY314" fmla="*/ 11563 h 93936"/>
                <a:gd name="connsiteX315" fmla="*/ 780121 w 1075613"/>
                <a:gd name="connsiteY315" fmla="*/ 11244 h 93936"/>
                <a:gd name="connsiteX316" fmla="*/ 780121 w 1075613"/>
                <a:gd name="connsiteY316" fmla="*/ 2832 h 93936"/>
                <a:gd name="connsiteX317" fmla="*/ 781140 w 1075613"/>
                <a:gd name="connsiteY317" fmla="*/ 1494 h 93936"/>
                <a:gd name="connsiteX318" fmla="*/ 781458 w 1075613"/>
                <a:gd name="connsiteY318" fmla="*/ 1494 h 93936"/>
                <a:gd name="connsiteX319" fmla="*/ 844727 w 1075613"/>
                <a:gd name="connsiteY319" fmla="*/ 1494 h 93936"/>
                <a:gd name="connsiteX320" fmla="*/ 846065 w 1075613"/>
                <a:gd name="connsiteY320" fmla="*/ 2513 h 93936"/>
                <a:gd name="connsiteX321" fmla="*/ 846065 w 1075613"/>
                <a:gd name="connsiteY321" fmla="*/ 2832 h 93936"/>
                <a:gd name="connsiteX322" fmla="*/ 846065 w 1075613"/>
                <a:gd name="connsiteY322" fmla="*/ 11259 h 93936"/>
                <a:gd name="connsiteX323" fmla="*/ 845046 w 1075613"/>
                <a:gd name="connsiteY323" fmla="*/ 12596 h 93936"/>
                <a:gd name="connsiteX324" fmla="*/ 844727 w 1075613"/>
                <a:gd name="connsiteY324" fmla="*/ 12596 h 93936"/>
                <a:gd name="connsiteX325" fmla="*/ 819848 w 1075613"/>
                <a:gd name="connsiteY325" fmla="*/ 12596 h 93936"/>
                <a:gd name="connsiteX326" fmla="*/ 819045 w 1075613"/>
                <a:gd name="connsiteY326" fmla="*/ 13201 h 93936"/>
                <a:gd name="connsiteX327" fmla="*/ 819045 w 1075613"/>
                <a:gd name="connsiteY327" fmla="*/ 13399 h 93936"/>
                <a:gd name="connsiteX328" fmla="*/ 819045 w 1075613"/>
                <a:gd name="connsiteY328" fmla="*/ 91114 h 93936"/>
                <a:gd name="connsiteX329" fmla="*/ 818026 w 1075613"/>
                <a:gd name="connsiteY329" fmla="*/ 92452 h 93936"/>
                <a:gd name="connsiteX330" fmla="*/ 817708 w 1075613"/>
                <a:gd name="connsiteY330" fmla="*/ 92452 h 93936"/>
                <a:gd name="connsiteX331" fmla="*/ 860259 w 1075613"/>
                <a:gd name="connsiteY331" fmla="*/ 2832 h 93936"/>
                <a:gd name="connsiteX332" fmla="*/ 861278 w 1075613"/>
                <a:gd name="connsiteY332" fmla="*/ 1494 h 93936"/>
                <a:gd name="connsiteX333" fmla="*/ 861596 w 1075613"/>
                <a:gd name="connsiteY333" fmla="*/ 1494 h 93936"/>
                <a:gd name="connsiteX334" fmla="*/ 870811 w 1075613"/>
                <a:gd name="connsiteY334" fmla="*/ 1494 h 93936"/>
                <a:gd name="connsiteX335" fmla="*/ 872149 w 1075613"/>
                <a:gd name="connsiteY335" fmla="*/ 2513 h 93936"/>
                <a:gd name="connsiteX336" fmla="*/ 872149 w 1075613"/>
                <a:gd name="connsiteY336" fmla="*/ 2832 h 93936"/>
                <a:gd name="connsiteX337" fmla="*/ 872149 w 1075613"/>
                <a:gd name="connsiteY337" fmla="*/ 91114 h 93936"/>
                <a:gd name="connsiteX338" fmla="*/ 871129 w 1075613"/>
                <a:gd name="connsiteY338" fmla="*/ 92452 h 93936"/>
                <a:gd name="connsiteX339" fmla="*/ 870811 w 1075613"/>
                <a:gd name="connsiteY339" fmla="*/ 92452 h 93936"/>
                <a:gd name="connsiteX340" fmla="*/ 861596 w 1075613"/>
                <a:gd name="connsiteY340" fmla="*/ 92452 h 93936"/>
                <a:gd name="connsiteX341" fmla="*/ 860259 w 1075613"/>
                <a:gd name="connsiteY341" fmla="*/ 91433 h 93936"/>
                <a:gd name="connsiteX342" fmla="*/ 860259 w 1075613"/>
                <a:gd name="connsiteY342" fmla="*/ 91114 h 93936"/>
                <a:gd name="connsiteX343" fmla="*/ 924732 w 1075613"/>
                <a:gd name="connsiteY343" fmla="*/ 93923 h 93936"/>
                <a:gd name="connsiteX344" fmla="*/ 905271 w 1075613"/>
                <a:gd name="connsiteY344" fmla="*/ 88573 h 93936"/>
                <a:gd name="connsiteX345" fmla="*/ 893833 w 1075613"/>
                <a:gd name="connsiteY345" fmla="*/ 72655 h 93936"/>
                <a:gd name="connsiteX346" fmla="*/ 892694 w 1075613"/>
                <a:gd name="connsiteY346" fmla="*/ 68494 h 93936"/>
                <a:gd name="connsiteX347" fmla="*/ 891960 w 1075613"/>
                <a:gd name="connsiteY347" fmla="*/ 63479 h 93936"/>
                <a:gd name="connsiteX348" fmla="*/ 891559 w 1075613"/>
                <a:gd name="connsiteY348" fmla="*/ 56589 h 93936"/>
                <a:gd name="connsiteX349" fmla="*/ 891425 w 1075613"/>
                <a:gd name="connsiteY349" fmla="*/ 46958 h 93936"/>
                <a:gd name="connsiteX350" fmla="*/ 891559 w 1075613"/>
                <a:gd name="connsiteY350" fmla="*/ 37327 h 93936"/>
                <a:gd name="connsiteX351" fmla="*/ 891960 w 1075613"/>
                <a:gd name="connsiteY351" fmla="*/ 30440 h 93936"/>
                <a:gd name="connsiteX352" fmla="*/ 892694 w 1075613"/>
                <a:gd name="connsiteY352" fmla="*/ 25426 h 93936"/>
                <a:gd name="connsiteX353" fmla="*/ 893833 w 1075613"/>
                <a:gd name="connsiteY353" fmla="*/ 21264 h 93936"/>
                <a:gd name="connsiteX354" fmla="*/ 905256 w 1075613"/>
                <a:gd name="connsiteY354" fmla="*/ 5358 h 93936"/>
                <a:gd name="connsiteX355" fmla="*/ 944314 w 1075613"/>
                <a:gd name="connsiteY355" fmla="*/ 5358 h 93936"/>
                <a:gd name="connsiteX356" fmla="*/ 955752 w 1075613"/>
                <a:gd name="connsiteY356" fmla="*/ 21276 h 93936"/>
                <a:gd name="connsiteX357" fmla="*/ 956891 w 1075613"/>
                <a:gd name="connsiteY357" fmla="*/ 25437 h 93936"/>
                <a:gd name="connsiteX358" fmla="*/ 957625 w 1075613"/>
                <a:gd name="connsiteY358" fmla="*/ 30455 h 93936"/>
                <a:gd name="connsiteX359" fmla="*/ 958026 w 1075613"/>
                <a:gd name="connsiteY359" fmla="*/ 37342 h 93936"/>
                <a:gd name="connsiteX360" fmla="*/ 958160 w 1075613"/>
                <a:gd name="connsiteY360" fmla="*/ 46973 h 93936"/>
                <a:gd name="connsiteX361" fmla="*/ 958026 w 1075613"/>
                <a:gd name="connsiteY361" fmla="*/ 56604 h 93936"/>
                <a:gd name="connsiteX362" fmla="*/ 957625 w 1075613"/>
                <a:gd name="connsiteY362" fmla="*/ 63494 h 93936"/>
                <a:gd name="connsiteX363" fmla="*/ 956891 w 1075613"/>
                <a:gd name="connsiteY363" fmla="*/ 68512 h 93936"/>
                <a:gd name="connsiteX364" fmla="*/ 955752 w 1075613"/>
                <a:gd name="connsiteY364" fmla="*/ 72673 h 93936"/>
                <a:gd name="connsiteX365" fmla="*/ 944314 w 1075613"/>
                <a:gd name="connsiteY365" fmla="*/ 88591 h 93936"/>
                <a:gd name="connsiteX366" fmla="*/ 924717 w 1075613"/>
                <a:gd name="connsiteY366" fmla="*/ 93923 h 93936"/>
                <a:gd name="connsiteX367" fmla="*/ 924732 w 1075613"/>
                <a:gd name="connsiteY367" fmla="*/ 82821 h 93936"/>
                <a:gd name="connsiteX368" fmla="*/ 937171 w 1075613"/>
                <a:gd name="connsiteY368" fmla="*/ 79343 h 93936"/>
                <a:gd name="connsiteX369" fmla="*/ 944127 w 1075613"/>
                <a:gd name="connsiteY369" fmla="*/ 69311 h 93936"/>
                <a:gd name="connsiteX370" fmla="*/ 944861 w 1075613"/>
                <a:gd name="connsiteY370" fmla="*/ 66300 h 93936"/>
                <a:gd name="connsiteX371" fmla="*/ 945530 w 1075613"/>
                <a:gd name="connsiteY371" fmla="*/ 61821 h 93936"/>
                <a:gd name="connsiteX372" fmla="*/ 946000 w 1075613"/>
                <a:gd name="connsiteY372" fmla="*/ 55534 h 93936"/>
                <a:gd name="connsiteX373" fmla="*/ 946134 w 1075613"/>
                <a:gd name="connsiteY373" fmla="*/ 46973 h 93936"/>
                <a:gd name="connsiteX374" fmla="*/ 946000 w 1075613"/>
                <a:gd name="connsiteY374" fmla="*/ 38412 h 93936"/>
                <a:gd name="connsiteX375" fmla="*/ 945530 w 1075613"/>
                <a:gd name="connsiteY375" fmla="*/ 32126 h 93936"/>
                <a:gd name="connsiteX376" fmla="*/ 944861 w 1075613"/>
                <a:gd name="connsiteY376" fmla="*/ 27646 h 93936"/>
                <a:gd name="connsiteX377" fmla="*/ 944127 w 1075613"/>
                <a:gd name="connsiteY377" fmla="*/ 24635 h 93936"/>
                <a:gd name="connsiteX378" fmla="*/ 937171 w 1075613"/>
                <a:gd name="connsiteY378" fmla="*/ 14603 h 93936"/>
                <a:gd name="connsiteX379" fmla="*/ 924732 w 1075613"/>
                <a:gd name="connsiteY379" fmla="*/ 11125 h 93936"/>
                <a:gd name="connsiteX380" fmla="*/ 912357 w 1075613"/>
                <a:gd name="connsiteY380" fmla="*/ 14603 h 93936"/>
                <a:gd name="connsiteX381" fmla="*/ 905467 w 1075613"/>
                <a:gd name="connsiteY381" fmla="*/ 24635 h 93936"/>
                <a:gd name="connsiteX382" fmla="*/ 904733 w 1075613"/>
                <a:gd name="connsiteY382" fmla="*/ 27646 h 93936"/>
                <a:gd name="connsiteX383" fmla="*/ 904064 w 1075613"/>
                <a:gd name="connsiteY383" fmla="*/ 32126 h 93936"/>
                <a:gd name="connsiteX384" fmla="*/ 903594 w 1075613"/>
                <a:gd name="connsiteY384" fmla="*/ 38412 h 93936"/>
                <a:gd name="connsiteX385" fmla="*/ 903461 w 1075613"/>
                <a:gd name="connsiteY385" fmla="*/ 46973 h 93936"/>
                <a:gd name="connsiteX386" fmla="*/ 903594 w 1075613"/>
                <a:gd name="connsiteY386" fmla="*/ 55534 h 93936"/>
                <a:gd name="connsiteX387" fmla="*/ 904064 w 1075613"/>
                <a:gd name="connsiteY387" fmla="*/ 61821 h 93936"/>
                <a:gd name="connsiteX388" fmla="*/ 904733 w 1075613"/>
                <a:gd name="connsiteY388" fmla="*/ 66300 h 93936"/>
                <a:gd name="connsiteX389" fmla="*/ 905467 w 1075613"/>
                <a:gd name="connsiteY389" fmla="*/ 69311 h 93936"/>
                <a:gd name="connsiteX390" fmla="*/ 912357 w 1075613"/>
                <a:gd name="connsiteY390" fmla="*/ 79343 h 93936"/>
                <a:gd name="connsiteX391" fmla="*/ 924717 w 1075613"/>
                <a:gd name="connsiteY391" fmla="*/ 82821 h 93936"/>
                <a:gd name="connsiteX392" fmla="*/ 977434 w 1075613"/>
                <a:gd name="connsiteY392" fmla="*/ 2832 h 93936"/>
                <a:gd name="connsiteX393" fmla="*/ 978453 w 1075613"/>
                <a:gd name="connsiteY393" fmla="*/ 1494 h 93936"/>
                <a:gd name="connsiteX394" fmla="*/ 978771 w 1075613"/>
                <a:gd name="connsiteY394" fmla="*/ 1494 h 93936"/>
                <a:gd name="connsiteX395" fmla="*/ 987332 w 1075613"/>
                <a:gd name="connsiteY395" fmla="*/ 1494 h 93936"/>
                <a:gd name="connsiteX396" fmla="*/ 989606 w 1075613"/>
                <a:gd name="connsiteY396" fmla="*/ 2832 h 93936"/>
                <a:gd name="connsiteX397" fmla="*/ 1030790 w 1075613"/>
                <a:gd name="connsiteY397" fmla="*/ 71050 h 93936"/>
                <a:gd name="connsiteX398" fmla="*/ 1031325 w 1075613"/>
                <a:gd name="connsiteY398" fmla="*/ 71050 h 93936"/>
                <a:gd name="connsiteX399" fmla="*/ 1031325 w 1075613"/>
                <a:gd name="connsiteY399" fmla="*/ 2832 h 93936"/>
                <a:gd name="connsiteX400" fmla="*/ 1032344 w 1075613"/>
                <a:gd name="connsiteY400" fmla="*/ 1494 h 93936"/>
                <a:gd name="connsiteX401" fmla="*/ 1032662 w 1075613"/>
                <a:gd name="connsiteY401" fmla="*/ 1494 h 93936"/>
                <a:gd name="connsiteX402" fmla="*/ 1041089 w 1075613"/>
                <a:gd name="connsiteY402" fmla="*/ 1494 h 93936"/>
                <a:gd name="connsiteX403" fmla="*/ 1042427 w 1075613"/>
                <a:gd name="connsiteY403" fmla="*/ 2513 h 93936"/>
                <a:gd name="connsiteX404" fmla="*/ 1042427 w 1075613"/>
                <a:gd name="connsiteY404" fmla="*/ 2832 h 93936"/>
                <a:gd name="connsiteX405" fmla="*/ 1042427 w 1075613"/>
                <a:gd name="connsiteY405" fmla="*/ 91114 h 93936"/>
                <a:gd name="connsiteX406" fmla="*/ 1041407 w 1075613"/>
                <a:gd name="connsiteY406" fmla="*/ 92452 h 93936"/>
                <a:gd name="connsiteX407" fmla="*/ 1041089 w 1075613"/>
                <a:gd name="connsiteY407" fmla="*/ 92452 h 93936"/>
                <a:gd name="connsiteX408" fmla="*/ 1032529 w 1075613"/>
                <a:gd name="connsiteY408" fmla="*/ 92452 h 93936"/>
                <a:gd name="connsiteX409" fmla="*/ 1030255 w 1075613"/>
                <a:gd name="connsiteY409" fmla="*/ 91114 h 93936"/>
                <a:gd name="connsiteX410" fmla="*/ 988937 w 1075613"/>
                <a:gd name="connsiteY410" fmla="*/ 23164 h 93936"/>
                <a:gd name="connsiteX411" fmla="*/ 988536 w 1075613"/>
                <a:gd name="connsiteY411" fmla="*/ 23164 h 93936"/>
                <a:gd name="connsiteX412" fmla="*/ 988536 w 1075613"/>
                <a:gd name="connsiteY412" fmla="*/ 91114 h 93936"/>
                <a:gd name="connsiteX413" fmla="*/ 987519 w 1075613"/>
                <a:gd name="connsiteY413" fmla="*/ 92454 h 93936"/>
                <a:gd name="connsiteX414" fmla="*/ 987183 w 1075613"/>
                <a:gd name="connsiteY414" fmla="*/ 92452 h 93936"/>
                <a:gd name="connsiteX415" fmla="*/ 978756 w 1075613"/>
                <a:gd name="connsiteY415" fmla="*/ 92452 h 93936"/>
                <a:gd name="connsiteX416" fmla="*/ 977419 w 1075613"/>
                <a:gd name="connsiteY416" fmla="*/ 91433 h 93936"/>
                <a:gd name="connsiteX417" fmla="*/ 977419 w 1075613"/>
                <a:gd name="connsiteY417" fmla="*/ 91114 h 93936"/>
                <a:gd name="connsiteX418" fmla="*/ 1063041 w 1075613"/>
                <a:gd name="connsiteY418" fmla="*/ 79611 h 93936"/>
                <a:gd name="connsiteX419" fmla="*/ 1064061 w 1075613"/>
                <a:gd name="connsiteY419" fmla="*/ 78273 h 93936"/>
                <a:gd name="connsiteX420" fmla="*/ 1064379 w 1075613"/>
                <a:gd name="connsiteY420" fmla="*/ 78273 h 93936"/>
                <a:gd name="connsiteX421" fmla="*/ 1074545 w 1075613"/>
                <a:gd name="connsiteY421" fmla="*/ 78273 h 93936"/>
                <a:gd name="connsiteX422" fmla="*/ 1075882 w 1075613"/>
                <a:gd name="connsiteY422" fmla="*/ 79292 h 93936"/>
                <a:gd name="connsiteX423" fmla="*/ 1075882 w 1075613"/>
                <a:gd name="connsiteY423" fmla="*/ 79611 h 93936"/>
                <a:gd name="connsiteX424" fmla="*/ 1075882 w 1075613"/>
                <a:gd name="connsiteY424" fmla="*/ 91114 h 93936"/>
                <a:gd name="connsiteX425" fmla="*/ 1074863 w 1075613"/>
                <a:gd name="connsiteY425" fmla="*/ 92452 h 93936"/>
                <a:gd name="connsiteX426" fmla="*/ 1074545 w 1075613"/>
                <a:gd name="connsiteY426" fmla="*/ 92452 h 93936"/>
                <a:gd name="connsiteX427" fmla="*/ 1064379 w 1075613"/>
                <a:gd name="connsiteY427" fmla="*/ 92452 h 93936"/>
                <a:gd name="connsiteX428" fmla="*/ 1063041 w 1075613"/>
                <a:gd name="connsiteY428" fmla="*/ 91433 h 93936"/>
                <a:gd name="connsiteX429" fmla="*/ 1063041 w 1075613"/>
                <a:gd name="connsiteY429" fmla="*/ 91114 h 9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Lst>
              <a:rect l="l" t="t" r="r" b="b"/>
              <a:pathLst>
                <a:path w="1075613" h="93936">
                  <a:moveTo>
                    <a:pt x="28649" y="92452"/>
                  </a:moveTo>
                  <a:cubicBezTo>
                    <a:pt x="27998" y="92540"/>
                    <a:pt x="27399" y="92084"/>
                    <a:pt x="27311" y="91433"/>
                  </a:cubicBezTo>
                  <a:cubicBezTo>
                    <a:pt x="27297" y="91327"/>
                    <a:pt x="27297" y="91220"/>
                    <a:pt x="27311" y="91114"/>
                  </a:cubicBezTo>
                  <a:lnTo>
                    <a:pt x="27311" y="13384"/>
                  </a:lnTo>
                  <a:cubicBezTo>
                    <a:pt x="27366" y="12996"/>
                    <a:pt x="27095" y="12636"/>
                    <a:pt x="26706" y="12581"/>
                  </a:cubicBezTo>
                  <a:cubicBezTo>
                    <a:pt x="26641" y="12572"/>
                    <a:pt x="26574" y="12572"/>
                    <a:pt x="26508" y="12581"/>
                  </a:cubicBezTo>
                  <a:lnTo>
                    <a:pt x="1629" y="12581"/>
                  </a:lnTo>
                  <a:cubicBezTo>
                    <a:pt x="978" y="12670"/>
                    <a:pt x="379" y="12213"/>
                    <a:pt x="291" y="11563"/>
                  </a:cubicBezTo>
                  <a:cubicBezTo>
                    <a:pt x="277" y="11457"/>
                    <a:pt x="277" y="11350"/>
                    <a:pt x="291" y="11244"/>
                  </a:cubicBezTo>
                  <a:lnTo>
                    <a:pt x="291" y="2832"/>
                  </a:lnTo>
                  <a:cubicBezTo>
                    <a:pt x="203" y="2181"/>
                    <a:pt x="659" y="1582"/>
                    <a:pt x="1310" y="1494"/>
                  </a:cubicBezTo>
                  <a:cubicBezTo>
                    <a:pt x="1416" y="1480"/>
                    <a:pt x="1523" y="1480"/>
                    <a:pt x="1629" y="1494"/>
                  </a:cubicBezTo>
                  <a:lnTo>
                    <a:pt x="64898" y="1494"/>
                  </a:lnTo>
                  <a:cubicBezTo>
                    <a:pt x="65549" y="1406"/>
                    <a:pt x="66147" y="1862"/>
                    <a:pt x="66235" y="2513"/>
                  </a:cubicBezTo>
                  <a:cubicBezTo>
                    <a:pt x="66250" y="2619"/>
                    <a:pt x="66250" y="2726"/>
                    <a:pt x="66235" y="2832"/>
                  </a:cubicBezTo>
                  <a:lnTo>
                    <a:pt x="66235" y="11259"/>
                  </a:lnTo>
                  <a:cubicBezTo>
                    <a:pt x="66323" y="11909"/>
                    <a:pt x="65867" y="12508"/>
                    <a:pt x="65217" y="12596"/>
                  </a:cubicBezTo>
                  <a:cubicBezTo>
                    <a:pt x="65111" y="12611"/>
                    <a:pt x="65004" y="12611"/>
                    <a:pt x="64898" y="12596"/>
                  </a:cubicBezTo>
                  <a:lnTo>
                    <a:pt x="40018" y="12596"/>
                  </a:lnTo>
                  <a:cubicBezTo>
                    <a:pt x="39630" y="12542"/>
                    <a:pt x="39270" y="12812"/>
                    <a:pt x="39216" y="13201"/>
                  </a:cubicBezTo>
                  <a:cubicBezTo>
                    <a:pt x="39206" y="13266"/>
                    <a:pt x="39206" y="13333"/>
                    <a:pt x="39216" y="13399"/>
                  </a:cubicBezTo>
                  <a:lnTo>
                    <a:pt x="39216" y="91114"/>
                  </a:lnTo>
                  <a:cubicBezTo>
                    <a:pt x="39304" y="91765"/>
                    <a:pt x="38847" y="92364"/>
                    <a:pt x="38197" y="92452"/>
                  </a:cubicBezTo>
                  <a:cubicBezTo>
                    <a:pt x="38091" y="92466"/>
                    <a:pt x="37984" y="92466"/>
                    <a:pt x="37878" y="92452"/>
                  </a:cubicBezTo>
                  <a:close/>
                  <a:moveTo>
                    <a:pt x="133116" y="92452"/>
                  </a:moveTo>
                  <a:cubicBezTo>
                    <a:pt x="132302" y="92446"/>
                    <a:pt x="131592" y="91899"/>
                    <a:pt x="131377" y="91114"/>
                  </a:cubicBezTo>
                  <a:lnTo>
                    <a:pt x="113186" y="53929"/>
                  </a:lnTo>
                  <a:lnTo>
                    <a:pt x="93122" y="53929"/>
                  </a:lnTo>
                  <a:cubicBezTo>
                    <a:pt x="92733" y="53874"/>
                    <a:pt x="92374" y="54144"/>
                    <a:pt x="92319" y="54533"/>
                  </a:cubicBezTo>
                  <a:cubicBezTo>
                    <a:pt x="92310" y="54599"/>
                    <a:pt x="92310" y="54666"/>
                    <a:pt x="92319" y="54731"/>
                  </a:cubicBezTo>
                  <a:lnTo>
                    <a:pt x="92319" y="91114"/>
                  </a:lnTo>
                  <a:cubicBezTo>
                    <a:pt x="92407" y="91765"/>
                    <a:pt x="91951" y="92364"/>
                    <a:pt x="91300" y="92452"/>
                  </a:cubicBezTo>
                  <a:cubicBezTo>
                    <a:pt x="91194" y="92466"/>
                    <a:pt x="91087" y="92466"/>
                    <a:pt x="90981" y="92452"/>
                  </a:cubicBezTo>
                  <a:lnTo>
                    <a:pt x="81767" y="92452"/>
                  </a:lnTo>
                  <a:cubicBezTo>
                    <a:pt x="81116" y="92540"/>
                    <a:pt x="80517" y="92084"/>
                    <a:pt x="80429" y="91433"/>
                  </a:cubicBezTo>
                  <a:cubicBezTo>
                    <a:pt x="80415" y="91327"/>
                    <a:pt x="80415" y="91220"/>
                    <a:pt x="80429" y="91114"/>
                  </a:cubicBezTo>
                  <a:lnTo>
                    <a:pt x="80429" y="2832"/>
                  </a:lnTo>
                  <a:cubicBezTo>
                    <a:pt x="80341" y="2181"/>
                    <a:pt x="80797" y="1582"/>
                    <a:pt x="81448" y="1494"/>
                  </a:cubicBezTo>
                  <a:cubicBezTo>
                    <a:pt x="81554" y="1480"/>
                    <a:pt x="81661" y="1480"/>
                    <a:pt x="81767" y="1494"/>
                  </a:cubicBezTo>
                  <a:lnTo>
                    <a:pt x="114672" y="1494"/>
                  </a:lnTo>
                  <a:cubicBezTo>
                    <a:pt x="118630" y="1441"/>
                    <a:pt x="122568" y="2075"/>
                    <a:pt x="126309" y="3367"/>
                  </a:cubicBezTo>
                  <a:cubicBezTo>
                    <a:pt x="129618" y="4515"/>
                    <a:pt x="132664" y="6310"/>
                    <a:pt x="135271" y="8649"/>
                  </a:cubicBezTo>
                  <a:cubicBezTo>
                    <a:pt x="137788" y="10960"/>
                    <a:pt x="139769" y="13794"/>
                    <a:pt x="141077" y="16951"/>
                  </a:cubicBezTo>
                  <a:cubicBezTo>
                    <a:pt x="142492" y="20362"/>
                    <a:pt x="143200" y="24025"/>
                    <a:pt x="143157" y="27717"/>
                  </a:cubicBezTo>
                  <a:cubicBezTo>
                    <a:pt x="143328" y="33323"/>
                    <a:pt x="141635" y="38828"/>
                    <a:pt x="138342" y="43367"/>
                  </a:cubicBezTo>
                  <a:cubicBezTo>
                    <a:pt x="135044" y="47709"/>
                    <a:pt x="130455" y="50894"/>
                    <a:pt x="125233" y="52463"/>
                  </a:cubicBezTo>
                  <a:lnTo>
                    <a:pt x="144620" y="90847"/>
                  </a:lnTo>
                  <a:cubicBezTo>
                    <a:pt x="144875" y="91170"/>
                    <a:pt x="144927" y="91609"/>
                    <a:pt x="144753" y="91982"/>
                  </a:cubicBezTo>
                  <a:cubicBezTo>
                    <a:pt x="144557" y="92305"/>
                    <a:pt x="144193" y="92488"/>
                    <a:pt x="143817" y="92452"/>
                  </a:cubicBezTo>
                  <a:close/>
                  <a:moveTo>
                    <a:pt x="114390" y="42826"/>
                  </a:moveTo>
                  <a:cubicBezTo>
                    <a:pt x="118883" y="43111"/>
                    <a:pt x="123321" y="41704"/>
                    <a:pt x="126829" y="38882"/>
                  </a:cubicBezTo>
                  <a:cubicBezTo>
                    <a:pt x="129880" y="35995"/>
                    <a:pt x="131497" y="31904"/>
                    <a:pt x="131244" y="27711"/>
                  </a:cubicBezTo>
                  <a:cubicBezTo>
                    <a:pt x="131497" y="23518"/>
                    <a:pt x="129880" y="19428"/>
                    <a:pt x="126829" y="16541"/>
                  </a:cubicBezTo>
                  <a:cubicBezTo>
                    <a:pt x="123321" y="13719"/>
                    <a:pt x="118883" y="12312"/>
                    <a:pt x="114390" y="12596"/>
                  </a:cubicBezTo>
                  <a:lnTo>
                    <a:pt x="93122" y="12596"/>
                  </a:lnTo>
                  <a:cubicBezTo>
                    <a:pt x="92733" y="12542"/>
                    <a:pt x="92374" y="12812"/>
                    <a:pt x="92319" y="13201"/>
                  </a:cubicBezTo>
                  <a:cubicBezTo>
                    <a:pt x="92310" y="13266"/>
                    <a:pt x="92310" y="13333"/>
                    <a:pt x="92319" y="13399"/>
                  </a:cubicBezTo>
                  <a:lnTo>
                    <a:pt x="92319" y="42024"/>
                  </a:lnTo>
                  <a:cubicBezTo>
                    <a:pt x="92264" y="42412"/>
                    <a:pt x="92535" y="42772"/>
                    <a:pt x="92923" y="42826"/>
                  </a:cubicBezTo>
                  <a:cubicBezTo>
                    <a:pt x="92989" y="42836"/>
                    <a:pt x="93056" y="42836"/>
                    <a:pt x="93122" y="42826"/>
                  </a:cubicBezTo>
                  <a:close/>
                  <a:moveTo>
                    <a:pt x="186487" y="2832"/>
                  </a:moveTo>
                  <a:cubicBezTo>
                    <a:pt x="186619" y="2051"/>
                    <a:pt x="187300" y="1483"/>
                    <a:pt x="188092" y="1494"/>
                  </a:cubicBezTo>
                  <a:lnTo>
                    <a:pt x="196802" y="1494"/>
                  </a:lnTo>
                  <a:cubicBezTo>
                    <a:pt x="197633" y="1448"/>
                    <a:pt x="198372" y="2017"/>
                    <a:pt x="198540" y="2832"/>
                  </a:cubicBezTo>
                  <a:lnTo>
                    <a:pt x="229707" y="91114"/>
                  </a:lnTo>
                  <a:cubicBezTo>
                    <a:pt x="229974" y="92006"/>
                    <a:pt x="229662" y="92452"/>
                    <a:pt x="228771" y="92452"/>
                  </a:cubicBezTo>
                  <a:lnTo>
                    <a:pt x="219392" y="92452"/>
                  </a:lnTo>
                  <a:cubicBezTo>
                    <a:pt x="218561" y="92499"/>
                    <a:pt x="217821" y="91929"/>
                    <a:pt x="217654" y="91114"/>
                  </a:cubicBezTo>
                  <a:lnTo>
                    <a:pt x="210698" y="71318"/>
                  </a:lnTo>
                  <a:lnTo>
                    <a:pt x="173914" y="71318"/>
                  </a:lnTo>
                  <a:lnTo>
                    <a:pt x="166958" y="91114"/>
                  </a:lnTo>
                  <a:cubicBezTo>
                    <a:pt x="166744" y="91899"/>
                    <a:pt x="166033" y="92446"/>
                    <a:pt x="165219" y="92452"/>
                  </a:cubicBezTo>
                  <a:lnTo>
                    <a:pt x="155856" y="92452"/>
                  </a:lnTo>
                  <a:cubicBezTo>
                    <a:pt x="154964" y="92452"/>
                    <a:pt x="154652" y="92006"/>
                    <a:pt x="154919" y="91114"/>
                  </a:cubicBezTo>
                  <a:close/>
                  <a:moveTo>
                    <a:pt x="206819" y="60349"/>
                  </a:moveTo>
                  <a:lnTo>
                    <a:pt x="192506" y="19017"/>
                  </a:lnTo>
                  <a:lnTo>
                    <a:pt x="192239" y="19017"/>
                  </a:lnTo>
                  <a:lnTo>
                    <a:pt x="177793" y="60349"/>
                  </a:lnTo>
                  <a:close/>
                  <a:moveTo>
                    <a:pt x="244138" y="2832"/>
                  </a:moveTo>
                  <a:cubicBezTo>
                    <a:pt x="244050" y="2181"/>
                    <a:pt x="244507" y="1582"/>
                    <a:pt x="245157" y="1494"/>
                  </a:cubicBezTo>
                  <a:cubicBezTo>
                    <a:pt x="245263" y="1480"/>
                    <a:pt x="245370" y="1480"/>
                    <a:pt x="245476" y="1494"/>
                  </a:cubicBezTo>
                  <a:lnTo>
                    <a:pt x="254037" y="1494"/>
                  </a:lnTo>
                  <a:cubicBezTo>
                    <a:pt x="254998" y="1429"/>
                    <a:pt x="255900" y="1960"/>
                    <a:pt x="256311" y="2832"/>
                  </a:cubicBezTo>
                  <a:lnTo>
                    <a:pt x="297509" y="71050"/>
                  </a:lnTo>
                  <a:lnTo>
                    <a:pt x="298044" y="71050"/>
                  </a:lnTo>
                  <a:lnTo>
                    <a:pt x="298044" y="2832"/>
                  </a:lnTo>
                  <a:cubicBezTo>
                    <a:pt x="297955" y="2181"/>
                    <a:pt x="298413" y="1582"/>
                    <a:pt x="299064" y="1494"/>
                  </a:cubicBezTo>
                  <a:cubicBezTo>
                    <a:pt x="299168" y="1480"/>
                    <a:pt x="299275" y="1480"/>
                    <a:pt x="299382" y="1494"/>
                  </a:cubicBezTo>
                  <a:lnTo>
                    <a:pt x="307809" y="1494"/>
                  </a:lnTo>
                  <a:cubicBezTo>
                    <a:pt x="308460" y="1406"/>
                    <a:pt x="309057" y="1862"/>
                    <a:pt x="309146" y="2513"/>
                  </a:cubicBezTo>
                  <a:cubicBezTo>
                    <a:pt x="309161" y="2619"/>
                    <a:pt x="309161" y="2726"/>
                    <a:pt x="309146" y="2832"/>
                  </a:cubicBezTo>
                  <a:lnTo>
                    <a:pt x="309146" y="91114"/>
                  </a:lnTo>
                  <a:cubicBezTo>
                    <a:pt x="309236" y="91765"/>
                    <a:pt x="308778" y="92364"/>
                    <a:pt x="308127" y="92452"/>
                  </a:cubicBezTo>
                  <a:cubicBezTo>
                    <a:pt x="308023" y="92466"/>
                    <a:pt x="307916" y="92466"/>
                    <a:pt x="307809" y="92452"/>
                  </a:cubicBezTo>
                  <a:lnTo>
                    <a:pt x="299248" y="92452"/>
                  </a:lnTo>
                  <a:cubicBezTo>
                    <a:pt x="298288" y="92517"/>
                    <a:pt x="297384" y="91986"/>
                    <a:pt x="296974" y="91114"/>
                  </a:cubicBezTo>
                  <a:lnTo>
                    <a:pt x="255657" y="23164"/>
                  </a:lnTo>
                  <a:lnTo>
                    <a:pt x="255240" y="23164"/>
                  </a:lnTo>
                  <a:lnTo>
                    <a:pt x="255240" y="91114"/>
                  </a:lnTo>
                  <a:cubicBezTo>
                    <a:pt x="255328" y="91765"/>
                    <a:pt x="254872" y="92364"/>
                    <a:pt x="254222" y="92452"/>
                  </a:cubicBezTo>
                  <a:cubicBezTo>
                    <a:pt x="254116" y="92466"/>
                    <a:pt x="254009" y="92466"/>
                    <a:pt x="253903" y="92452"/>
                  </a:cubicBezTo>
                  <a:lnTo>
                    <a:pt x="245476" y="92452"/>
                  </a:lnTo>
                  <a:cubicBezTo>
                    <a:pt x="244825" y="92540"/>
                    <a:pt x="244226" y="92084"/>
                    <a:pt x="244138" y="91433"/>
                  </a:cubicBezTo>
                  <a:cubicBezTo>
                    <a:pt x="244124" y="91327"/>
                    <a:pt x="244124" y="91220"/>
                    <a:pt x="244138" y="91114"/>
                  </a:cubicBezTo>
                  <a:close/>
                  <a:moveTo>
                    <a:pt x="359173" y="93923"/>
                  </a:moveTo>
                  <a:cubicBezTo>
                    <a:pt x="355981" y="93926"/>
                    <a:pt x="352794" y="93613"/>
                    <a:pt x="349661" y="92987"/>
                  </a:cubicBezTo>
                  <a:cubicBezTo>
                    <a:pt x="346659" y="92395"/>
                    <a:pt x="343707" y="91567"/>
                    <a:pt x="340833" y="90511"/>
                  </a:cubicBezTo>
                  <a:cubicBezTo>
                    <a:pt x="338196" y="89540"/>
                    <a:pt x="335655" y="88331"/>
                    <a:pt x="333238" y="86899"/>
                  </a:cubicBezTo>
                  <a:cubicBezTo>
                    <a:pt x="331098" y="85646"/>
                    <a:pt x="329083" y="84191"/>
                    <a:pt x="327219" y="82554"/>
                  </a:cubicBezTo>
                  <a:cubicBezTo>
                    <a:pt x="326630" y="82073"/>
                    <a:pt x="326544" y="81206"/>
                    <a:pt x="327023" y="80617"/>
                  </a:cubicBezTo>
                  <a:cubicBezTo>
                    <a:pt x="327044" y="80593"/>
                    <a:pt x="327064" y="80570"/>
                    <a:pt x="327085" y="80547"/>
                  </a:cubicBezTo>
                  <a:lnTo>
                    <a:pt x="332971" y="73592"/>
                  </a:lnTo>
                  <a:cubicBezTo>
                    <a:pt x="333366" y="73043"/>
                    <a:pt x="334133" y="72920"/>
                    <a:pt x="334680" y="73317"/>
                  </a:cubicBezTo>
                  <a:cubicBezTo>
                    <a:pt x="334739" y="73359"/>
                    <a:pt x="334793" y="73406"/>
                    <a:pt x="334843" y="73458"/>
                  </a:cubicBezTo>
                  <a:cubicBezTo>
                    <a:pt x="338226" y="76036"/>
                    <a:pt x="341909" y="78192"/>
                    <a:pt x="345812" y="79878"/>
                  </a:cubicBezTo>
                  <a:cubicBezTo>
                    <a:pt x="350363" y="81878"/>
                    <a:pt x="355288" y="82881"/>
                    <a:pt x="360258" y="82821"/>
                  </a:cubicBezTo>
                  <a:cubicBezTo>
                    <a:pt x="365531" y="83142"/>
                    <a:pt x="370754" y="81630"/>
                    <a:pt x="375037" y="78541"/>
                  </a:cubicBezTo>
                  <a:cubicBezTo>
                    <a:pt x="378485" y="75848"/>
                    <a:pt x="380447" y="71677"/>
                    <a:pt x="380322" y="67305"/>
                  </a:cubicBezTo>
                  <a:cubicBezTo>
                    <a:pt x="380346" y="65479"/>
                    <a:pt x="380028" y="63664"/>
                    <a:pt x="379386" y="61954"/>
                  </a:cubicBezTo>
                  <a:cubicBezTo>
                    <a:pt x="378714" y="60285"/>
                    <a:pt x="377632" y="58813"/>
                    <a:pt x="376241" y="57674"/>
                  </a:cubicBezTo>
                  <a:cubicBezTo>
                    <a:pt x="374502" y="56275"/>
                    <a:pt x="372534" y="55189"/>
                    <a:pt x="370424" y="54464"/>
                  </a:cubicBezTo>
                  <a:cubicBezTo>
                    <a:pt x="367478" y="53450"/>
                    <a:pt x="364426" y="52777"/>
                    <a:pt x="361328" y="52457"/>
                  </a:cubicBezTo>
                  <a:lnTo>
                    <a:pt x="356780" y="51788"/>
                  </a:lnTo>
                  <a:cubicBezTo>
                    <a:pt x="338945" y="49381"/>
                    <a:pt x="330028" y="40998"/>
                    <a:pt x="330028" y="26641"/>
                  </a:cubicBezTo>
                  <a:cubicBezTo>
                    <a:pt x="329980" y="22883"/>
                    <a:pt x="330688" y="19153"/>
                    <a:pt x="332109" y="15673"/>
                  </a:cubicBezTo>
                  <a:cubicBezTo>
                    <a:pt x="333432" y="12453"/>
                    <a:pt x="335465" y="9573"/>
                    <a:pt x="338054" y="7246"/>
                  </a:cubicBezTo>
                  <a:cubicBezTo>
                    <a:pt x="340779" y="4847"/>
                    <a:pt x="343966" y="3026"/>
                    <a:pt x="347417" y="1895"/>
                  </a:cubicBezTo>
                  <a:cubicBezTo>
                    <a:pt x="351388" y="598"/>
                    <a:pt x="355547" y="-35"/>
                    <a:pt x="359723" y="23"/>
                  </a:cubicBezTo>
                  <a:cubicBezTo>
                    <a:pt x="364919" y="-2"/>
                    <a:pt x="370088" y="788"/>
                    <a:pt x="375040" y="2362"/>
                  </a:cubicBezTo>
                  <a:cubicBezTo>
                    <a:pt x="379460" y="3710"/>
                    <a:pt x="383634" y="5766"/>
                    <a:pt x="387397" y="8450"/>
                  </a:cubicBezTo>
                  <a:cubicBezTo>
                    <a:pt x="387971" y="8770"/>
                    <a:pt x="388176" y="9494"/>
                    <a:pt x="387855" y="10067"/>
                  </a:cubicBezTo>
                  <a:cubicBezTo>
                    <a:pt x="387804" y="10161"/>
                    <a:pt x="387739" y="10246"/>
                    <a:pt x="387664" y="10322"/>
                  </a:cubicBezTo>
                  <a:lnTo>
                    <a:pt x="383116" y="17679"/>
                  </a:lnTo>
                  <a:cubicBezTo>
                    <a:pt x="382700" y="18266"/>
                    <a:pt x="381889" y="18405"/>
                    <a:pt x="381300" y="17990"/>
                  </a:cubicBezTo>
                  <a:cubicBezTo>
                    <a:pt x="381282" y="17976"/>
                    <a:pt x="381262" y="17962"/>
                    <a:pt x="381244" y="17947"/>
                  </a:cubicBezTo>
                  <a:cubicBezTo>
                    <a:pt x="377855" y="15794"/>
                    <a:pt x="374217" y="14062"/>
                    <a:pt x="370409" y="12790"/>
                  </a:cubicBezTo>
                  <a:cubicBezTo>
                    <a:pt x="366818" y="11658"/>
                    <a:pt x="363073" y="11095"/>
                    <a:pt x="359307" y="11119"/>
                  </a:cubicBezTo>
                  <a:cubicBezTo>
                    <a:pt x="354664" y="10793"/>
                    <a:pt x="350071" y="12252"/>
                    <a:pt x="346466" y="15197"/>
                  </a:cubicBezTo>
                  <a:cubicBezTo>
                    <a:pt x="343517" y="17930"/>
                    <a:pt x="341906" y="21812"/>
                    <a:pt x="342052" y="25830"/>
                  </a:cubicBezTo>
                  <a:cubicBezTo>
                    <a:pt x="341960" y="29462"/>
                    <a:pt x="343538" y="32936"/>
                    <a:pt x="346332" y="35259"/>
                  </a:cubicBezTo>
                  <a:cubicBezTo>
                    <a:pt x="350722" y="38294"/>
                    <a:pt x="355853" y="40083"/>
                    <a:pt x="361180" y="40434"/>
                  </a:cubicBezTo>
                  <a:lnTo>
                    <a:pt x="365594" y="41102"/>
                  </a:lnTo>
                  <a:cubicBezTo>
                    <a:pt x="372939" y="41695"/>
                    <a:pt x="379930" y="44492"/>
                    <a:pt x="385658" y="49128"/>
                  </a:cubicBezTo>
                  <a:cubicBezTo>
                    <a:pt x="390301" y="53682"/>
                    <a:pt x="392741" y="60025"/>
                    <a:pt x="392346" y="66517"/>
                  </a:cubicBezTo>
                  <a:cubicBezTo>
                    <a:pt x="392388" y="70296"/>
                    <a:pt x="391680" y="74046"/>
                    <a:pt x="390265" y="77551"/>
                  </a:cubicBezTo>
                  <a:cubicBezTo>
                    <a:pt x="388889" y="80885"/>
                    <a:pt x="386731" y="83841"/>
                    <a:pt x="383979" y="86171"/>
                  </a:cubicBezTo>
                  <a:cubicBezTo>
                    <a:pt x="380902" y="88726"/>
                    <a:pt x="377359" y="90658"/>
                    <a:pt x="373545" y="91857"/>
                  </a:cubicBezTo>
                  <a:cubicBezTo>
                    <a:pt x="368896" y="93311"/>
                    <a:pt x="364042" y="94009"/>
                    <a:pt x="359173" y="93923"/>
                  </a:cubicBezTo>
                  <a:close/>
                  <a:moveTo>
                    <a:pt x="412009" y="92452"/>
                  </a:moveTo>
                  <a:cubicBezTo>
                    <a:pt x="411358" y="92540"/>
                    <a:pt x="410761" y="92084"/>
                    <a:pt x="410671" y="91433"/>
                  </a:cubicBezTo>
                  <a:cubicBezTo>
                    <a:pt x="410656" y="91327"/>
                    <a:pt x="410656" y="91220"/>
                    <a:pt x="410671" y="91114"/>
                  </a:cubicBezTo>
                  <a:lnTo>
                    <a:pt x="410671" y="2832"/>
                  </a:lnTo>
                  <a:cubicBezTo>
                    <a:pt x="410582" y="2181"/>
                    <a:pt x="411040" y="1582"/>
                    <a:pt x="411691" y="1494"/>
                  </a:cubicBezTo>
                  <a:cubicBezTo>
                    <a:pt x="411795" y="1480"/>
                    <a:pt x="411902" y="1480"/>
                    <a:pt x="412009" y="1494"/>
                  </a:cubicBezTo>
                  <a:lnTo>
                    <a:pt x="444379" y="1494"/>
                  </a:lnTo>
                  <a:cubicBezTo>
                    <a:pt x="448431" y="1442"/>
                    <a:pt x="452458" y="2099"/>
                    <a:pt x="456284" y="3435"/>
                  </a:cubicBezTo>
                  <a:cubicBezTo>
                    <a:pt x="459664" y="4614"/>
                    <a:pt x="462761" y="6482"/>
                    <a:pt x="465380" y="8919"/>
                  </a:cubicBezTo>
                  <a:cubicBezTo>
                    <a:pt x="467906" y="11326"/>
                    <a:pt x="469892" y="14245"/>
                    <a:pt x="471200" y="17480"/>
                  </a:cubicBezTo>
                  <a:cubicBezTo>
                    <a:pt x="472624" y="21030"/>
                    <a:pt x="473331" y="24826"/>
                    <a:pt x="473281" y="28651"/>
                  </a:cubicBezTo>
                  <a:cubicBezTo>
                    <a:pt x="473331" y="32474"/>
                    <a:pt x="472624" y="36269"/>
                    <a:pt x="471200" y="39818"/>
                  </a:cubicBezTo>
                  <a:cubicBezTo>
                    <a:pt x="469892" y="43054"/>
                    <a:pt x="467906" y="45972"/>
                    <a:pt x="465380" y="48379"/>
                  </a:cubicBezTo>
                  <a:cubicBezTo>
                    <a:pt x="462761" y="50817"/>
                    <a:pt x="459664" y="52684"/>
                    <a:pt x="456284" y="53863"/>
                  </a:cubicBezTo>
                  <a:cubicBezTo>
                    <a:pt x="452458" y="55200"/>
                    <a:pt x="448431" y="55857"/>
                    <a:pt x="444379" y="55804"/>
                  </a:cubicBezTo>
                  <a:lnTo>
                    <a:pt x="423379" y="55804"/>
                  </a:lnTo>
                  <a:cubicBezTo>
                    <a:pt x="422989" y="55750"/>
                    <a:pt x="422630" y="56020"/>
                    <a:pt x="422576" y="56409"/>
                  </a:cubicBezTo>
                  <a:cubicBezTo>
                    <a:pt x="422567" y="56474"/>
                    <a:pt x="422567" y="56541"/>
                    <a:pt x="422576" y="56607"/>
                  </a:cubicBezTo>
                  <a:lnTo>
                    <a:pt x="422576" y="91114"/>
                  </a:lnTo>
                  <a:cubicBezTo>
                    <a:pt x="422665" y="91765"/>
                    <a:pt x="422208" y="92364"/>
                    <a:pt x="421557" y="92452"/>
                  </a:cubicBezTo>
                  <a:cubicBezTo>
                    <a:pt x="421453" y="92466"/>
                    <a:pt x="421346" y="92466"/>
                    <a:pt x="421239" y="92452"/>
                  </a:cubicBezTo>
                  <a:close/>
                  <a:moveTo>
                    <a:pt x="443710" y="44699"/>
                  </a:moveTo>
                  <a:cubicBezTo>
                    <a:pt x="448466" y="44992"/>
                    <a:pt x="453154" y="43461"/>
                    <a:pt x="456819" y="40419"/>
                  </a:cubicBezTo>
                  <a:cubicBezTo>
                    <a:pt x="460023" y="37366"/>
                    <a:pt x="461733" y="33067"/>
                    <a:pt x="461501" y="28648"/>
                  </a:cubicBezTo>
                  <a:cubicBezTo>
                    <a:pt x="461733" y="24229"/>
                    <a:pt x="460023" y="19929"/>
                    <a:pt x="456819" y="16877"/>
                  </a:cubicBezTo>
                  <a:cubicBezTo>
                    <a:pt x="453154" y="13835"/>
                    <a:pt x="448466" y="12304"/>
                    <a:pt x="443710" y="12596"/>
                  </a:cubicBezTo>
                  <a:lnTo>
                    <a:pt x="423379" y="12596"/>
                  </a:lnTo>
                  <a:cubicBezTo>
                    <a:pt x="422989" y="12542"/>
                    <a:pt x="422630" y="12812"/>
                    <a:pt x="422576" y="13201"/>
                  </a:cubicBezTo>
                  <a:cubicBezTo>
                    <a:pt x="422567" y="13266"/>
                    <a:pt x="422567" y="13333"/>
                    <a:pt x="422576" y="13399"/>
                  </a:cubicBezTo>
                  <a:lnTo>
                    <a:pt x="422576" y="43897"/>
                  </a:lnTo>
                  <a:cubicBezTo>
                    <a:pt x="422523" y="44285"/>
                    <a:pt x="422793" y="44644"/>
                    <a:pt x="423180" y="44699"/>
                  </a:cubicBezTo>
                  <a:cubicBezTo>
                    <a:pt x="423245" y="44708"/>
                    <a:pt x="423313" y="44708"/>
                    <a:pt x="423379" y="44699"/>
                  </a:cubicBezTo>
                  <a:close/>
                  <a:moveTo>
                    <a:pt x="519955" y="93923"/>
                  </a:moveTo>
                  <a:cubicBezTo>
                    <a:pt x="513076" y="94146"/>
                    <a:pt x="506290" y="92281"/>
                    <a:pt x="500491" y="88573"/>
                  </a:cubicBezTo>
                  <a:cubicBezTo>
                    <a:pt x="494977" y="84724"/>
                    <a:pt x="490943" y="79109"/>
                    <a:pt x="489053" y="72655"/>
                  </a:cubicBezTo>
                  <a:cubicBezTo>
                    <a:pt x="488601" y="71289"/>
                    <a:pt x="488220" y="69900"/>
                    <a:pt x="487917" y="68494"/>
                  </a:cubicBezTo>
                  <a:cubicBezTo>
                    <a:pt x="487572" y="66839"/>
                    <a:pt x="487326" y="65164"/>
                    <a:pt x="487183" y="63479"/>
                  </a:cubicBezTo>
                  <a:cubicBezTo>
                    <a:pt x="487005" y="61563"/>
                    <a:pt x="486871" y="59266"/>
                    <a:pt x="486782" y="56589"/>
                  </a:cubicBezTo>
                  <a:cubicBezTo>
                    <a:pt x="486692" y="53912"/>
                    <a:pt x="486648" y="50701"/>
                    <a:pt x="486648" y="46958"/>
                  </a:cubicBezTo>
                  <a:cubicBezTo>
                    <a:pt x="486648" y="43213"/>
                    <a:pt x="486692" y="40003"/>
                    <a:pt x="486782" y="37327"/>
                  </a:cubicBezTo>
                  <a:cubicBezTo>
                    <a:pt x="486871" y="34652"/>
                    <a:pt x="487005" y="32356"/>
                    <a:pt x="487183" y="30440"/>
                  </a:cubicBezTo>
                  <a:cubicBezTo>
                    <a:pt x="487326" y="28755"/>
                    <a:pt x="487572" y="27081"/>
                    <a:pt x="487917" y="25426"/>
                  </a:cubicBezTo>
                  <a:cubicBezTo>
                    <a:pt x="488220" y="24019"/>
                    <a:pt x="488601" y="22630"/>
                    <a:pt x="489053" y="21264"/>
                  </a:cubicBezTo>
                  <a:cubicBezTo>
                    <a:pt x="490946" y="14815"/>
                    <a:pt x="494980" y="9204"/>
                    <a:pt x="500494" y="5358"/>
                  </a:cubicBezTo>
                  <a:cubicBezTo>
                    <a:pt x="512535" y="-1776"/>
                    <a:pt x="527511" y="-1776"/>
                    <a:pt x="539552" y="5358"/>
                  </a:cubicBezTo>
                  <a:cubicBezTo>
                    <a:pt x="545066" y="9207"/>
                    <a:pt x="549100" y="14823"/>
                    <a:pt x="550990" y="21276"/>
                  </a:cubicBezTo>
                  <a:cubicBezTo>
                    <a:pt x="551442" y="22642"/>
                    <a:pt x="551822" y="24031"/>
                    <a:pt x="552126" y="25437"/>
                  </a:cubicBezTo>
                  <a:cubicBezTo>
                    <a:pt x="552473" y="27093"/>
                    <a:pt x="552717" y="28769"/>
                    <a:pt x="552863" y="30455"/>
                  </a:cubicBezTo>
                  <a:cubicBezTo>
                    <a:pt x="553041" y="32373"/>
                    <a:pt x="553175" y="34669"/>
                    <a:pt x="553264" y="37342"/>
                  </a:cubicBezTo>
                  <a:cubicBezTo>
                    <a:pt x="553353" y="40015"/>
                    <a:pt x="553398" y="43226"/>
                    <a:pt x="553398" y="46973"/>
                  </a:cubicBezTo>
                  <a:cubicBezTo>
                    <a:pt x="553398" y="50718"/>
                    <a:pt x="553353" y="53929"/>
                    <a:pt x="553264" y="56604"/>
                  </a:cubicBezTo>
                  <a:cubicBezTo>
                    <a:pt x="553175" y="59279"/>
                    <a:pt x="553041" y="61576"/>
                    <a:pt x="552863" y="63494"/>
                  </a:cubicBezTo>
                  <a:cubicBezTo>
                    <a:pt x="552717" y="65180"/>
                    <a:pt x="552473" y="66855"/>
                    <a:pt x="552126" y="68512"/>
                  </a:cubicBezTo>
                  <a:cubicBezTo>
                    <a:pt x="551822" y="69918"/>
                    <a:pt x="551442" y="71307"/>
                    <a:pt x="550990" y="72673"/>
                  </a:cubicBezTo>
                  <a:cubicBezTo>
                    <a:pt x="549100" y="79126"/>
                    <a:pt x="545066" y="84742"/>
                    <a:pt x="539552" y="88591"/>
                  </a:cubicBezTo>
                  <a:cubicBezTo>
                    <a:pt x="533708" y="92304"/>
                    <a:pt x="526874" y="94163"/>
                    <a:pt x="519955" y="93923"/>
                  </a:cubicBezTo>
                  <a:close/>
                  <a:moveTo>
                    <a:pt x="519955" y="82821"/>
                  </a:moveTo>
                  <a:cubicBezTo>
                    <a:pt x="524366" y="83016"/>
                    <a:pt x="528723" y="81797"/>
                    <a:pt x="532394" y="79343"/>
                  </a:cubicBezTo>
                  <a:cubicBezTo>
                    <a:pt x="535735" y="76839"/>
                    <a:pt x="538176" y="73319"/>
                    <a:pt x="539350" y="69311"/>
                  </a:cubicBezTo>
                  <a:cubicBezTo>
                    <a:pt x="539662" y="68325"/>
                    <a:pt x="539909" y="67319"/>
                    <a:pt x="540087" y="66300"/>
                  </a:cubicBezTo>
                  <a:cubicBezTo>
                    <a:pt x="540310" y="65095"/>
                    <a:pt x="540533" y="63602"/>
                    <a:pt x="540756" y="61821"/>
                  </a:cubicBezTo>
                  <a:cubicBezTo>
                    <a:pt x="540979" y="60039"/>
                    <a:pt x="541136" y="57944"/>
                    <a:pt x="541226" y="55534"/>
                  </a:cubicBezTo>
                  <a:cubicBezTo>
                    <a:pt x="541315" y="53126"/>
                    <a:pt x="541359" y="50273"/>
                    <a:pt x="541359" y="46973"/>
                  </a:cubicBezTo>
                  <a:cubicBezTo>
                    <a:pt x="541359" y="43674"/>
                    <a:pt x="541315" y="40820"/>
                    <a:pt x="541226" y="38412"/>
                  </a:cubicBezTo>
                  <a:cubicBezTo>
                    <a:pt x="541136" y="36005"/>
                    <a:pt x="540979" y="33909"/>
                    <a:pt x="540756" y="32126"/>
                  </a:cubicBezTo>
                  <a:cubicBezTo>
                    <a:pt x="540533" y="30342"/>
                    <a:pt x="540310" y="28849"/>
                    <a:pt x="540087" y="27646"/>
                  </a:cubicBezTo>
                  <a:cubicBezTo>
                    <a:pt x="539909" y="26627"/>
                    <a:pt x="539662" y="25621"/>
                    <a:pt x="539350" y="24635"/>
                  </a:cubicBezTo>
                  <a:cubicBezTo>
                    <a:pt x="538176" y="20627"/>
                    <a:pt x="535735" y="17107"/>
                    <a:pt x="532394" y="14603"/>
                  </a:cubicBezTo>
                  <a:cubicBezTo>
                    <a:pt x="528723" y="12149"/>
                    <a:pt x="524366" y="10931"/>
                    <a:pt x="519955" y="11125"/>
                  </a:cubicBezTo>
                  <a:cubicBezTo>
                    <a:pt x="515564" y="10923"/>
                    <a:pt x="511224" y="12143"/>
                    <a:pt x="507580" y="14603"/>
                  </a:cubicBezTo>
                  <a:cubicBezTo>
                    <a:pt x="504272" y="17126"/>
                    <a:pt x="501858" y="20641"/>
                    <a:pt x="500693" y="24635"/>
                  </a:cubicBezTo>
                  <a:cubicBezTo>
                    <a:pt x="500381" y="25621"/>
                    <a:pt x="500134" y="26627"/>
                    <a:pt x="499959" y="27646"/>
                  </a:cubicBezTo>
                  <a:cubicBezTo>
                    <a:pt x="499736" y="28849"/>
                    <a:pt x="499513" y="30342"/>
                    <a:pt x="499290" y="32126"/>
                  </a:cubicBezTo>
                  <a:cubicBezTo>
                    <a:pt x="499067" y="33909"/>
                    <a:pt x="498909" y="36005"/>
                    <a:pt x="498820" y="38412"/>
                  </a:cubicBezTo>
                  <a:cubicBezTo>
                    <a:pt x="498731" y="40820"/>
                    <a:pt x="498686" y="43674"/>
                    <a:pt x="498686" y="46973"/>
                  </a:cubicBezTo>
                  <a:cubicBezTo>
                    <a:pt x="498686" y="50273"/>
                    <a:pt x="498731" y="53126"/>
                    <a:pt x="498820" y="55534"/>
                  </a:cubicBezTo>
                  <a:cubicBezTo>
                    <a:pt x="498909" y="57941"/>
                    <a:pt x="499067" y="60037"/>
                    <a:pt x="499290" y="61821"/>
                  </a:cubicBezTo>
                  <a:cubicBezTo>
                    <a:pt x="499513" y="63604"/>
                    <a:pt x="499736" y="65097"/>
                    <a:pt x="499959" y="66300"/>
                  </a:cubicBezTo>
                  <a:cubicBezTo>
                    <a:pt x="500134" y="67319"/>
                    <a:pt x="500381" y="68325"/>
                    <a:pt x="500693" y="69311"/>
                  </a:cubicBezTo>
                  <a:cubicBezTo>
                    <a:pt x="501858" y="73305"/>
                    <a:pt x="504272" y="76821"/>
                    <a:pt x="507580" y="79343"/>
                  </a:cubicBezTo>
                  <a:cubicBezTo>
                    <a:pt x="511224" y="81803"/>
                    <a:pt x="515564" y="83023"/>
                    <a:pt x="519955" y="82821"/>
                  </a:cubicBezTo>
                  <a:close/>
                  <a:moveTo>
                    <a:pt x="625359" y="92452"/>
                  </a:moveTo>
                  <a:cubicBezTo>
                    <a:pt x="624544" y="92446"/>
                    <a:pt x="623834" y="91899"/>
                    <a:pt x="623620" y="91114"/>
                  </a:cubicBezTo>
                  <a:lnTo>
                    <a:pt x="605428" y="53929"/>
                  </a:lnTo>
                  <a:lnTo>
                    <a:pt x="585364" y="53929"/>
                  </a:lnTo>
                  <a:cubicBezTo>
                    <a:pt x="584974" y="53874"/>
                    <a:pt x="584615" y="54144"/>
                    <a:pt x="584561" y="54533"/>
                  </a:cubicBezTo>
                  <a:cubicBezTo>
                    <a:pt x="584552" y="54599"/>
                    <a:pt x="584552" y="54666"/>
                    <a:pt x="584561" y="54731"/>
                  </a:cubicBezTo>
                  <a:lnTo>
                    <a:pt x="584561" y="91114"/>
                  </a:lnTo>
                  <a:cubicBezTo>
                    <a:pt x="584651" y="91765"/>
                    <a:pt x="584193" y="92364"/>
                    <a:pt x="583542" y="92452"/>
                  </a:cubicBezTo>
                  <a:cubicBezTo>
                    <a:pt x="583438" y="92466"/>
                    <a:pt x="583331" y="92466"/>
                    <a:pt x="583224" y="92452"/>
                  </a:cubicBezTo>
                  <a:lnTo>
                    <a:pt x="573994" y="92452"/>
                  </a:lnTo>
                  <a:cubicBezTo>
                    <a:pt x="573343" y="92540"/>
                    <a:pt x="572746" y="92084"/>
                    <a:pt x="572657" y="91433"/>
                  </a:cubicBezTo>
                  <a:cubicBezTo>
                    <a:pt x="572642" y="91327"/>
                    <a:pt x="572642" y="91220"/>
                    <a:pt x="572657" y="91114"/>
                  </a:cubicBezTo>
                  <a:lnTo>
                    <a:pt x="572657" y="2832"/>
                  </a:lnTo>
                  <a:cubicBezTo>
                    <a:pt x="572567" y="2181"/>
                    <a:pt x="573025" y="1582"/>
                    <a:pt x="573676" y="1494"/>
                  </a:cubicBezTo>
                  <a:cubicBezTo>
                    <a:pt x="573780" y="1480"/>
                    <a:pt x="573887" y="1480"/>
                    <a:pt x="573994" y="1494"/>
                  </a:cubicBezTo>
                  <a:lnTo>
                    <a:pt x="606900" y="1494"/>
                  </a:lnTo>
                  <a:cubicBezTo>
                    <a:pt x="610859" y="1441"/>
                    <a:pt x="614794" y="2075"/>
                    <a:pt x="618537" y="3367"/>
                  </a:cubicBezTo>
                  <a:cubicBezTo>
                    <a:pt x="621845" y="4516"/>
                    <a:pt x="624892" y="6312"/>
                    <a:pt x="627499" y="8652"/>
                  </a:cubicBezTo>
                  <a:cubicBezTo>
                    <a:pt x="630019" y="10959"/>
                    <a:pt x="632005" y="13790"/>
                    <a:pt x="633319" y="16945"/>
                  </a:cubicBezTo>
                  <a:cubicBezTo>
                    <a:pt x="634734" y="20356"/>
                    <a:pt x="635441" y="24019"/>
                    <a:pt x="635400" y="27711"/>
                  </a:cubicBezTo>
                  <a:cubicBezTo>
                    <a:pt x="635572" y="33317"/>
                    <a:pt x="633878" y="38822"/>
                    <a:pt x="630584" y="43361"/>
                  </a:cubicBezTo>
                  <a:cubicBezTo>
                    <a:pt x="627288" y="47703"/>
                    <a:pt x="622698" y="50888"/>
                    <a:pt x="617476" y="52457"/>
                  </a:cubicBezTo>
                  <a:lnTo>
                    <a:pt x="636871" y="90847"/>
                  </a:lnTo>
                  <a:cubicBezTo>
                    <a:pt x="637127" y="91170"/>
                    <a:pt x="637177" y="91609"/>
                    <a:pt x="637005" y="91982"/>
                  </a:cubicBezTo>
                  <a:cubicBezTo>
                    <a:pt x="636809" y="92305"/>
                    <a:pt x="636446" y="92488"/>
                    <a:pt x="636068" y="92452"/>
                  </a:cubicBezTo>
                  <a:close/>
                  <a:moveTo>
                    <a:pt x="606632" y="42826"/>
                  </a:moveTo>
                  <a:cubicBezTo>
                    <a:pt x="611126" y="43111"/>
                    <a:pt x="615564" y="41704"/>
                    <a:pt x="619072" y="38882"/>
                  </a:cubicBezTo>
                  <a:cubicBezTo>
                    <a:pt x="622122" y="35995"/>
                    <a:pt x="623739" y="31904"/>
                    <a:pt x="623486" y="27711"/>
                  </a:cubicBezTo>
                  <a:cubicBezTo>
                    <a:pt x="623739" y="23519"/>
                    <a:pt x="622122" y="19431"/>
                    <a:pt x="619072" y="16544"/>
                  </a:cubicBezTo>
                  <a:cubicBezTo>
                    <a:pt x="615564" y="13722"/>
                    <a:pt x="611126" y="12315"/>
                    <a:pt x="606632" y="12599"/>
                  </a:cubicBezTo>
                  <a:lnTo>
                    <a:pt x="585364" y="12599"/>
                  </a:lnTo>
                  <a:cubicBezTo>
                    <a:pt x="584974" y="12545"/>
                    <a:pt x="584615" y="12815"/>
                    <a:pt x="584561" y="13204"/>
                  </a:cubicBezTo>
                  <a:cubicBezTo>
                    <a:pt x="584552" y="13269"/>
                    <a:pt x="584552" y="13336"/>
                    <a:pt x="584561" y="13402"/>
                  </a:cubicBezTo>
                  <a:lnTo>
                    <a:pt x="584561" y="42027"/>
                  </a:lnTo>
                  <a:cubicBezTo>
                    <a:pt x="584508" y="42415"/>
                    <a:pt x="584778" y="42775"/>
                    <a:pt x="585165" y="42829"/>
                  </a:cubicBezTo>
                  <a:cubicBezTo>
                    <a:pt x="585230" y="42839"/>
                    <a:pt x="585299" y="42839"/>
                    <a:pt x="585364" y="42829"/>
                  </a:cubicBezTo>
                  <a:close/>
                  <a:moveTo>
                    <a:pt x="674717" y="92452"/>
                  </a:moveTo>
                  <a:cubicBezTo>
                    <a:pt x="674066" y="92540"/>
                    <a:pt x="673468" y="92084"/>
                    <a:pt x="673379" y="91433"/>
                  </a:cubicBezTo>
                  <a:cubicBezTo>
                    <a:pt x="673364" y="91327"/>
                    <a:pt x="673364" y="91220"/>
                    <a:pt x="673379" y="91114"/>
                  </a:cubicBezTo>
                  <a:lnTo>
                    <a:pt x="673379" y="13384"/>
                  </a:lnTo>
                  <a:cubicBezTo>
                    <a:pt x="673432" y="12996"/>
                    <a:pt x="673162" y="12636"/>
                    <a:pt x="672776" y="12581"/>
                  </a:cubicBezTo>
                  <a:cubicBezTo>
                    <a:pt x="672710" y="12572"/>
                    <a:pt x="672642" y="12572"/>
                    <a:pt x="672576" y="12581"/>
                  </a:cubicBezTo>
                  <a:lnTo>
                    <a:pt x="647697" y="12581"/>
                  </a:lnTo>
                  <a:cubicBezTo>
                    <a:pt x="647046" y="12670"/>
                    <a:pt x="646448" y="12213"/>
                    <a:pt x="646359" y="11563"/>
                  </a:cubicBezTo>
                  <a:cubicBezTo>
                    <a:pt x="646344" y="11457"/>
                    <a:pt x="646344" y="11350"/>
                    <a:pt x="646359" y="11244"/>
                  </a:cubicBezTo>
                  <a:lnTo>
                    <a:pt x="646359" y="2832"/>
                  </a:lnTo>
                  <a:cubicBezTo>
                    <a:pt x="646270" y="2181"/>
                    <a:pt x="646728" y="1582"/>
                    <a:pt x="647379" y="1494"/>
                  </a:cubicBezTo>
                  <a:cubicBezTo>
                    <a:pt x="647483" y="1480"/>
                    <a:pt x="647590" y="1480"/>
                    <a:pt x="647697" y="1494"/>
                  </a:cubicBezTo>
                  <a:lnTo>
                    <a:pt x="710966" y="1494"/>
                  </a:lnTo>
                  <a:cubicBezTo>
                    <a:pt x="711617" y="1406"/>
                    <a:pt x="712214" y="1862"/>
                    <a:pt x="712304" y="2513"/>
                  </a:cubicBezTo>
                  <a:cubicBezTo>
                    <a:pt x="712318" y="2619"/>
                    <a:pt x="712318" y="2726"/>
                    <a:pt x="712304" y="2832"/>
                  </a:cubicBezTo>
                  <a:lnTo>
                    <a:pt x="712304" y="11259"/>
                  </a:lnTo>
                  <a:cubicBezTo>
                    <a:pt x="712393" y="11909"/>
                    <a:pt x="711935" y="12508"/>
                    <a:pt x="711284" y="12596"/>
                  </a:cubicBezTo>
                  <a:cubicBezTo>
                    <a:pt x="711180" y="12611"/>
                    <a:pt x="711073" y="12611"/>
                    <a:pt x="710966" y="12596"/>
                  </a:cubicBezTo>
                  <a:lnTo>
                    <a:pt x="686086" y="12596"/>
                  </a:lnTo>
                  <a:cubicBezTo>
                    <a:pt x="685697" y="12542"/>
                    <a:pt x="685337" y="12812"/>
                    <a:pt x="685284" y="13201"/>
                  </a:cubicBezTo>
                  <a:cubicBezTo>
                    <a:pt x="685275" y="13266"/>
                    <a:pt x="685275" y="13333"/>
                    <a:pt x="685284" y="13399"/>
                  </a:cubicBezTo>
                  <a:lnTo>
                    <a:pt x="685284" y="91114"/>
                  </a:lnTo>
                  <a:cubicBezTo>
                    <a:pt x="685373" y="91765"/>
                    <a:pt x="684915" y="92364"/>
                    <a:pt x="684264" y="92452"/>
                  </a:cubicBezTo>
                  <a:cubicBezTo>
                    <a:pt x="684160" y="92466"/>
                    <a:pt x="684053" y="92466"/>
                    <a:pt x="683946" y="92452"/>
                  </a:cubicBezTo>
                  <a:close/>
                  <a:moveTo>
                    <a:pt x="740393" y="2832"/>
                  </a:moveTo>
                  <a:cubicBezTo>
                    <a:pt x="740524" y="2051"/>
                    <a:pt x="741208" y="1483"/>
                    <a:pt x="741999" y="1494"/>
                  </a:cubicBezTo>
                  <a:lnTo>
                    <a:pt x="750693" y="1494"/>
                  </a:lnTo>
                  <a:cubicBezTo>
                    <a:pt x="751525" y="1448"/>
                    <a:pt x="752263" y="2017"/>
                    <a:pt x="752432" y="2832"/>
                  </a:cubicBezTo>
                  <a:lnTo>
                    <a:pt x="783598" y="91114"/>
                  </a:lnTo>
                  <a:cubicBezTo>
                    <a:pt x="783866" y="92006"/>
                    <a:pt x="783554" y="92452"/>
                    <a:pt x="782662" y="92452"/>
                  </a:cubicBezTo>
                  <a:lnTo>
                    <a:pt x="773299" y="92452"/>
                  </a:lnTo>
                  <a:cubicBezTo>
                    <a:pt x="772467" y="92499"/>
                    <a:pt x="771729" y="91929"/>
                    <a:pt x="771560" y="91114"/>
                  </a:cubicBezTo>
                  <a:lnTo>
                    <a:pt x="764604" y="71318"/>
                  </a:lnTo>
                  <a:lnTo>
                    <a:pt x="727820" y="71318"/>
                  </a:lnTo>
                  <a:lnTo>
                    <a:pt x="720864" y="91114"/>
                  </a:lnTo>
                  <a:cubicBezTo>
                    <a:pt x="720650" y="91899"/>
                    <a:pt x="719940" y="92446"/>
                    <a:pt x="719125" y="92452"/>
                  </a:cubicBezTo>
                  <a:lnTo>
                    <a:pt x="709762" y="92452"/>
                  </a:lnTo>
                  <a:cubicBezTo>
                    <a:pt x="708870" y="92452"/>
                    <a:pt x="708558" y="92006"/>
                    <a:pt x="708826" y="91114"/>
                  </a:cubicBezTo>
                  <a:close/>
                  <a:moveTo>
                    <a:pt x="760725" y="60349"/>
                  </a:moveTo>
                  <a:lnTo>
                    <a:pt x="746413" y="19017"/>
                  </a:lnTo>
                  <a:lnTo>
                    <a:pt x="746145" y="19017"/>
                  </a:lnTo>
                  <a:lnTo>
                    <a:pt x="731699" y="60349"/>
                  </a:lnTo>
                  <a:close/>
                  <a:moveTo>
                    <a:pt x="808478" y="92452"/>
                  </a:moveTo>
                  <a:cubicBezTo>
                    <a:pt x="807827" y="92540"/>
                    <a:pt x="807230" y="92084"/>
                    <a:pt x="807140" y="91433"/>
                  </a:cubicBezTo>
                  <a:cubicBezTo>
                    <a:pt x="807126" y="91327"/>
                    <a:pt x="807126" y="91220"/>
                    <a:pt x="807140" y="91114"/>
                  </a:cubicBezTo>
                  <a:lnTo>
                    <a:pt x="807140" y="13384"/>
                  </a:lnTo>
                  <a:cubicBezTo>
                    <a:pt x="807194" y="12996"/>
                    <a:pt x="806923" y="12636"/>
                    <a:pt x="806537" y="12581"/>
                  </a:cubicBezTo>
                  <a:cubicBezTo>
                    <a:pt x="806472" y="12572"/>
                    <a:pt x="806403" y="12572"/>
                    <a:pt x="806338" y="12581"/>
                  </a:cubicBezTo>
                  <a:lnTo>
                    <a:pt x="781458" y="12581"/>
                  </a:lnTo>
                  <a:cubicBezTo>
                    <a:pt x="780807" y="12670"/>
                    <a:pt x="780210" y="12213"/>
                    <a:pt x="780121" y="11563"/>
                  </a:cubicBezTo>
                  <a:cubicBezTo>
                    <a:pt x="780106" y="11457"/>
                    <a:pt x="780106" y="11350"/>
                    <a:pt x="780121" y="11244"/>
                  </a:cubicBezTo>
                  <a:lnTo>
                    <a:pt x="780121" y="2832"/>
                  </a:lnTo>
                  <a:cubicBezTo>
                    <a:pt x="780031" y="2181"/>
                    <a:pt x="780489" y="1582"/>
                    <a:pt x="781140" y="1494"/>
                  </a:cubicBezTo>
                  <a:cubicBezTo>
                    <a:pt x="781244" y="1480"/>
                    <a:pt x="781351" y="1480"/>
                    <a:pt x="781458" y="1494"/>
                  </a:cubicBezTo>
                  <a:lnTo>
                    <a:pt x="844727" y="1494"/>
                  </a:lnTo>
                  <a:cubicBezTo>
                    <a:pt x="845378" y="1406"/>
                    <a:pt x="845976" y="1862"/>
                    <a:pt x="846065" y="2513"/>
                  </a:cubicBezTo>
                  <a:cubicBezTo>
                    <a:pt x="846080" y="2619"/>
                    <a:pt x="846080" y="2726"/>
                    <a:pt x="846065" y="2832"/>
                  </a:cubicBezTo>
                  <a:lnTo>
                    <a:pt x="846065" y="11259"/>
                  </a:lnTo>
                  <a:cubicBezTo>
                    <a:pt x="846154" y="11909"/>
                    <a:pt x="845696" y="12508"/>
                    <a:pt x="845046" y="12596"/>
                  </a:cubicBezTo>
                  <a:cubicBezTo>
                    <a:pt x="844941" y="12611"/>
                    <a:pt x="844834" y="12611"/>
                    <a:pt x="844727" y="12596"/>
                  </a:cubicBezTo>
                  <a:lnTo>
                    <a:pt x="819848" y="12596"/>
                  </a:lnTo>
                  <a:cubicBezTo>
                    <a:pt x="819458" y="12542"/>
                    <a:pt x="819099" y="12812"/>
                    <a:pt x="819045" y="13201"/>
                  </a:cubicBezTo>
                  <a:cubicBezTo>
                    <a:pt x="819036" y="13266"/>
                    <a:pt x="819036" y="13333"/>
                    <a:pt x="819045" y="13399"/>
                  </a:cubicBezTo>
                  <a:lnTo>
                    <a:pt x="819045" y="91114"/>
                  </a:lnTo>
                  <a:cubicBezTo>
                    <a:pt x="819134" y="91765"/>
                    <a:pt x="818677" y="92364"/>
                    <a:pt x="818026" y="92452"/>
                  </a:cubicBezTo>
                  <a:cubicBezTo>
                    <a:pt x="817922" y="92466"/>
                    <a:pt x="817815" y="92466"/>
                    <a:pt x="817708" y="92452"/>
                  </a:cubicBezTo>
                  <a:close/>
                  <a:moveTo>
                    <a:pt x="860259" y="2832"/>
                  </a:moveTo>
                  <a:cubicBezTo>
                    <a:pt x="860169" y="2181"/>
                    <a:pt x="860627" y="1582"/>
                    <a:pt x="861278" y="1494"/>
                  </a:cubicBezTo>
                  <a:cubicBezTo>
                    <a:pt x="861382" y="1480"/>
                    <a:pt x="861489" y="1480"/>
                    <a:pt x="861596" y="1494"/>
                  </a:cubicBezTo>
                  <a:lnTo>
                    <a:pt x="870811" y="1494"/>
                  </a:lnTo>
                  <a:cubicBezTo>
                    <a:pt x="871462" y="1406"/>
                    <a:pt x="872059" y="1862"/>
                    <a:pt x="872149" y="2513"/>
                  </a:cubicBezTo>
                  <a:cubicBezTo>
                    <a:pt x="872163" y="2619"/>
                    <a:pt x="872163" y="2726"/>
                    <a:pt x="872149" y="2832"/>
                  </a:cubicBezTo>
                  <a:lnTo>
                    <a:pt x="872149" y="91114"/>
                  </a:lnTo>
                  <a:cubicBezTo>
                    <a:pt x="872238" y="91765"/>
                    <a:pt x="871780" y="92364"/>
                    <a:pt x="871129" y="92452"/>
                  </a:cubicBezTo>
                  <a:cubicBezTo>
                    <a:pt x="871025" y="92466"/>
                    <a:pt x="870918" y="92466"/>
                    <a:pt x="870811" y="92452"/>
                  </a:cubicBezTo>
                  <a:lnTo>
                    <a:pt x="861596" y="92452"/>
                  </a:lnTo>
                  <a:cubicBezTo>
                    <a:pt x="860945" y="92540"/>
                    <a:pt x="860348" y="92084"/>
                    <a:pt x="860259" y="91433"/>
                  </a:cubicBezTo>
                  <a:cubicBezTo>
                    <a:pt x="860244" y="91327"/>
                    <a:pt x="860244" y="91220"/>
                    <a:pt x="860259" y="91114"/>
                  </a:cubicBezTo>
                  <a:close/>
                  <a:moveTo>
                    <a:pt x="924732" y="93923"/>
                  </a:moveTo>
                  <a:cubicBezTo>
                    <a:pt x="917853" y="94145"/>
                    <a:pt x="911070" y="92280"/>
                    <a:pt x="905271" y="88573"/>
                  </a:cubicBezTo>
                  <a:cubicBezTo>
                    <a:pt x="899757" y="84724"/>
                    <a:pt x="895723" y="79109"/>
                    <a:pt x="893833" y="72655"/>
                  </a:cubicBezTo>
                  <a:cubicBezTo>
                    <a:pt x="893381" y="71289"/>
                    <a:pt x="893000" y="69900"/>
                    <a:pt x="892694" y="68494"/>
                  </a:cubicBezTo>
                  <a:cubicBezTo>
                    <a:pt x="892350" y="66839"/>
                    <a:pt x="892103" y="65164"/>
                    <a:pt x="891960" y="63479"/>
                  </a:cubicBezTo>
                  <a:cubicBezTo>
                    <a:pt x="891782" y="61563"/>
                    <a:pt x="891648" y="59266"/>
                    <a:pt x="891559" y="56589"/>
                  </a:cubicBezTo>
                  <a:cubicBezTo>
                    <a:pt x="891470" y="53912"/>
                    <a:pt x="891425" y="50701"/>
                    <a:pt x="891425" y="46958"/>
                  </a:cubicBezTo>
                  <a:cubicBezTo>
                    <a:pt x="891425" y="43213"/>
                    <a:pt x="891470" y="40003"/>
                    <a:pt x="891559" y="37327"/>
                  </a:cubicBezTo>
                  <a:cubicBezTo>
                    <a:pt x="891648" y="34652"/>
                    <a:pt x="891782" y="32356"/>
                    <a:pt x="891960" y="30440"/>
                  </a:cubicBezTo>
                  <a:cubicBezTo>
                    <a:pt x="892103" y="28755"/>
                    <a:pt x="892350" y="27081"/>
                    <a:pt x="892694" y="25426"/>
                  </a:cubicBezTo>
                  <a:cubicBezTo>
                    <a:pt x="893000" y="24019"/>
                    <a:pt x="893381" y="22630"/>
                    <a:pt x="893833" y="21264"/>
                  </a:cubicBezTo>
                  <a:cubicBezTo>
                    <a:pt x="895720" y="14817"/>
                    <a:pt x="899751" y="9207"/>
                    <a:pt x="905256" y="5358"/>
                  </a:cubicBezTo>
                  <a:cubicBezTo>
                    <a:pt x="917298" y="-1776"/>
                    <a:pt x="932273" y="-1776"/>
                    <a:pt x="944314" y="5358"/>
                  </a:cubicBezTo>
                  <a:cubicBezTo>
                    <a:pt x="949828" y="9207"/>
                    <a:pt x="953862" y="14823"/>
                    <a:pt x="955752" y="21276"/>
                  </a:cubicBezTo>
                  <a:cubicBezTo>
                    <a:pt x="956204" y="22642"/>
                    <a:pt x="956585" y="24031"/>
                    <a:pt x="956891" y="25437"/>
                  </a:cubicBezTo>
                  <a:cubicBezTo>
                    <a:pt x="957236" y="27094"/>
                    <a:pt x="957482" y="28769"/>
                    <a:pt x="957625" y="30455"/>
                  </a:cubicBezTo>
                  <a:cubicBezTo>
                    <a:pt x="957803" y="32373"/>
                    <a:pt x="957937" y="34669"/>
                    <a:pt x="958026" y="37342"/>
                  </a:cubicBezTo>
                  <a:cubicBezTo>
                    <a:pt x="958116" y="40015"/>
                    <a:pt x="958160" y="43226"/>
                    <a:pt x="958160" y="46973"/>
                  </a:cubicBezTo>
                  <a:cubicBezTo>
                    <a:pt x="958160" y="50718"/>
                    <a:pt x="958116" y="53929"/>
                    <a:pt x="958026" y="56604"/>
                  </a:cubicBezTo>
                  <a:cubicBezTo>
                    <a:pt x="957937" y="59279"/>
                    <a:pt x="957803" y="61576"/>
                    <a:pt x="957625" y="63494"/>
                  </a:cubicBezTo>
                  <a:cubicBezTo>
                    <a:pt x="957482" y="65180"/>
                    <a:pt x="957236" y="66855"/>
                    <a:pt x="956891" y="68512"/>
                  </a:cubicBezTo>
                  <a:cubicBezTo>
                    <a:pt x="956585" y="69918"/>
                    <a:pt x="956204" y="71307"/>
                    <a:pt x="955752" y="72673"/>
                  </a:cubicBezTo>
                  <a:cubicBezTo>
                    <a:pt x="953862" y="79126"/>
                    <a:pt x="949828" y="84742"/>
                    <a:pt x="944314" y="88591"/>
                  </a:cubicBezTo>
                  <a:cubicBezTo>
                    <a:pt x="938470" y="92304"/>
                    <a:pt x="931637" y="94163"/>
                    <a:pt x="924717" y="93923"/>
                  </a:cubicBezTo>
                  <a:close/>
                  <a:moveTo>
                    <a:pt x="924732" y="82821"/>
                  </a:moveTo>
                  <a:cubicBezTo>
                    <a:pt x="929143" y="83016"/>
                    <a:pt x="933500" y="81797"/>
                    <a:pt x="937171" y="79343"/>
                  </a:cubicBezTo>
                  <a:cubicBezTo>
                    <a:pt x="940513" y="76839"/>
                    <a:pt x="942953" y="73319"/>
                    <a:pt x="944127" y="69311"/>
                  </a:cubicBezTo>
                  <a:cubicBezTo>
                    <a:pt x="944439" y="68325"/>
                    <a:pt x="944686" y="67319"/>
                    <a:pt x="944861" y="66300"/>
                  </a:cubicBezTo>
                  <a:cubicBezTo>
                    <a:pt x="945084" y="65095"/>
                    <a:pt x="945307" y="63602"/>
                    <a:pt x="945530" y="61821"/>
                  </a:cubicBezTo>
                  <a:cubicBezTo>
                    <a:pt x="945753" y="60039"/>
                    <a:pt x="945908" y="57944"/>
                    <a:pt x="946000" y="55534"/>
                  </a:cubicBezTo>
                  <a:cubicBezTo>
                    <a:pt x="946089" y="53126"/>
                    <a:pt x="946134" y="50273"/>
                    <a:pt x="946134" y="46973"/>
                  </a:cubicBezTo>
                  <a:cubicBezTo>
                    <a:pt x="946134" y="43674"/>
                    <a:pt x="946089" y="40820"/>
                    <a:pt x="946000" y="38412"/>
                  </a:cubicBezTo>
                  <a:cubicBezTo>
                    <a:pt x="945911" y="36005"/>
                    <a:pt x="945753" y="33909"/>
                    <a:pt x="945530" y="32126"/>
                  </a:cubicBezTo>
                  <a:cubicBezTo>
                    <a:pt x="945307" y="30342"/>
                    <a:pt x="945084" y="28849"/>
                    <a:pt x="944861" y="27646"/>
                  </a:cubicBezTo>
                  <a:cubicBezTo>
                    <a:pt x="944686" y="26627"/>
                    <a:pt x="944439" y="25621"/>
                    <a:pt x="944127" y="24635"/>
                  </a:cubicBezTo>
                  <a:cubicBezTo>
                    <a:pt x="942953" y="20627"/>
                    <a:pt x="940513" y="17107"/>
                    <a:pt x="937171" y="14603"/>
                  </a:cubicBezTo>
                  <a:cubicBezTo>
                    <a:pt x="933500" y="12149"/>
                    <a:pt x="929143" y="10931"/>
                    <a:pt x="924732" y="11125"/>
                  </a:cubicBezTo>
                  <a:cubicBezTo>
                    <a:pt x="920341" y="10923"/>
                    <a:pt x="916002" y="12143"/>
                    <a:pt x="912357" y="14603"/>
                  </a:cubicBezTo>
                  <a:cubicBezTo>
                    <a:pt x="909049" y="17125"/>
                    <a:pt x="906632" y="20641"/>
                    <a:pt x="905467" y="24635"/>
                  </a:cubicBezTo>
                  <a:cubicBezTo>
                    <a:pt x="905155" y="25621"/>
                    <a:pt x="904908" y="26627"/>
                    <a:pt x="904733" y="27646"/>
                  </a:cubicBezTo>
                  <a:cubicBezTo>
                    <a:pt x="904510" y="28849"/>
                    <a:pt x="904287" y="30342"/>
                    <a:pt x="904064" y="32126"/>
                  </a:cubicBezTo>
                  <a:cubicBezTo>
                    <a:pt x="903841" y="33909"/>
                    <a:pt x="903684" y="36005"/>
                    <a:pt x="903594" y="38412"/>
                  </a:cubicBezTo>
                  <a:cubicBezTo>
                    <a:pt x="903505" y="40820"/>
                    <a:pt x="903461" y="43674"/>
                    <a:pt x="903461" y="46973"/>
                  </a:cubicBezTo>
                  <a:cubicBezTo>
                    <a:pt x="903461" y="50273"/>
                    <a:pt x="903505" y="53126"/>
                    <a:pt x="903594" y="55534"/>
                  </a:cubicBezTo>
                  <a:cubicBezTo>
                    <a:pt x="903684" y="57941"/>
                    <a:pt x="903841" y="60037"/>
                    <a:pt x="904064" y="61821"/>
                  </a:cubicBezTo>
                  <a:cubicBezTo>
                    <a:pt x="904287" y="63604"/>
                    <a:pt x="904510" y="65097"/>
                    <a:pt x="904733" y="66300"/>
                  </a:cubicBezTo>
                  <a:cubicBezTo>
                    <a:pt x="904908" y="67319"/>
                    <a:pt x="905155" y="68325"/>
                    <a:pt x="905467" y="69311"/>
                  </a:cubicBezTo>
                  <a:cubicBezTo>
                    <a:pt x="906632" y="73305"/>
                    <a:pt x="909049" y="76821"/>
                    <a:pt x="912357" y="79343"/>
                  </a:cubicBezTo>
                  <a:cubicBezTo>
                    <a:pt x="915996" y="81800"/>
                    <a:pt x="920329" y="83020"/>
                    <a:pt x="924717" y="82821"/>
                  </a:cubicBezTo>
                  <a:close/>
                  <a:moveTo>
                    <a:pt x="977434" y="2832"/>
                  </a:moveTo>
                  <a:cubicBezTo>
                    <a:pt x="977345" y="2181"/>
                    <a:pt x="977802" y="1582"/>
                    <a:pt x="978453" y="1494"/>
                  </a:cubicBezTo>
                  <a:cubicBezTo>
                    <a:pt x="978557" y="1480"/>
                    <a:pt x="978664" y="1480"/>
                    <a:pt x="978771" y="1494"/>
                  </a:cubicBezTo>
                  <a:lnTo>
                    <a:pt x="987332" y="1494"/>
                  </a:lnTo>
                  <a:cubicBezTo>
                    <a:pt x="988292" y="1429"/>
                    <a:pt x="989196" y="1960"/>
                    <a:pt x="989606" y="2832"/>
                  </a:cubicBezTo>
                  <a:lnTo>
                    <a:pt x="1030790" y="71050"/>
                  </a:lnTo>
                  <a:lnTo>
                    <a:pt x="1031325" y="71050"/>
                  </a:lnTo>
                  <a:lnTo>
                    <a:pt x="1031325" y="2832"/>
                  </a:lnTo>
                  <a:cubicBezTo>
                    <a:pt x="1031236" y="2181"/>
                    <a:pt x="1031693" y="1582"/>
                    <a:pt x="1032344" y="1494"/>
                  </a:cubicBezTo>
                  <a:cubicBezTo>
                    <a:pt x="1032448" y="1480"/>
                    <a:pt x="1032555" y="1480"/>
                    <a:pt x="1032662" y="1494"/>
                  </a:cubicBezTo>
                  <a:lnTo>
                    <a:pt x="1041089" y="1494"/>
                  </a:lnTo>
                  <a:cubicBezTo>
                    <a:pt x="1041740" y="1406"/>
                    <a:pt x="1042338" y="1862"/>
                    <a:pt x="1042427" y="2513"/>
                  </a:cubicBezTo>
                  <a:cubicBezTo>
                    <a:pt x="1042442" y="2619"/>
                    <a:pt x="1042442" y="2726"/>
                    <a:pt x="1042427" y="2832"/>
                  </a:cubicBezTo>
                  <a:lnTo>
                    <a:pt x="1042427" y="91114"/>
                  </a:lnTo>
                  <a:cubicBezTo>
                    <a:pt x="1042516" y="91765"/>
                    <a:pt x="1042058" y="92364"/>
                    <a:pt x="1041407" y="92452"/>
                  </a:cubicBezTo>
                  <a:cubicBezTo>
                    <a:pt x="1041303" y="92466"/>
                    <a:pt x="1041196" y="92466"/>
                    <a:pt x="1041089" y="92452"/>
                  </a:cubicBezTo>
                  <a:lnTo>
                    <a:pt x="1032529" y="92452"/>
                  </a:lnTo>
                  <a:cubicBezTo>
                    <a:pt x="1031568" y="92517"/>
                    <a:pt x="1030665" y="91986"/>
                    <a:pt x="1030255" y="91114"/>
                  </a:cubicBezTo>
                  <a:lnTo>
                    <a:pt x="988937" y="23164"/>
                  </a:lnTo>
                  <a:lnTo>
                    <a:pt x="988536" y="23164"/>
                  </a:lnTo>
                  <a:lnTo>
                    <a:pt x="988536" y="91114"/>
                  </a:lnTo>
                  <a:cubicBezTo>
                    <a:pt x="988625" y="91765"/>
                    <a:pt x="988170" y="92365"/>
                    <a:pt x="987519" y="92454"/>
                  </a:cubicBezTo>
                  <a:cubicBezTo>
                    <a:pt x="987409" y="92469"/>
                    <a:pt x="987293" y="92469"/>
                    <a:pt x="987183" y="92452"/>
                  </a:cubicBezTo>
                  <a:lnTo>
                    <a:pt x="978756" y="92452"/>
                  </a:lnTo>
                  <a:cubicBezTo>
                    <a:pt x="978106" y="92540"/>
                    <a:pt x="977508" y="92084"/>
                    <a:pt x="977419" y="91433"/>
                  </a:cubicBezTo>
                  <a:cubicBezTo>
                    <a:pt x="977404" y="91327"/>
                    <a:pt x="977404" y="91220"/>
                    <a:pt x="977419" y="91114"/>
                  </a:cubicBezTo>
                  <a:close/>
                  <a:moveTo>
                    <a:pt x="1063041" y="79611"/>
                  </a:moveTo>
                  <a:cubicBezTo>
                    <a:pt x="1062952" y="78960"/>
                    <a:pt x="1063410" y="78361"/>
                    <a:pt x="1064061" y="78273"/>
                  </a:cubicBezTo>
                  <a:cubicBezTo>
                    <a:pt x="1064165" y="78259"/>
                    <a:pt x="1064272" y="78259"/>
                    <a:pt x="1064379" y="78273"/>
                  </a:cubicBezTo>
                  <a:lnTo>
                    <a:pt x="1074545" y="78273"/>
                  </a:lnTo>
                  <a:cubicBezTo>
                    <a:pt x="1075196" y="78185"/>
                    <a:pt x="1075793" y="78642"/>
                    <a:pt x="1075882" y="79292"/>
                  </a:cubicBezTo>
                  <a:cubicBezTo>
                    <a:pt x="1075897" y="79398"/>
                    <a:pt x="1075897" y="79505"/>
                    <a:pt x="1075882" y="79611"/>
                  </a:cubicBezTo>
                  <a:lnTo>
                    <a:pt x="1075882" y="91114"/>
                  </a:lnTo>
                  <a:cubicBezTo>
                    <a:pt x="1075971" y="91765"/>
                    <a:pt x="1075514" y="92364"/>
                    <a:pt x="1074863" y="92452"/>
                  </a:cubicBezTo>
                  <a:cubicBezTo>
                    <a:pt x="1074759" y="92466"/>
                    <a:pt x="1074652" y="92466"/>
                    <a:pt x="1074545" y="92452"/>
                  </a:cubicBezTo>
                  <a:lnTo>
                    <a:pt x="1064379" y="92452"/>
                  </a:lnTo>
                  <a:cubicBezTo>
                    <a:pt x="1063728" y="92540"/>
                    <a:pt x="1063130" y="92084"/>
                    <a:pt x="1063041" y="91433"/>
                  </a:cubicBezTo>
                  <a:cubicBezTo>
                    <a:pt x="1063026" y="91327"/>
                    <a:pt x="1063026" y="91220"/>
                    <a:pt x="1063041" y="91114"/>
                  </a:cubicBezTo>
                  <a:close/>
                </a:path>
              </a:pathLst>
            </a:custGeom>
            <a:solidFill>
              <a:schemeClr val="bg2"/>
            </a:solidFill>
            <a:ln w="2965" cap="flat">
              <a:noFill/>
              <a:prstDash val="solid"/>
              <a:miter/>
            </a:ln>
          </p:spPr>
          <p:txBody>
            <a:bodyPr rtlCol="0" anchor="ctr"/>
            <a:lstStyle/>
            <a:p>
              <a:endParaRPr lang="de-DE"/>
            </a:p>
          </p:txBody>
        </p:sp>
        <p:sp>
          <p:nvSpPr>
            <p:cNvPr id="40" name="Freeform: Shape 39">
              <a:extLst>
                <a:ext uri="{FF2B5EF4-FFF2-40B4-BE49-F238E27FC236}">
                  <a16:creationId xmlns:a16="http://schemas.microsoft.com/office/drawing/2014/main" id="{5BD0EBCD-6A93-451E-AECF-2A952B47A497}"/>
                </a:ext>
              </a:extLst>
            </p:cNvPr>
            <p:cNvSpPr/>
            <p:nvPr/>
          </p:nvSpPr>
          <p:spPr>
            <a:xfrm>
              <a:off x="10394360" y="2883159"/>
              <a:ext cx="1193687" cy="93972"/>
            </a:xfrm>
            <a:custGeom>
              <a:avLst/>
              <a:gdLst>
                <a:gd name="connsiteX0" fmla="*/ 31941 w 1193687"/>
                <a:gd name="connsiteY0" fmla="*/ 2904 h 93972"/>
                <a:gd name="connsiteX1" fmla="*/ 33546 w 1193687"/>
                <a:gd name="connsiteY1" fmla="*/ 1567 h 93972"/>
                <a:gd name="connsiteX2" fmla="*/ 42240 w 1193687"/>
                <a:gd name="connsiteY2" fmla="*/ 1567 h 93972"/>
                <a:gd name="connsiteX3" fmla="*/ 43979 w 1193687"/>
                <a:gd name="connsiteY3" fmla="*/ 2904 h 93972"/>
                <a:gd name="connsiteX4" fmla="*/ 75145 w 1193687"/>
                <a:gd name="connsiteY4" fmla="*/ 91187 h 93972"/>
                <a:gd name="connsiteX5" fmla="*/ 74209 w 1193687"/>
                <a:gd name="connsiteY5" fmla="*/ 92524 h 93972"/>
                <a:gd name="connsiteX6" fmla="*/ 64846 w 1193687"/>
                <a:gd name="connsiteY6" fmla="*/ 92524 h 93972"/>
                <a:gd name="connsiteX7" fmla="*/ 63107 w 1193687"/>
                <a:gd name="connsiteY7" fmla="*/ 91187 h 93972"/>
                <a:gd name="connsiteX8" fmla="*/ 56151 w 1193687"/>
                <a:gd name="connsiteY8" fmla="*/ 71390 h 93972"/>
                <a:gd name="connsiteX9" fmla="*/ 19367 w 1193687"/>
                <a:gd name="connsiteY9" fmla="*/ 71390 h 93972"/>
                <a:gd name="connsiteX10" fmla="*/ 12411 w 1193687"/>
                <a:gd name="connsiteY10" fmla="*/ 91187 h 93972"/>
                <a:gd name="connsiteX11" fmla="*/ 10672 w 1193687"/>
                <a:gd name="connsiteY11" fmla="*/ 92524 h 93972"/>
                <a:gd name="connsiteX12" fmla="*/ 1309 w 1193687"/>
                <a:gd name="connsiteY12" fmla="*/ 92524 h 93972"/>
                <a:gd name="connsiteX13" fmla="*/ 373 w 1193687"/>
                <a:gd name="connsiteY13" fmla="*/ 91187 h 93972"/>
                <a:gd name="connsiteX14" fmla="*/ 52272 w 1193687"/>
                <a:gd name="connsiteY14" fmla="*/ 60422 h 93972"/>
                <a:gd name="connsiteX15" fmla="*/ 37960 w 1193687"/>
                <a:gd name="connsiteY15" fmla="*/ 19089 h 93972"/>
                <a:gd name="connsiteX16" fmla="*/ 37692 w 1193687"/>
                <a:gd name="connsiteY16" fmla="*/ 19089 h 93972"/>
                <a:gd name="connsiteX17" fmla="*/ 23246 w 1193687"/>
                <a:gd name="connsiteY17" fmla="*/ 60422 h 93972"/>
                <a:gd name="connsiteX18" fmla="*/ 105911 w 1193687"/>
                <a:gd name="connsiteY18" fmla="*/ 92524 h 93972"/>
                <a:gd name="connsiteX19" fmla="*/ 104305 w 1193687"/>
                <a:gd name="connsiteY19" fmla="*/ 91187 h 93972"/>
                <a:gd name="connsiteX20" fmla="*/ 74878 w 1193687"/>
                <a:gd name="connsiteY20" fmla="*/ 3172 h 93972"/>
                <a:gd name="connsiteX21" fmla="*/ 74878 w 1193687"/>
                <a:gd name="connsiteY21" fmla="*/ 1968 h 93972"/>
                <a:gd name="connsiteX22" fmla="*/ 75814 w 1193687"/>
                <a:gd name="connsiteY22" fmla="*/ 1567 h 93972"/>
                <a:gd name="connsiteX23" fmla="*/ 84910 w 1193687"/>
                <a:gd name="connsiteY23" fmla="*/ 1567 h 93972"/>
                <a:gd name="connsiteX24" fmla="*/ 86783 w 1193687"/>
                <a:gd name="connsiteY24" fmla="*/ 2904 h 93972"/>
                <a:gd name="connsiteX25" fmla="*/ 110057 w 1193687"/>
                <a:gd name="connsiteY25" fmla="*/ 73129 h 93972"/>
                <a:gd name="connsiteX26" fmla="*/ 110325 w 1193687"/>
                <a:gd name="connsiteY26" fmla="*/ 73129 h 93972"/>
                <a:gd name="connsiteX27" fmla="*/ 132797 w 1193687"/>
                <a:gd name="connsiteY27" fmla="*/ 2904 h 93972"/>
                <a:gd name="connsiteX28" fmla="*/ 134536 w 1193687"/>
                <a:gd name="connsiteY28" fmla="*/ 1567 h 93972"/>
                <a:gd name="connsiteX29" fmla="*/ 143750 w 1193687"/>
                <a:gd name="connsiteY29" fmla="*/ 1567 h 93972"/>
                <a:gd name="connsiteX30" fmla="*/ 144687 w 1193687"/>
                <a:gd name="connsiteY30" fmla="*/ 3172 h 93972"/>
                <a:gd name="connsiteX31" fmla="*/ 115408 w 1193687"/>
                <a:gd name="connsiteY31" fmla="*/ 91187 h 93972"/>
                <a:gd name="connsiteX32" fmla="*/ 113803 w 1193687"/>
                <a:gd name="connsiteY32" fmla="*/ 92524 h 93972"/>
                <a:gd name="connsiteX33" fmla="*/ 158613 w 1193687"/>
                <a:gd name="connsiteY33" fmla="*/ 2904 h 93972"/>
                <a:gd name="connsiteX34" fmla="*/ 159632 w 1193687"/>
                <a:gd name="connsiteY34" fmla="*/ 1567 h 93972"/>
                <a:gd name="connsiteX35" fmla="*/ 159950 w 1193687"/>
                <a:gd name="connsiteY35" fmla="*/ 1567 h 93972"/>
                <a:gd name="connsiteX36" fmla="*/ 169165 w 1193687"/>
                <a:gd name="connsiteY36" fmla="*/ 1567 h 93972"/>
                <a:gd name="connsiteX37" fmla="*/ 170503 w 1193687"/>
                <a:gd name="connsiteY37" fmla="*/ 2586 h 93972"/>
                <a:gd name="connsiteX38" fmla="*/ 170503 w 1193687"/>
                <a:gd name="connsiteY38" fmla="*/ 2904 h 93972"/>
                <a:gd name="connsiteX39" fmla="*/ 170503 w 1193687"/>
                <a:gd name="connsiteY39" fmla="*/ 91187 h 93972"/>
                <a:gd name="connsiteX40" fmla="*/ 169484 w 1193687"/>
                <a:gd name="connsiteY40" fmla="*/ 92524 h 93972"/>
                <a:gd name="connsiteX41" fmla="*/ 169165 w 1193687"/>
                <a:gd name="connsiteY41" fmla="*/ 92524 h 93972"/>
                <a:gd name="connsiteX42" fmla="*/ 159950 w 1193687"/>
                <a:gd name="connsiteY42" fmla="*/ 92524 h 93972"/>
                <a:gd name="connsiteX43" fmla="*/ 158613 w 1193687"/>
                <a:gd name="connsiteY43" fmla="*/ 91505 h 93972"/>
                <a:gd name="connsiteX44" fmla="*/ 158613 w 1193687"/>
                <a:gd name="connsiteY44" fmla="*/ 91187 h 93972"/>
                <a:gd name="connsiteX45" fmla="*/ 216531 w 1193687"/>
                <a:gd name="connsiteY45" fmla="*/ 2904 h 93972"/>
                <a:gd name="connsiteX46" fmla="*/ 218137 w 1193687"/>
                <a:gd name="connsiteY46" fmla="*/ 1567 h 93972"/>
                <a:gd name="connsiteX47" fmla="*/ 226831 w 1193687"/>
                <a:gd name="connsiteY47" fmla="*/ 1567 h 93972"/>
                <a:gd name="connsiteX48" fmla="*/ 228570 w 1193687"/>
                <a:gd name="connsiteY48" fmla="*/ 2904 h 93972"/>
                <a:gd name="connsiteX49" fmla="*/ 259736 w 1193687"/>
                <a:gd name="connsiteY49" fmla="*/ 91187 h 93972"/>
                <a:gd name="connsiteX50" fmla="*/ 258800 w 1193687"/>
                <a:gd name="connsiteY50" fmla="*/ 92524 h 93972"/>
                <a:gd name="connsiteX51" fmla="*/ 249437 w 1193687"/>
                <a:gd name="connsiteY51" fmla="*/ 92524 h 93972"/>
                <a:gd name="connsiteX52" fmla="*/ 247698 w 1193687"/>
                <a:gd name="connsiteY52" fmla="*/ 91187 h 93972"/>
                <a:gd name="connsiteX53" fmla="*/ 240742 w 1193687"/>
                <a:gd name="connsiteY53" fmla="*/ 71390 h 93972"/>
                <a:gd name="connsiteX54" fmla="*/ 203958 w 1193687"/>
                <a:gd name="connsiteY54" fmla="*/ 71390 h 93972"/>
                <a:gd name="connsiteX55" fmla="*/ 197002 w 1193687"/>
                <a:gd name="connsiteY55" fmla="*/ 91187 h 93972"/>
                <a:gd name="connsiteX56" fmla="*/ 195263 w 1193687"/>
                <a:gd name="connsiteY56" fmla="*/ 92524 h 93972"/>
                <a:gd name="connsiteX57" fmla="*/ 185900 w 1193687"/>
                <a:gd name="connsiteY57" fmla="*/ 92524 h 93972"/>
                <a:gd name="connsiteX58" fmla="*/ 184964 w 1193687"/>
                <a:gd name="connsiteY58" fmla="*/ 91187 h 93972"/>
                <a:gd name="connsiteX59" fmla="*/ 236863 w 1193687"/>
                <a:gd name="connsiteY59" fmla="*/ 60422 h 93972"/>
                <a:gd name="connsiteX60" fmla="*/ 222551 w 1193687"/>
                <a:gd name="connsiteY60" fmla="*/ 19089 h 93972"/>
                <a:gd name="connsiteX61" fmla="*/ 222283 w 1193687"/>
                <a:gd name="connsiteY61" fmla="*/ 19089 h 93972"/>
                <a:gd name="connsiteX62" fmla="*/ 207837 w 1193687"/>
                <a:gd name="connsiteY62" fmla="*/ 60422 h 93972"/>
                <a:gd name="connsiteX63" fmla="*/ 284616 w 1193687"/>
                <a:gd name="connsiteY63" fmla="*/ 92524 h 93972"/>
                <a:gd name="connsiteX64" fmla="*/ 283278 w 1193687"/>
                <a:gd name="connsiteY64" fmla="*/ 91505 h 93972"/>
                <a:gd name="connsiteX65" fmla="*/ 283278 w 1193687"/>
                <a:gd name="connsiteY65" fmla="*/ 91187 h 93972"/>
                <a:gd name="connsiteX66" fmla="*/ 283278 w 1193687"/>
                <a:gd name="connsiteY66" fmla="*/ 13457 h 93972"/>
                <a:gd name="connsiteX67" fmla="*/ 282674 w 1193687"/>
                <a:gd name="connsiteY67" fmla="*/ 12654 h 93972"/>
                <a:gd name="connsiteX68" fmla="*/ 282476 w 1193687"/>
                <a:gd name="connsiteY68" fmla="*/ 12654 h 93972"/>
                <a:gd name="connsiteX69" fmla="*/ 257596 w 1193687"/>
                <a:gd name="connsiteY69" fmla="*/ 12654 h 93972"/>
                <a:gd name="connsiteX70" fmla="*/ 256259 w 1193687"/>
                <a:gd name="connsiteY70" fmla="*/ 11635 h 93972"/>
                <a:gd name="connsiteX71" fmla="*/ 256259 w 1193687"/>
                <a:gd name="connsiteY71" fmla="*/ 11316 h 93972"/>
                <a:gd name="connsiteX72" fmla="*/ 256259 w 1193687"/>
                <a:gd name="connsiteY72" fmla="*/ 2904 h 93972"/>
                <a:gd name="connsiteX73" fmla="*/ 257278 w 1193687"/>
                <a:gd name="connsiteY73" fmla="*/ 1567 h 93972"/>
                <a:gd name="connsiteX74" fmla="*/ 257596 w 1193687"/>
                <a:gd name="connsiteY74" fmla="*/ 1567 h 93972"/>
                <a:gd name="connsiteX75" fmla="*/ 320865 w 1193687"/>
                <a:gd name="connsiteY75" fmla="*/ 1567 h 93972"/>
                <a:gd name="connsiteX76" fmla="*/ 322203 w 1193687"/>
                <a:gd name="connsiteY76" fmla="*/ 2586 h 93972"/>
                <a:gd name="connsiteX77" fmla="*/ 322203 w 1193687"/>
                <a:gd name="connsiteY77" fmla="*/ 2904 h 93972"/>
                <a:gd name="connsiteX78" fmla="*/ 322203 w 1193687"/>
                <a:gd name="connsiteY78" fmla="*/ 11331 h 93972"/>
                <a:gd name="connsiteX79" fmla="*/ 321183 w 1193687"/>
                <a:gd name="connsiteY79" fmla="*/ 12669 h 93972"/>
                <a:gd name="connsiteX80" fmla="*/ 320865 w 1193687"/>
                <a:gd name="connsiteY80" fmla="*/ 12669 h 93972"/>
                <a:gd name="connsiteX81" fmla="*/ 295986 w 1193687"/>
                <a:gd name="connsiteY81" fmla="*/ 12669 h 93972"/>
                <a:gd name="connsiteX82" fmla="*/ 295183 w 1193687"/>
                <a:gd name="connsiteY82" fmla="*/ 13273 h 93972"/>
                <a:gd name="connsiteX83" fmla="*/ 295183 w 1193687"/>
                <a:gd name="connsiteY83" fmla="*/ 13471 h 93972"/>
                <a:gd name="connsiteX84" fmla="*/ 295183 w 1193687"/>
                <a:gd name="connsiteY84" fmla="*/ 91187 h 93972"/>
                <a:gd name="connsiteX85" fmla="*/ 294164 w 1193687"/>
                <a:gd name="connsiteY85" fmla="*/ 92524 h 93972"/>
                <a:gd name="connsiteX86" fmla="*/ 293846 w 1193687"/>
                <a:gd name="connsiteY86" fmla="*/ 92524 h 93972"/>
                <a:gd name="connsiteX87" fmla="*/ 336382 w 1193687"/>
                <a:gd name="connsiteY87" fmla="*/ 2904 h 93972"/>
                <a:gd name="connsiteX88" fmla="*/ 337401 w 1193687"/>
                <a:gd name="connsiteY88" fmla="*/ 1567 h 93972"/>
                <a:gd name="connsiteX89" fmla="*/ 337719 w 1193687"/>
                <a:gd name="connsiteY89" fmla="*/ 1567 h 93972"/>
                <a:gd name="connsiteX90" fmla="*/ 346934 w 1193687"/>
                <a:gd name="connsiteY90" fmla="*/ 1567 h 93972"/>
                <a:gd name="connsiteX91" fmla="*/ 348272 w 1193687"/>
                <a:gd name="connsiteY91" fmla="*/ 2586 h 93972"/>
                <a:gd name="connsiteX92" fmla="*/ 348272 w 1193687"/>
                <a:gd name="connsiteY92" fmla="*/ 2904 h 93972"/>
                <a:gd name="connsiteX93" fmla="*/ 348272 w 1193687"/>
                <a:gd name="connsiteY93" fmla="*/ 91187 h 93972"/>
                <a:gd name="connsiteX94" fmla="*/ 347252 w 1193687"/>
                <a:gd name="connsiteY94" fmla="*/ 92524 h 93972"/>
                <a:gd name="connsiteX95" fmla="*/ 346934 w 1193687"/>
                <a:gd name="connsiteY95" fmla="*/ 92524 h 93972"/>
                <a:gd name="connsiteX96" fmla="*/ 337719 w 1193687"/>
                <a:gd name="connsiteY96" fmla="*/ 92524 h 93972"/>
                <a:gd name="connsiteX97" fmla="*/ 336382 w 1193687"/>
                <a:gd name="connsiteY97" fmla="*/ 91505 h 93972"/>
                <a:gd name="connsiteX98" fmla="*/ 336382 w 1193687"/>
                <a:gd name="connsiteY98" fmla="*/ 91187 h 93972"/>
                <a:gd name="connsiteX99" fmla="*/ 400855 w 1193687"/>
                <a:gd name="connsiteY99" fmla="*/ 93996 h 93972"/>
                <a:gd name="connsiteX100" fmla="*/ 381391 w 1193687"/>
                <a:gd name="connsiteY100" fmla="*/ 88645 h 93972"/>
                <a:gd name="connsiteX101" fmla="*/ 369956 w 1193687"/>
                <a:gd name="connsiteY101" fmla="*/ 72728 h 93972"/>
                <a:gd name="connsiteX102" fmla="*/ 368820 w 1193687"/>
                <a:gd name="connsiteY102" fmla="*/ 68566 h 93972"/>
                <a:gd name="connsiteX103" fmla="*/ 368083 w 1193687"/>
                <a:gd name="connsiteY103" fmla="*/ 63552 h 93972"/>
                <a:gd name="connsiteX104" fmla="*/ 367682 w 1193687"/>
                <a:gd name="connsiteY104" fmla="*/ 56661 h 93972"/>
                <a:gd name="connsiteX105" fmla="*/ 367533 w 1193687"/>
                <a:gd name="connsiteY105" fmla="*/ 47046 h 93972"/>
                <a:gd name="connsiteX106" fmla="*/ 367667 w 1193687"/>
                <a:gd name="connsiteY106" fmla="*/ 37415 h 93972"/>
                <a:gd name="connsiteX107" fmla="*/ 368068 w 1193687"/>
                <a:gd name="connsiteY107" fmla="*/ 30527 h 93972"/>
                <a:gd name="connsiteX108" fmla="*/ 368805 w 1193687"/>
                <a:gd name="connsiteY108" fmla="*/ 25513 h 93972"/>
                <a:gd name="connsiteX109" fmla="*/ 369941 w 1193687"/>
                <a:gd name="connsiteY109" fmla="*/ 21351 h 93972"/>
                <a:gd name="connsiteX110" fmla="*/ 381391 w 1193687"/>
                <a:gd name="connsiteY110" fmla="*/ 5431 h 93972"/>
                <a:gd name="connsiteX111" fmla="*/ 420449 w 1193687"/>
                <a:gd name="connsiteY111" fmla="*/ 5431 h 93972"/>
                <a:gd name="connsiteX112" fmla="*/ 431887 w 1193687"/>
                <a:gd name="connsiteY112" fmla="*/ 21348 h 93972"/>
                <a:gd name="connsiteX113" fmla="*/ 433023 w 1193687"/>
                <a:gd name="connsiteY113" fmla="*/ 25510 h 93972"/>
                <a:gd name="connsiteX114" fmla="*/ 433760 w 1193687"/>
                <a:gd name="connsiteY114" fmla="*/ 30527 h 93972"/>
                <a:gd name="connsiteX115" fmla="*/ 434161 w 1193687"/>
                <a:gd name="connsiteY115" fmla="*/ 37415 h 93972"/>
                <a:gd name="connsiteX116" fmla="*/ 434295 w 1193687"/>
                <a:gd name="connsiteY116" fmla="*/ 47046 h 93972"/>
                <a:gd name="connsiteX117" fmla="*/ 434161 w 1193687"/>
                <a:gd name="connsiteY117" fmla="*/ 56676 h 93972"/>
                <a:gd name="connsiteX118" fmla="*/ 433760 w 1193687"/>
                <a:gd name="connsiteY118" fmla="*/ 63567 h 93972"/>
                <a:gd name="connsiteX119" fmla="*/ 433023 w 1193687"/>
                <a:gd name="connsiteY119" fmla="*/ 68584 h 93972"/>
                <a:gd name="connsiteX120" fmla="*/ 431887 w 1193687"/>
                <a:gd name="connsiteY120" fmla="*/ 72746 h 93972"/>
                <a:gd name="connsiteX121" fmla="*/ 420449 w 1193687"/>
                <a:gd name="connsiteY121" fmla="*/ 88663 h 93972"/>
                <a:gd name="connsiteX122" fmla="*/ 400855 w 1193687"/>
                <a:gd name="connsiteY122" fmla="*/ 93996 h 93972"/>
                <a:gd name="connsiteX123" fmla="*/ 400855 w 1193687"/>
                <a:gd name="connsiteY123" fmla="*/ 82894 h 93972"/>
                <a:gd name="connsiteX124" fmla="*/ 413295 w 1193687"/>
                <a:gd name="connsiteY124" fmla="*/ 79416 h 93972"/>
                <a:gd name="connsiteX125" fmla="*/ 420250 w 1193687"/>
                <a:gd name="connsiteY125" fmla="*/ 69384 h 93972"/>
                <a:gd name="connsiteX126" fmla="*/ 420987 w 1193687"/>
                <a:gd name="connsiteY126" fmla="*/ 66373 h 93972"/>
                <a:gd name="connsiteX127" fmla="*/ 421656 w 1193687"/>
                <a:gd name="connsiteY127" fmla="*/ 61893 h 93972"/>
                <a:gd name="connsiteX128" fmla="*/ 422126 w 1193687"/>
                <a:gd name="connsiteY128" fmla="*/ 55606 h 93972"/>
                <a:gd name="connsiteX129" fmla="*/ 422260 w 1193687"/>
                <a:gd name="connsiteY129" fmla="*/ 47046 h 93972"/>
                <a:gd name="connsiteX130" fmla="*/ 422126 w 1193687"/>
                <a:gd name="connsiteY130" fmla="*/ 38485 h 93972"/>
                <a:gd name="connsiteX131" fmla="*/ 421656 w 1193687"/>
                <a:gd name="connsiteY131" fmla="*/ 32198 h 93972"/>
                <a:gd name="connsiteX132" fmla="*/ 420987 w 1193687"/>
                <a:gd name="connsiteY132" fmla="*/ 27718 h 93972"/>
                <a:gd name="connsiteX133" fmla="*/ 420250 w 1193687"/>
                <a:gd name="connsiteY133" fmla="*/ 24707 h 93972"/>
                <a:gd name="connsiteX134" fmla="*/ 413295 w 1193687"/>
                <a:gd name="connsiteY134" fmla="*/ 14675 h 93972"/>
                <a:gd name="connsiteX135" fmla="*/ 400855 w 1193687"/>
                <a:gd name="connsiteY135" fmla="*/ 11197 h 93972"/>
                <a:gd name="connsiteX136" fmla="*/ 388480 w 1193687"/>
                <a:gd name="connsiteY136" fmla="*/ 14675 h 93972"/>
                <a:gd name="connsiteX137" fmla="*/ 381593 w 1193687"/>
                <a:gd name="connsiteY137" fmla="*/ 24707 h 93972"/>
                <a:gd name="connsiteX138" fmla="*/ 380859 w 1193687"/>
                <a:gd name="connsiteY138" fmla="*/ 27718 h 93972"/>
                <a:gd name="connsiteX139" fmla="*/ 380190 w 1193687"/>
                <a:gd name="connsiteY139" fmla="*/ 32198 h 93972"/>
                <a:gd name="connsiteX140" fmla="*/ 379720 w 1193687"/>
                <a:gd name="connsiteY140" fmla="*/ 38485 h 93972"/>
                <a:gd name="connsiteX141" fmla="*/ 379587 w 1193687"/>
                <a:gd name="connsiteY141" fmla="*/ 47046 h 93972"/>
                <a:gd name="connsiteX142" fmla="*/ 379720 w 1193687"/>
                <a:gd name="connsiteY142" fmla="*/ 55606 h 93972"/>
                <a:gd name="connsiteX143" fmla="*/ 380190 w 1193687"/>
                <a:gd name="connsiteY143" fmla="*/ 61893 h 93972"/>
                <a:gd name="connsiteX144" fmla="*/ 380859 w 1193687"/>
                <a:gd name="connsiteY144" fmla="*/ 66373 h 93972"/>
                <a:gd name="connsiteX145" fmla="*/ 381593 w 1193687"/>
                <a:gd name="connsiteY145" fmla="*/ 69384 h 93972"/>
                <a:gd name="connsiteX146" fmla="*/ 388480 w 1193687"/>
                <a:gd name="connsiteY146" fmla="*/ 79416 h 93972"/>
                <a:gd name="connsiteX147" fmla="*/ 400855 w 1193687"/>
                <a:gd name="connsiteY147" fmla="*/ 82894 h 93972"/>
                <a:gd name="connsiteX148" fmla="*/ 453557 w 1193687"/>
                <a:gd name="connsiteY148" fmla="*/ 2904 h 93972"/>
                <a:gd name="connsiteX149" fmla="*/ 454576 w 1193687"/>
                <a:gd name="connsiteY149" fmla="*/ 1567 h 93972"/>
                <a:gd name="connsiteX150" fmla="*/ 454894 w 1193687"/>
                <a:gd name="connsiteY150" fmla="*/ 1567 h 93972"/>
                <a:gd name="connsiteX151" fmla="*/ 463455 w 1193687"/>
                <a:gd name="connsiteY151" fmla="*/ 1567 h 93972"/>
                <a:gd name="connsiteX152" fmla="*/ 465729 w 1193687"/>
                <a:gd name="connsiteY152" fmla="*/ 2904 h 93972"/>
                <a:gd name="connsiteX153" fmla="*/ 506928 w 1193687"/>
                <a:gd name="connsiteY153" fmla="*/ 71123 h 93972"/>
                <a:gd name="connsiteX154" fmla="*/ 507463 w 1193687"/>
                <a:gd name="connsiteY154" fmla="*/ 71123 h 93972"/>
                <a:gd name="connsiteX155" fmla="*/ 507463 w 1193687"/>
                <a:gd name="connsiteY155" fmla="*/ 2904 h 93972"/>
                <a:gd name="connsiteX156" fmla="*/ 508482 w 1193687"/>
                <a:gd name="connsiteY156" fmla="*/ 1567 h 93972"/>
                <a:gd name="connsiteX157" fmla="*/ 508800 w 1193687"/>
                <a:gd name="connsiteY157" fmla="*/ 1567 h 93972"/>
                <a:gd name="connsiteX158" fmla="*/ 517227 w 1193687"/>
                <a:gd name="connsiteY158" fmla="*/ 1567 h 93972"/>
                <a:gd name="connsiteX159" fmla="*/ 518565 w 1193687"/>
                <a:gd name="connsiteY159" fmla="*/ 2586 h 93972"/>
                <a:gd name="connsiteX160" fmla="*/ 518565 w 1193687"/>
                <a:gd name="connsiteY160" fmla="*/ 2904 h 93972"/>
                <a:gd name="connsiteX161" fmla="*/ 518565 w 1193687"/>
                <a:gd name="connsiteY161" fmla="*/ 91187 h 93972"/>
                <a:gd name="connsiteX162" fmla="*/ 517545 w 1193687"/>
                <a:gd name="connsiteY162" fmla="*/ 92524 h 93972"/>
                <a:gd name="connsiteX163" fmla="*/ 517227 w 1193687"/>
                <a:gd name="connsiteY163" fmla="*/ 92524 h 93972"/>
                <a:gd name="connsiteX164" fmla="*/ 508667 w 1193687"/>
                <a:gd name="connsiteY164" fmla="*/ 92524 h 93972"/>
                <a:gd name="connsiteX165" fmla="*/ 506393 w 1193687"/>
                <a:gd name="connsiteY165" fmla="*/ 91187 h 93972"/>
                <a:gd name="connsiteX166" fmla="*/ 465060 w 1193687"/>
                <a:gd name="connsiteY166" fmla="*/ 23236 h 93972"/>
                <a:gd name="connsiteX167" fmla="*/ 464659 w 1193687"/>
                <a:gd name="connsiteY167" fmla="*/ 23236 h 93972"/>
                <a:gd name="connsiteX168" fmla="*/ 464659 w 1193687"/>
                <a:gd name="connsiteY168" fmla="*/ 91187 h 93972"/>
                <a:gd name="connsiteX169" fmla="*/ 463639 w 1193687"/>
                <a:gd name="connsiteY169" fmla="*/ 92524 h 93972"/>
                <a:gd name="connsiteX170" fmla="*/ 463321 w 1193687"/>
                <a:gd name="connsiteY170" fmla="*/ 92524 h 93972"/>
                <a:gd name="connsiteX171" fmla="*/ 454894 w 1193687"/>
                <a:gd name="connsiteY171" fmla="*/ 92524 h 93972"/>
                <a:gd name="connsiteX172" fmla="*/ 453557 w 1193687"/>
                <a:gd name="connsiteY172" fmla="*/ 91505 h 93972"/>
                <a:gd name="connsiteX173" fmla="*/ 453557 w 1193687"/>
                <a:gd name="connsiteY173" fmla="*/ 91187 h 93972"/>
                <a:gd name="connsiteX174" fmla="*/ 539164 w 1193687"/>
                <a:gd name="connsiteY174" fmla="*/ 79683 h 93972"/>
                <a:gd name="connsiteX175" fmla="*/ 540184 w 1193687"/>
                <a:gd name="connsiteY175" fmla="*/ 78346 h 93972"/>
                <a:gd name="connsiteX176" fmla="*/ 540502 w 1193687"/>
                <a:gd name="connsiteY176" fmla="*/ 78346 h 93972"/>
                <a:gd name="connsiteX177" fmla="*/ 550668 w 1193687"/>
                <a:gd name="connsiteY177" fmla="*/ 78346 h 93972"/>
                <a:gd name="connsiteX178" fmla="*/ 552005 w 1193687"/>
                <a:gd name="connsiteY178" fmla="*/ 79365 h 93972"/>
                <a:gd name="connsiteX179" fmla="*/ 552005 w 1193687"/>
                <a:gd name="connsiteY179" fmla="*/ 79683 h 93972"/>
                <a:gd name="connsiteX180" fmla="*/ 552005 w 1193687"/>
                <a:gd name="connsiteY180" fmla="*/ 91187 h 93972"/>
                <a:gd name="connsiteX181" fmla="*/ 550986 w 1193687"/>
                <a:gd name="connsiteY181" fmla="*/ 92524 h 93972"/>
                <a:gd name="connsiteX182" fmla="*/ 550668 w 1193687"/>
                <a:gd name="connsiteY182" fmla="*/ 92524 h 93972"/>
                <a:gd name="connsiteX183" fmla="*/ 540502 w 1193687"/>
                <a:gd name="connsiteY183" fmla="*/ 92524 h 93972"/>
                <a:gd name="connsiteX184" fmla="*/ 539164 w 1193687"/>
                <a:gd name="connsiteY184" fmla="*/ 91505 h 93972"/>
                <a:gd name="connsiteX185" fmla="*/ 539164 w 1193687"/>
                <a:gd name="connsiteY185" fmla="*/ 91187 h 93972"/>
                <a:gd name="connsiteX186" fmla="*/ 601883 w 1193687"/>
                <a:gd name="connsiteY186" fmla="*/ 2904 h 93972"/>
                <a:gd name="connsiteX187" fmla="*/ 602903 w 1193687"/>
                <a:gd name="connsiteY187" fmla="*/ 1567 h 93972"/>
                <a:gd name="connsiteX188" fmla="*/ 603221 w 1193687"/>
                <a:gd name="connsiteY188" fmla="*/ 1567 h 93972"/>
                <a:gd name="connsiteX189" fmla="*/ 612465 w 1193687"/>
                <a:gd name="connsiteY189" fmla="*/ 1567 h 93972"/>
                <a:gd name="connsiteX190" fmla="*/ 613803 w 1193687"/>
                <a:gd name="connsiteY190" fmla="*/ 2586 h 93972"/>
                <a:gd name="connsiteX191" fmla="*/ 613803 w 1193687"/>
                <a:gd name="connsiteY191" fmla="*/ 2904 h 93972"/>
                <a:gd name="connsiteX192" fmla="*/ 613803 w 1193687"/>
                <a:gd name="connsiteY192" fmla="*/ 80620 h 93972"/>
                <a:gd name="connsiteX193" fmla="*/ 614406 w 1193687"/>
                <a:gd name="connsiteY193" fmla="*/ 81422 h 93972"/>
                <a:gd name="connsiteX194" fmla="*/ 614606 w 1193687"/>
                <a:gd name="connsiteY194" fmla="*/ 81422 h 93972"/>
                <a:gd name="connsiteX195" fmla="*/ 657944 w 1193687"/>
                <a:gd name="connsiteY195" fmla="*/ 81422 h 93972"/>
                <a:gd name="connsiteX196" fmla="*/ 659282 w 1193687"/>
                <a:gd name="connsiteY196" fmla="*/ 82441 h 93972"/>
                <a:gd name="connsiteX197" fmla="*/ 659282 w 1193687"/>
                <a:gd name="connsiteY197" fmla="*/ 82760 h 93972"/>
                <a:gd name="connsiteX198" fmla="*/ 659282 w 1193687"/>
                <a:gd name="connsiteY198" fmla="*/ 91187 h 93972"/>
                <a:gd name="connsiteX199" fmla="*/ 658262 w 1193687"/>
                <a:gd name="connsiteY199" fmla="*/ 92524 h 93972"/>
                <a:gd name="connsiteX200" fmla="*/ 657944 w 1193687"/>
                <a:gd name="connsiteY200" fmla="*/ 92524 h 93972"/>
                <a:gd name="connsiteX201" fmla="*/ 603251 w 1193687"/>
                <a:gd name="connsiteY201" fmla="*/ 92524 h 93972"/>
                <a:gd name="connsiteX202" fmla="*/ 601913 w 1193687"/>
                <a:gd name="connsiteY202" fmla="*/ 91505 h 93972"/>
                <a:gd name="connsiteX203" fmla="*/ 601913 w 1193687"/>
                <a:gd name="connsiteY203" fmla="*/ 91187 h 93972"/>
                <a:gd name="connsiteX204" fmla="*/ 703958 w 1193687"/>
                <a:gd name="connsiteY204" fmla="*/ 93996 h 93972"/>
                <a:gd name="connsiteX205" fmla="*/ 684495 w 1193687"/>
                <a:gd name="connsiteY205" fmla="*/ 88645 h 93972"/>
                <a:gd name="connsiteX206" fmla="*/ 673056 w 1193687"/>
                <a:gd name="connsiteY206" fmla="*/ 72728 h 93972"/>
                <a:gd name="connsiteX207" fmla="*/ 671921 w 1193687"/>
                <a:gd name="connsiteY207" fmla="*/ 68566 h 93972"/>
                <a:gd name="connsiteX208" fmla="*/ 671187 w 1193687"/>
                <a:gd name="connsiteY208" fmla="*/ 63552 h 93972"/>
                <a:gd name="connsiteX209" fmla="*/ 670785 w 1193687"/>
                <a:gd name="connsiteY209" fmla="*/ 56661 h 93972"/>
                <a:gd name="connsiteX210" fmla="*/ 670652 w 1193687"/>
                <a:gd name="connsiteY210" fmla="*/ 47031 h 93972"/>
                <a:gd name="connsiteX211" fmla="*/ 670785 w 1193687"/>
                <a:gd name="connsiteY211" fmla="*/ 37400 h 93972"/>
                <a:gd name="connsiteX212" fmla="*/ 671187 w 1193687"/>
                <a:gd name="connsiteY212" fmla="*/ 30513 h 93972"/>
                <a:gd name="connsiteX213" fmla="*/ 671915 w 1193687"/>
                <a:gd name="connsiteY213" fmla="*/ 25510 h 93972"/>
                <a:gd name="connsiteX214" fmla="*/ 673051 w 1193687"/>
                <a:gd name="connsiteY214" fmla="*/ 21348 h 93972"/>
                <a:gd name="connsiteX215" fmla="*/ 684495 w 1193687"/>
                <a:gd name="connsiteY215" fmla="*/ 5431 h 93972"/>
                <a:gd name="connsiteX216" fmla="*/ 723553 w 1193687"/>
                <a:gd name="connsiteY216" fmla="*/ 5431 h 93972"/>
                <a:gd name="connsiteX217" fmla="*/ 734991 w 1193687"/>
                <a:gd name="connsiteY217" fmla="*/ 21348 h 93972"/>
                <a:gd name="connsiteX218" fmla="*/ 736126 w 1193687"/>
                <a:gd name="connsiteY218" fmla="*/ 25510 h 93972"/>
                <a:gd name="connsiteX219" fmla="*/ 736864 w 1193687"/>
                <a:gd name="connsiteY219" fmla="*/ 30527 h 93972"/>
                <a:gd name="connsiteX220" fmla="*/ 737265 w 1193687"/>
                <a:gd name="connsiteY220" fmla="*/ 37415 h 93972"/>
                <a:gd name="connsiteX221" fmla="*/ 737399 w 1193687"/>
                <a:gd name="connsiteY221" fmla="*/ 47046 h 93972"/>
                <a:gd name="connsiteX222" fmla="*/ 737265 w 1193687"/>
                <a:gd name="connsiteY222" fmla="*/ 56676 h 93972"/>
                <a:gd name="connsiteX223" fmla="*/ 736864 w 1193687"/>
                <a:gd name="connsiteY223" fmla="*/ 63567 h 93972"/>
                <a:gd name="connsiteX224" fmla="*/ 736126 w 1193687"/>
                <a:gd name="connsiteY224" fmla="*/ 68584 h 93972"/>
                <a:gd name="connsiteX225" fmla="*/ 734991 w 1193687"/>
                <a:gd name="connsiteY225" fmla="*/ 72746 h 93972"/>
                <a:gd name="connsiteX226" fmla="*/ 723553 w 1193687"/>
                <a:gd name="connsiteY226" fmla="*/ 88663 h 93972"/>
                <a:gd name="connsiteX227" fmla="*/ 703958 w 1193687"/>
                <a:gd name="connsiteY227" fmla="*/ 93996 h 93972"/>
                <a:gd name="connsiteX228" fmla="*/ 703958 w 1193687"/>
                <a:gd name="connsiteY228" fmla="*/ 82894 h 93972"/>
                <a:gd name="connsiteX229" fmla="*/ 716398 w 1193687"/>
                <a:gd name="connsiteY229" fmla="*/ 79416 h 93972"/>
                <a:gd name="connsiteX230" fmla="*/ 723354 w 1193687"/>
                <a:gd name="connsiteY230" fmla="*/ 69384 h 93972"/>
                <a:gd name="connsiteX231" fmla="*/ 724091 w 1193687"/>
                <a:gd name="connsiteY231" fmla="*/ 66373 h 93972"/>
                <a:gd name="connsiteX232" fmla="*/ 724760 w 1193687"/>
                <a:gd name="connsiteY232" fmla="*/ 61893 h 93972"/>
                <a:gd name="connsiteX233" fmla="*/ 725229 w 1193687"/>
                <a:gd name="connsiteY233" fmla="*/ 55606 h 93972"/>
                <a:gd name="connsiteX234" fmla="*/ 725363 w 1193687"/>
                <a:gd name="connsiteY234" fmla="*/ 47046 h 93972"/>
                <a:gd name="connsiteX235" fmla="*/ 725229 w 1193687"/>
                <a:gd name="connsiteY235" fmla="*/ 38485 h 93972"/>
                <a:gd name="connsiteX236" fmla="*/ 724760 w 1193687"/>
                <a:gd name="connsiteY236" fmla="*/ 32198 h 93972"/>
                <a:gd name="connsiteX237" fmla="*/ 724091 w 1193687"/>
                <a:gd name="connsiteY237" fmla="*/ 27718 h 93972"/>
                <a:gd name="connsiteX238" fmla="*/ 723354 w 1193687"/>
                <a:gd name="connsiteY238" fmla="*/ 24707 h 93972"/>
                <a:gd name="connsiteX239" fmla="*/ 716398 w 1193687"/>
                <a:gd name="connsiteY239" fmla="*/ 14675 h 93972"/>
                <a:gd name="connsiteX240" fmla="*/ 703958 w 1193687"/>
                <a:gd name="connsiteY240" fmla="*/ 11197 h 93972"/>
                <a:gd name="connsiteX241" fmla="*/ 691584 w 1193687"/>
                <a:gd name="connsiteY241" fmla="*/ 14675 h 93972"/>
                <a:gd name="connsiteX242" fmla="*/ 684697 w 1193687"/>
                <a:gd name="connsiteY242" fmla="*/ 24707 h 93972"/>
                <a:gd name="connsiteX243" fmla="*/ 683962 w 1193687"/>
                <a:gd name="connsiteY243" fmla="*/ 27718 h 93972"/>
                <a:gd name="connsiteX244" fmla="*/ 683294 w 1193687"/>
                <a:gd name="connsiteY244" fmla="*/ 32198 h 93972"/>
                <a:gd name="connsiteX245" fmla="*/ 682824 w 1193687"/>
                <a:gd name="connsiteY245" fmla="*/ 38485 h 93972"/>
                <a:gd name="connsiteX246" fmla="*/ 682690 w 1193687"/>
                <a:gd name="connsiteY246" fmla="*/ 47046 h 93972"/>
                <a:gd name="connsiteX247" fmla="*/ 682824 w 1193687"/>
                <a:gd name="connsiteY247" fmla="*/ 55606 h 93972"/>
                <a:gd name="connsiteX248" fmla="*/ 683294 w 1193687"/>
                <a:gd name="connsiteY248" fmla="*/ 61893 h 93972"/>
                <a:gd name="connsiteX249" fmla="*/ 683962 w 1193687"/>
                <a:gd name="connsiteY249" fmla="*/ 66373 h 93972"/>
                <a:gd name="connsiteX250" fmla="*/ 684697 w 1193687"/>
                <a:gd name="connsiteY250" fmla="*/ 69384 h 93972"/>
                <a:gd name="connsiteX251" fmla="*/ 691584 w 1193687"/>
                <a:gd name="connsiteY251" fmla="*/ 79416 h 93972"/>
                <a:gd name="connsiteX252" fmla="*/ 703958 w 1193687"/>
                <a:gd name="connsiteY252" fmla="*/ 82894 h 93972"/>
                <a:gd name="connsiteX253" fmla="*/ 755858 w 1193687"/>
                <a:gd name="connsiteY253" fmla="*/ 72728 h 93972"/>
                <a:gd name="connsiteX254" fmla="*/ 754788 w 1193687"/>
                <a:gd name="connsiteY254" fmla="*/ 68566 h 93972"/>
                <a:gd name="connsiteX255" fmla="*/ 754053 w 1193687"/>
                <a:gd name="connsiteY255" fmla="*/ 63552 h 93972"/>
                <a:gd name="connsiteX256" fmla="*/ 753584 w 1193687"/>
                <a:gd name="connsiteY256" fmla="*/ 56661 h 93972"/>
                <a:gd name="connsiteX257" fmla="*/ 753450 w 1193687"/>
                <a:gd name="connsiteY257" fmla="*/ 47031 h 93972"/>
                <a:gd name="connsiteX258" fmla="*/ 753584 w 1193687"/>
                <a:gd name="connsiteY258" fmla="*/ 37400 h 93972"/>
                <a:gd name="connsiteX259" fmla="*/ 754053 w 1193687"/>
                <a:gd name="connsiteY259" fmla="*/ 30513 h 93972"/>
                <a:gd name="connsiteX260" fmla="*/ 754788 w 1193687"/>
                <a:gd name="connsiteY260" fmla="*/ 25498 h 93972"/>
                <a:gd name="connsiteX261" fmla="*/ 755858 w 1193687"/>
                <a:gd name="connsiteY261" fmla="*/ 21337 h 93972"/>
                <a:gd name="connsiteX262" fmla="*/ 767361 w 1193687"/>
                <a:gd name="connsiteY262" fmla="*/ 5431 h 93972"/>
                <a:gd name="connsiteX263" fmla="*/ 787024 w 1193687"/>
                <a:gd name="connsiteY263" fmla="*/ 80 h 93972"/>
                <a:gd name="connsiteX264" fmla="*/ 797859 w 1193687"/>
                <a:gd name="connsiteY264" fmla="*/ 1483 h 93972"/>
                <a:gd name="connsiteX265" fmla="*/ 806420 w 1193687"/>
                <a:gd name="connsiteY265" fmla="*/ 5362 h 93972"/>
                <a:gd name="connsiteX266" fmla="*/ 812840 w 1193687"/>
                <a:gd name="connsiteY266" fmla="*/ 11114 h 93972"/>
                <a:gd name="connsiteX267" fmla="*/ 817254 w 1193687"/>
                <a:gd name="connsiteY267" fmla="*/ 18135 h 93972"/>
                <a:gd name="connsiteX268" fmla="*/ 817061 w 1193687"/>
                <a:gd name="connsiteY268" fmla="*/ 19873 h 93972"/>
                <a:gd name="connsiteX269" fmla="*/ 816853 w 1193687"/>
                <a:gd name="connsiteY269" fmla="*/ 20008 h 93972"/>
                <a:gd name="connsiteX270" fmla="*/ 808827 w 1193687"/>
                <a:gd name="connsiteY270" fmla="*/ 23872 h 93972"/>
                <a:gd name="connsiteX271" fmla="*/ 806955 w 1193687"/>
                <a:gd name="connsiteY271" fmla="*/ 23203 h 93972"/>
                <a:gd name="connsiteX272" fmla="*/ 798929 w 1193687"/>
                <a:gd name="connsiteY272" fmla="*/ 14107 h 93972"/>
                <a:gd name="connsiteX273" fmla="*/ 787039 w 1193687"/>
                <a:gd name="connsiteY273" fmla="*/ 11165 h 93972"/>
                <a:gd name="connsiteX274" fmla="*/ 774397 w 1193687"/>
                <a:gd name="connsiteY274" fmla="*/ 14643 h 93972"/>
                <a:gd name="connsiteX275" fmla="*/ 767373 w 1193687"/>
                <a:gd name="connsiteY275" fmla="*/ 24675 h 93972"/>
                <a:gd name="connsiteX276" fmla="*/ 766571 w 1193687"/>
                <a:gd name="connsiteY276" fmla="*/ 27617 h 93972"/>
                <a:gd name="connsiteX277" fmla="*/ 765976 w 1193687"/>
                <a:gd name="connsiteY277" fmla="*/ 31898 h 93972"/>
                <a:gd name="connsiteX278" fmla="*/ 765643 w 1193687"/>
                <a:gd name="connsiteY278" fmla="*/ 38116 h 93972"/>
                <a:gd name="connsiteX279" fmla="*/ 765489 w 1193687"/>
                <a:gd name="connsiteY279" fmla="*/ 47046 h 93972"/>
                <a:gd name="connsiteX280" fmla="*/ 765622 w 1193687"/>
                <a:gd name="connsiteY280" fmla="*/ 55942 h 93972"/>
                <a:gd name="connsiteX281" fmla="*/ 765955 w 1193687"/>
                <a:gd name="connsiteY281" fmla="*/ 62161 h 93972"/>
                <a:gd name="connsiteX282" fmla="*/ 766550 w 1193687"/>
                <a:gd name="connsiteY282" fmla="*/ 66441 h 93972"/>
                <a:gd name="connsiteX283" fmla="*/ 767352 w 1193687"/>
                <a:gd name="connsiteY283" fmla="*/ 69384 h 93972"/>
                <a:gd name="connsiteX284" fmla="*/ 774376 w 1193687"/>
                <a:gd name="connsiteY284" fmla="*/ 79416 h 93972"/>
                <a:gd name="connsiteX285" fmla="*/ 787018 w 1193687"/>
                <a:gd name="connsiteY285" fmla="*/ 82894 h 93972"/>
                <a:gd name="connsiteX286" fmla="*/ 799205 w 1193687"/>
                <a:gd name="connsiteY286" fmla="*/ 79550 h 93972"/>
                <a:gd name="connsiteX287" fmla="*/ 806562 w 1193687"/>
                <a:gd name="connsiteY287" fmla="*/ 69785 h 93972"/>
                <a:gd name="connsiteX288" fmla="*/ 807751 w 1193687"/>
                <a:gd name="connsiteY288" fmla="*/ 64033 h 93972"/>
                <a:gd name="connsiteX289" fmla="*/ 808286 w 1193687"/>
                <a:gd name="connsiteY289" fmla="*/ 55472 h 93972"/>
                <a:gd name="connsiteX290" fmla="*/ 807683 w 1193687"/>
                <a:gd name="connsiteY290" fmla="*/ 54670 h 93972"/>
                <a:gd name="connsiteX291" fmla="*/ 807484 w 1193687"/>
                <a:gd name="connsiteY291" fmla="*/ 54670 h 93972"/>
                <a:gd name="connsiteX292" fmla="*/ 789827 w 1193687"/>
                <a:gd name="connsiteY292" fmla="*/ 54670 h 93972"/>
                <a:gd name="connsiteX293" fmla="*/ 788490 w 1193687"/>
                <a:gd name="connsiteY293" fmla="*/ 53651 h 93972"/>
                <a:gd name="connsiteX294" fmla="*/ 788490 w 1193687"/>
                <a:gd name="connsiteY294" fmla="*/ 53332 h 93972"/>
                <a:gd name="connsiteX295" fmla="*/ 788490 w 1193687"/>
                <a:gd name="connsiteY295" fmla="*/ 45559 h 93972"/>
                <a:gd name="connsiteX296" fmla="*/ 789509 w 1193687"/>
                <a:gd name="connsiteY296" fmla="*/ 44222 h 93972"/>
                <a:gd name="connsiteX297" fmla="*/ 789827 w 1193687"/>
                <a:gd name="connsiteY297" fmla="*/ 44222 h 93972"/>
                <a:gd name="connsiteX298" fmla="*/ 818854 w 1193687"/>
                <a:gd name="connsiteY298" fmla="*/ 44222 h 93972"/>
                <a:gd name="connsiteX299" fmla="*/ 820191 w 1193687"/>
                <a:gd name="connsiteY299" fmla="*/ 45241 h 93972"/>
                <a:gd name="connsiteX300" fmla="*/ 820191 w 1193687"/>
                <a:gd name="connsiteY300" fmla="*/ 45559 h 93972"/>
                <a:gd name="connsiteX301" fmla="*/ 820191 w 1193687"/>
                <a:gd name="connsiteY301" fmla="*/ 52396 h 93972"/>
                <a:gd name="connsiteX302" fmla="*/ 819597 w 1193687"/>
                <a:gd name="connsiteY302" fmla="*/ 63831 h 93972"/>
                <a:gd name="connsiteX303" fmla="*/ 817926 w 1193687"/>
                <a:gd name="connsiteY303" fmla="*/ 72451 h 93972"/>
                <a:gd name="connsiteX304" fmla="*/ 806488 w 1193687"/>
                <a:gd name="connsiteY304" fmla="*/ 88434 h 93972"/>
                <a:gd name="connsiteX305" fmla="*/ 787027 w 1193687"/>
                <a:gd name="connsiteY305" fmla="*/ 93987 h 93972"/>
                <a:gd name="connsiteX306" fmla="*/ 767364 w 1193687"/>
                <a:gd name="connsiteY306" fmla="*/ 88636 h 93972"/>
                <a:gd name="connsiteX307" fmla="*/ 755858 w 1193687"/>
                <a:gd name="connsiteY307" fmla="*/ 72728 h 93972"/>
                <a:gd name="connsiteX308" fmla="*/ 839459 w 1193687"/>
                <a:gd name="connsiteY308" fmla="*/ 2904 h 93972"/>
                <a:gd name="connsiteX309" fmla="*/ 840478 w 1193687"/>
                <a:gd name="connsiteY309" fmla="*/ 1567 h 93972"/>
                <a:gd name="connsiteX310" fmla="*/ 840796 w 1193687"/>
                <a:gd name="connsiteY310" fmla="*/ 1567 h 93972"/>
                <a:gd name="connsiteX311" fmla="*/ 850011 w 1193687"/>
                <a:gd name="connsiteY311" fmla="*/ 1567 h 93972"/>
                <a:gd name="connsiteX312" fmla="*/ 851349 w 1193687"/>
                <a:gd name="connsiteY312" fmla="*/ 2586 h 93972"/>
                <a:gd name="connsiteX313" fmla="*/ 851349 w 1193687"/>
                <a:gd name="connsiteY313" fmla="*/ 2904 h 93972"/>
                <a:gd name="connsiteX314" fmla="*/ 851349 w 1193687"/>
                <a:gd name="connsiteY314" fmla="*/ 91187 h 93972"/>
                <a:gd name="connsiteX315" fmla="*/ 850329 w 1193687"/>
                <a:gd name="connsiteY315" fmla="*/ 92524 h 93972"/>
                <a:gd name="connsiteX316" fmla="*/ 850011 w 1193687"/>
                <a:gd name="connsiteY316" fmla="*/ 92524 h 93972"/>
                <a:gd name="connsiteX317" fmla="*/ 840796 w 1193687"/>
                <a:gd name="connsiteY317" fmla="*/ 92524 h 93972"/>
                <a:gd name="connsiteX318" fmla="*/ 839459 w 1193687"/>
                <a:gd name="connsiteY318" fmla="*/ 91505 h 93972"/>
                <a:gd name="connsiteX319" fmla="*/ 839459 w 1193687"/>
                <a:gd name="connsiteY319" fmla="*/ 91187 h 93972"/>
                <a:gd name="connsiteX320" fmla="*/ 901390 w 1193687"/>
                <a:gd name="connsiteY320" fmla="*/ 93996 h 93972"/>
                <a:gd name="connsiteX321" fmla="*/ 891893 w 1193687"/>
                <a:gd name="connsiteY321" fmla="*/ 93059 h 93972"/>
                <a:gd name="connsiteX322" fmla="*/ 883065 w 1193687"/>
                <a:gd name="connsiteY322" fmla="*/ 90583 h 93972"/>
                <a:gd name="connsiteX323" fmla="*/ 875441 w 1193687"/>
                <a:gd name="connsiteY323" fmla="*/ 86972 h 93972"/>
                <a:gd name="connsiteX324" fmla="*/ 869421 w 1193687"/>
                <a:gd name="connsiteY324" fmla="*/ 82626 h 93972"/>
                <a:gd name="connsiteX325" fmla="*/ 869225 w 1193687"/>
                <a:gd name="connsiteY325" fmla="*/ 80689 h 93972"/>
                <a:gd name="connsiteX326" fmla="*/ 869288 w 1193687"/>
                <a:gd name="connsiteY326" fmla="*/ 80620 h 93972"/>
                <a:gd name="connsiteX327" fmla="*/ 875173 w 1193687"/>
                <a:gd name="connsiteY327" fmla="*/ 73664 h 93972"/>
                <a:gd name="connsiteX328" fmla="*/ 876882 w 1193687"/>
                <a:gd name="connsiteY328" fmla="*/ 73389 h 93972"/>
                <a:gd name="connsiteX329" fmla="*/ 877046 w 1193687"/>
                <a:gd name="connsiteY329" fmla="*/ 73530 h 93972"/>
                <a:gd name="connsiteX330" fmla="*/ 888014 w 1193687"/>
                <a:gd name="connsiteY330" fmla="*/ 79951 h 93972"/>
                <a:gd name="connsiteX331" fmla="*/ 902460 w 1193687"/>
                <a:gd name="connsiteY331" fmla="*/ 82894 h 93972"/>
                <a:gd name="connsiteX332" fmla="*/ 917242 w 1193687"/>
                <a:gd name="connsiteY332" fmla="*/ 78613 h 93972"/>
                <a:gd name="connsiteX333" fmla="*/ 922525 w 1193687"/>
                <a:gd name="connsiteY333" fmla="*/ 67377 h 93972"/>
                <a:gd name="connsiteX334" fmla="*/ 921588 w 1193687"/>
                <a:gd name="connsiteY334" fmla="*/ 62027 h 93972"/>
                <a:gd name="connsiteX335" fmla="*/ 918446 w 1193687"/>
                <a:gd name="connsiteY335" fmla="*/ 57746 h 93972"/>
                <a:gd name="connsiteX336" fmla="*/ 912626 w 1193687"/>
                <a:gd name="connsiteY336" fmla="*/ 54536 h 93972"/>
                <a:gd name="connsiteX337" fmla="*/ 903531 w 1193687"/>
                <a:gd name="connsiteY337" fmla="*/ 52530 h 93972"/>
                <a:gd name="connsiteX338" fmla="*/ 898983 w 1193687"/>
                <a:gd name="connsiteY338" fmla="*/ 51861 h 93972"/>
                <a:gd name="connsiteX339" fmla="*/ 872230 w 1193687"/>
                <a:gd name="connsiteY339" fmla="*/ 26714 h 93972"/>
                <a:gd name="connsiteX340" fmla="*/ 874311 w 1193687"/>
                <a:gd name="connsiteY340" fmla="*/ 15745 h 93972"/>
                <a:gd name="connsiteX341" fmla="*/ 880256 w 1193687"/>
                <a:gd name="connsiteY341" fmla="*/ 7318 h 93972"/>
                <a:gd name="connsiteX342" fmla="*/ 889619 w 1193687"/>
                <a:gd name="connsiteY342" fmla="*/ 1968 h 93972"/>
                <a:gd name="connsiteX343" fmla="*/ 901925 w 1193687"/>
                <a:gd name="connsiteY343" fmla="*/ 95 h 93972"/>
                <a:gd name="connsiteX344" fmla="*/ 917240 w 1193687"/>
                <a:gd name="connsiteY344" fmla="*/ 2435 h 93972"/>
                <a:gd name="connsiteX345" fmla="*/ 929629 w 1193687"/>
                <a:gd name="connsiteY345" fmla="*/ 8522 h 93972"/>
                <a:gd name="connsiteX346" fmla="*/ 930087 w 1193687"/>
                <a:gd name="connsiteY346" fmla="*/ 10140 h 93972"/>
                <a:gd name="connsiteX347" fmla="*/ 929896 w 1193687"/>
                <a:gd name="connsiteY347" fmla="*/ 10395 h 93972"/>
                <a:gd name="connsiteX348" fmla="*/ 925348 w 1193687"/>
                <a:gd name="connsiteY348" fmla="*/ 17752 h 93972"/>
                <a:gd name="connsiteX349" fmla="*/ 923532 w 1193687"/>
                <a:gd name="connsiteY349" fmla="*/ 18063 h 93972"/>
                <a:gd name="connsiteX350" fmla="*/ 923476 w 1193687"/>
                <a:gd name="connsiteY350" fmla="*/ 18019 h 93972"/>
                <a:gd name="connsiteX351" fmla="*/ 912626 w 1193687"/>
                <a:gd name="connsiteY351" fmla="*/ 12862 h 93972"/>
                <a:gd name="connsiteX352" fmla="*/ 901524 w 1193687"/>
                <a:gd name="connsiteY352" fmla="*/ 11191 h 93972"/>
                <a:gd name="connsiteX353" fmla="*/ 888683 w 1193687"/>
                <a:gd name="connsiteY353" fmla="*/ 15270 h 93972"/>
                <a:gd name="connsiteX354" fmla="*/ 884269 w 1193687"/>
                <a:gd name="connsiteY354" fmla="*/ 25902 h 93972"/>
                <a:gd name="connsiteX355" fmla="*/ 888549 w 1193687"/>
                <a:gd name="connsiteY355" fmla="*/ 35331 h 93972"/>
                <a:gd name="connsiteX356" fmla="*/ 903397 w 1193687"/>
                <a:gd name="connsiteY356" fmla="*/ 40482 h 93972"/>
                <a:gd name="connsiteX357" fmla="*/ 907811 w 1193687"/>
                <a:gd name="connsiteY357" fmla="*/ 41151 h 93972"/>
                <a:gd name="connsiteX358" fmla="*/ 927875 w 1193687"/>
                <a:gd name="connsiteY358" fmla="*/ 49177 h 93972"/>
                <a:gd name="connsiteX359" fmla="*/ 934563 w 1193687"/>
                <a:gd name="connsiteY359" fmla="*/ 66566 h 93972"/>
                <a:gd name="connsiteX360" fmla="*/ 932482 w 1193687"/>
                <a:gd name="connsiteY360" fmla="*/ 77600 h 93972"/>
                <a:gd name="connsiteX361" fmla="*/ 926196 w 1193687"/>
                <a:gd name="connsiteY361" fmla="*/ 86220 h 93972"/>
                <a:gd name="connsiteX362" fmla="*/ 915762 w 1193687"/>
                <a:gd name="connsiteY362" fmla="*/ 91906 h 93972"/>
                <a:gd name="connsiteX363" fmla="*/ 901390 w 1193687"/>
                <a:gd name="connsiteY363" fmla="*/ 93996 h 93972"/>
                <a:gd name="connsiteX364" fmla="*/ 971348 w 1193687"/>
                <a:gd name="connsiteY364" fmla="*/ 92524 h 93972"/>
                <a:gd name="connsiteX365" fmla="*/ 970010 w 1193687"/>
                <a:gd name="connsiteY365" fmla="*/ 91505 h 93972"/>
                <a:gd name="connsiteX366" fmla="*/ 970010 w 1193687"/>
                <a:gd name="connsiteY366" fmla="*/ 91187 h 93972"/>
                <a:gd name="connsiteX367" fmla="*/ 970010 w 1193687"/>
                <a:gd name="connsiteY367" fmla="*/ 13457 h 93972"/>
                <a:gd name="connsiteX368" fmla="*/ 969407 w 1193687"/>
                <a:gd name="connsiteY368" fmla="*/ 12654 h 93972"/>
                <a:gd name="connsiteX369" fmla="*/ 969207 w 1193687"/>
                <a:gd name="connsiteY369" fmla="*/ 12654 h 93972"/>
                <a:gd name="connsiteX370" fmla="*/ 944328 w 1193687"/>
                <a:gd name="connsiteY370" fmla="*/ 12654 h 93972"/>
                <a:gd name="connsiteX371" fmla="*/ 942990 w 1193687"/>
                <a:gd name="connsiteY371" fmla="*/ 11635 h 93972"/>
                <a:gd name="connsiteX372" fmla="*/ 942990 w 1193687"/>
                <a:gd name="connsiteY372" fmla="*/ 11316 h 93972"/>
                <a:gd name="connsiteX373" fmla="*/ 942990 w 1193687"/>
                <a:gd name="connsiteY373" fmla="*/ 2904 h 93972"/>
                <a:gd name="connsiteX374" fmla="*/ 944010 w 1193687"/>
                <a:gd name="connsiteY374" fmla="*/ 1567 h 93972"/>
                <a:gd name="connsiteX375" fmla="*/ 944328 w 1193687"/>
                <a:gd name="connsiteY375" fmla="*/ 1567 h 93972"/>
                <a:gd name="connsiteX376" fmla="*/ 1007597 w 1193687"/>
                <a:gd name="connsiteY376" fmla="*/ 1567 h 93972"/>
                <a:gd name="connsiteX377" fmla="*/ 1008935 w 1193687"/>
                <a:gd name="connsiteY377" fmla="*/ 2586 h 93972"/>
                <a:gd name="connsiteX378" fmla="*/ 1008935 w 1193687"/>
                <a:gd name="connsiteY378" fmla="*/ 2904 h 93972"/>
                <a:gd name="connsiteX379" fmla="*/ 1008935 w 1193687"/>
                <a:gd name="connsiteY379" fmla="*/ 11331 h 93972"/>
                <a:gd name="connsiteX380" fmla="*/ 1007915 w 1193687"/>
                <a:gd name="connsiteY380" fmla="*/ 12669 h 93972"/>
                <a:gd name="connsiteX381" fmla="*/ 1007597 w 1193687"/>
                <a:gd name="connsiteY381" fmla="*/ 12669 h 93972"/>
                <a:gd name="connsiteX382" fmla="*/ 982717 w 1193687"/>
                <a:gd name="connsiteY382" fmla="*/ 12669 h 93972"/>
                <a:gd name="connsiteX383" fmla="*/ 981915 w 1193687"/>
                <a:gd name="connsiteY383" fmla="*/ 13273 h 93972"/>
                <a:gd name="connsiteX384" fmla="*/ 981915 w 1193687"/>
                <a:gd name="connsiteY384" fmla="*/ 13471 h 93972"/>
                <a:gd name="connsiteX385" fmla="*/ 981915 w 1193687"/>
                <a:gd name="connsiteY385" fmla="*/ 91187 h 93972"/>
                <a:gd name="connsiteX386" fmla="*/ 980895 w 1193687"/>
                <a:gd name="connsiteY386" fmla="*/ 92524 h 93972"/>
                <a:gd name="connsiteX387" fmla="*/ 980577 w 1193687"/>
                <a:gd name="connsiteY387" fmla="*/ 92524 h 93972"/>
                <a:gd name="connsiteX388" fmla="*/ 1023113 w 1193687"/>
                <a:gd name="connsiteY388" fmla="*/ 2904 h 93972"/>
                <a:gd name="connsiteX389" fmla="*/ 1024133 w 1193687"/>
                <a:gd name="connsiteY389" fmla="*/ 1567 h 93972"/>
                <a:gd name="connsiteX390" fmla="*/ 1024451 w 1193687"/>
                <a:gd name="connsiteY390" fmla="*/ 1567 h 93972"/>
                <a:gd name="connsiteX391" fmla="*/ 1033666 w 1193687"/>
                <a:gd name="connsiteY391" fmla="*/ 1567 h 93972"/>
                <a:gd name="connsiteX392" fmla="*/ 1035003 w 1193687"/>
                <a:gd name="connsiteY392" fmla="*/ 2586 h 93972"/>
                <a:gd name="connsiteX393" fmla="*/ 1035003 w 1193687"/>
                <a:gd name="connsiteY393" fmla="*/ 2904 h 93972"/>
                <a:gd name="connsiteX394" fmla="*/ 1035003 w 1193687"/>
                <a:gd name="connsiteY394" fmla="*/ 91187 h 93972"/>
                <a:gd name="connsiteX395" fmla="*/ 1033984 w 1193687"/>
                <a:gd name="connsiteY395" fmla="*/ 92524 h 93972"/>
                <a:gd name="connsiteX396" fmla="*/ 1033666 w 1193687"/>
                <a:gd name="connsiteY396" fmla="*/ 92524 h 93972"/>
                <a:gd name="connsiteX397" fmla="*/ 1024451 w 1193687"/>
                <a:gd name="connsiteY397" fmla="*/ 92524 h 93972"/>
                <a:gd name="connsiteX398" fmla="*/ 1023113 w 1193687"/>
                <a:gd name="connsiteY398" fmla="*/ 91505 h 93972"/>
                <a:gd name="connsiteX399" fmla="*/ 1023113 w 1193687"/>
                <a:gd name="connsiteY399" fmla="*/ 91187 h 93972"/>
                <a:gd name="connsiteX400" fmla="*/ 1056702 w 1193687"/>
                <a:gd name="connsiteY400" fmla="*/ 72594 h 93972"/>
                <a:gd name="connsiteX401" fmla="*/ 1055564 w 1193687"/>
                <a:gd name="connsiteY401" fmla="*/ 68516 h 93972"/>
                <a:gd name="connsiteX402" fmla="*/ 1054830 w 1193687"/>
                <a:gd name="connsiteY402" fmla="*/ 63567 h 93972"/>
                <a:gd name="connsiteX403" fmla="*/ 1054428 w 1193687"/>
                <a:gd name="connsiteY403" fmla="*/ 56676 h 93972"/>
                <a:gd name="connsiteX404" fmla="*/ 1054295 w 1193687"/>
                <a:gd name="connsiteY404" fmla="*/ 47046 h 93972"/>
                <a:gd name="connsiteX405" fmla="*/ 1054428 w 1193687"/>
                <a:gd name="connsiteY405" fmla="*/ 37415 h 93972"/>
                <a:gd name="connsiteX406" fmla="*/ 1054830 w 1193687"/>
                <a:gd name="connsiteY406" fmla="*/ 30527 h 93972"/>
                <a:gd name="connsiteX407" fmla="*/ 1055564 w 1193687"/>
                <a:gd name="connsiteY407" fmla="*/ 25578 h 93972"/>
                <a:gd name="connsiteX408" fmla="*/ 1056702 w 1193687"/>
                <a:gd name="connsiteY408" fmla="*/ 21500 h 93972"/>
                <a:gd name="connsiteX409" fmla="*/ 1067938 w 1193687"/>
                <a:gd name="connsiteY409" fmla="*/ 5383 h 93972"/>
                <a:gd name="connsiteX410" fmla="*/ 1086932 w 1193687"/>
                <a:gd name="connsiteY410" fmla="*/ 98 h 93972"/>
                <a:gd name="connsiteX411" fmla="*/ 1104654 w 1193687"/>
                <a:gd name="connsiteY411" fmla="*/ 4854 h 93972"/>
                <a:gd name="connsiteX412" fmla="*/ 1116092 w 1193687"/>
                <a:gd name="connsiteY412" fmla="*/ 18429 h 93972"/>
                <a:gd name="connsiteX413" fmla="*/ 1115557 w 1193687"/>
                <a:gd name="connsiteY413" fmla="*/ 20168 h 93972"/>
                <a:gd name="connsiteX414" fmla="*/ 1107532 w 1193687"/>
                <a:gd name="connsiteY414" fmla="*/ 24047 h 93972"/>
                <a:gd name="connsiteX415" fmla="*/ 1105867 w 1193687"/>
                <a:gd name="connsiteY415" fmla="*/ 23816 h 93972"/>
                <a:gd name="connsiteX416" fmla="*/ 1105659 w 1193687"/>
                <a:gd name="connsiteY416" fmla="*/ 23379 h 93972"/>
                <a:gd name="connsiteX417" fmla="*/ 1098570 w 1193687"/>
                <a:gd name="connsiteY417" fmla="*/ 14619 h 93972"/>
                <a:gd name="connsiteX418" fmla="*/ 1086932 w 1193687"/>
                <a:gd name="connsiteY418" fmla="*/ 11209 h 93972"/>
                <a:gd name="connsiteX419" fmla="*/ 1074894 w 1193687"/>
                <a:gd name="connsiteY419" fmla="*/ 14687 h 93972"/>
                <a:gd name="connsiteX420" fmla="*/ 1068057 w 1193687"/>
                <a:gd name="connsiteY420" fmla="*/ 24585 h 93972"/>
                <a:gd name="connsiteX421" fmla="*/ 1067323 w 1193687"/>
                <a:gd name="connsiteY421" fmla="*/ 27730 h 93972"/>
                <a:gd name="connsiteX422" fmla="*/ 1066788 w 1193687"/>
                <a:gd name="connsiteY422" fmla="*/ 31892 h 93972"/>
                <a:gd name="connsiteX423" fmla="*/ 1066455 w 1193687"/>
                <a:gd name="connsiteY423" fmla="*/ 38045 h 93972"/>
                <a:gd name="connsiteX424" fmla="*/ 1066321 w 1193687"/>
                <a:gd name="connsiteY424" fmla="*/ 47075 h 93972"/>
                <a:gd name="connsiteX425" fmla="*/ 1066455 w 1193687"/>
                <a:gd name="connsiteY425" fmla="*/ 56103 h 93972"/>
                <a:gd name="connsiteX426" fmla="*/ 1066788 w 1193687"/>
                <a:gd name="connsiteY426" fmla="*/ 62256 h 93972"/>
                <a:gd name="connsiteX427" fmla="*/ 1067323 w 1193687"/>
                <a:gd name="connsiteY427" fmla="*/ 66471 h 93972"/>
                <a:gd name="connsiteX428" fmla="*/ 1068057 w 1193687"/>
                <a:gd name="connsiteY428" fmla="*/ 69547 h 93972"/>
                <a:gd name="connsiteX429" fmla="*/ 1074894 w 1193687"/>
                <a:gd name="connsiteY429" fmla="*/ 79446 h 93972"/>
                <a:gd name="connsiteX430" fmla="*/ 1086932 w 1193687"/>
                <a:gd name="connsiteY430" fmla="*/ 82923 h 93972"/>
                <a:gd name="connsiteX431" fmla="*/ 1098570 w 1193687"/>
                <a:gd name="connsiteY431" fmla="*/ 79511 h 93972"/>
                <a:gd name="connsiteX432" fmla="*/ 1105659 w 1193687"/>
                <a:gd name="connsiteY432" fmla="*/ 70751 h 93972"/>
                <a:gd name="connsiteX433" fmla="*/ 1107095 w 1193687"/>
                <a:gd name="connsiteY433" fmla="*/ 69875 h 93972"/>
                <a:gd name="connsiteX434" fmla="*/ 1107532 w 1193687"/>
                <a:gd name="connsiteY434" fmla="*/ 70082 h 93972"/>
                <a:gd name="connsiteX435" fmla="*/ 1115557 w 1193687"/>
                <a:gd name="connsiteY435" fmla="*/ 73946 h 93972"/>
                <a:gd name="connsiteX436" fmla="*/ 1116092 w 1193687"/>
                <a:gd name="connsiteY436" fmla="*/ 75685 h 93972"/>
                <a:gd name="connsiteX437" fmla="*/ 1104654 w 1193687"/>
                <a:gd name="connsiteY437" fmla="*/ 89261 h 93972"/>
                <a:gd name="connsiteX438" fmla="*/ 1086932 w 1193687"/>
                <a:gd name="connsiteY438" fmla="*/ 94017 h 93972"/>
                <a:gd name="connsiteX439" fmla="*/ 1067938 w 1193687"/>
                <a:gd name="connsiteY439" fmla="*/ 88732 h 93972"/>
                <a:gd name="connsiteX440" fmla="*/ 1056687 w 1193687"/>
                <a:gd name="connsiteY440" fmla="*/ 72609 h 93972"/>
                <a:gd name="connsiteX441" fmla="*/ 1160769 w 1193687"/>
                <a:gd name="connsiteY441" fmla="*/ 93996 h 93972"/>
                <a:gd name="connsiteX442" fmla="*/ 1151272 w 1193687"/>
                <a:gd name="connsiteY442" fmla="*/ 93059 h 93972"/>
                <a:gd name="connsiteX443" fmla="*/ 1142443 w 1193687"/>
                <a:gd name="connsiteY443" fmla="*/ 90583 h 93972"/>
                <a:gd name="connsiteX444" fmla="*/ 1134819 w 1193687"/>
                <a:gd name="connsiteY444" fmla="*/ 86972 h 93972"/>
                <a:gd name="connsiteX445" fmla="*/ 1128785 w 1193687"/>
                <a:gd name="connsiteY445" fmla="*/ 82626 h 93972"/>
                <a:gd name="connsiteX446" fmla="*/ 1128589 w 1193687"/>
                <a:gd name="connsiteY446" fmla="*/ 80689 h 93972"/>
                <a:gd name="connsiteX447" fmla="*/ 1128651 w 1193687"/>
                <a:gd name="connsiteY447" fmla="*/ 80620 h 93972"/>
                <a:gd name="connsiteX448" fmla="*/ 1134537 w 1193687"/>
                <a:gd name="connsiteY448" fmla="*/ 73664 h 93972"/>
                <a:gd name="connsiteX449" fmla="*/ 1136246 w 1193687"/>
                <a:gd name="connsiteY449" fmla="*/ 73389 h 93972"/>
                <a:gd name="connsiteX450" fmla="*/ 1136409 w 1193687"/>
                <a:gd name="connsiteY450" fmla="*/ 73530 h 93972"/>
                <a:gd name="connsiteX451" fmla="*/ 1147378 w 1193687"/>
                <a:gd name="connsiteY451" fmla="*/ 79951 h 93972"/>
                <a:gd name="connsiteX452" fmla="*/ 1161824 w 1193687"/>
                <a:gd name="connsiteY452" fmla="*/ 82894 h 93972"/>
                <a:gd name="connsiteX453" fmla="*/ 1176606 w 1193687"/>
                <a:gd name="connsiteY453" fmla="*/ 78613 h 93972"/>
                <a:gd name="connsiteX454" fmla="*/ 1181888 w 1193687"/>
                <a:gd name="connsiteY454" fmla="*/ 67377 h 93972"/>
                <a:gd name="connsiteX455" fmla="*/ 1180952 w 1193687"/>
                <a:gd name="connsiteY455" fmla="*/ 62027 h 93972"/>
                <a:gd name="connsiteX456" fmla="*/ 1177810 w 1193687"/>
                <a:gd name="connsiteY456" fmla="*/ 57746 h 93972"/>
                <a:gd name="connsiteX457" fmla="*/ 1171990 w 1193687"/>
                <a:gd name="connsiteY457" fmla="*/ 54536 h 93972"/>
                <a:gd name="connsiteX458" fmla="*/ 1162894 w 1193687"/>
                <a:gd name="connsiteY458" fmla="*/ 52530 h 93972"/>
                <a:gd name="connsiteX459" fmla="*/ 1158346 w 1193687"/>
                <a:gd name="connsiteY459" fmla="*/ 51861 h 93972"/>
                <a:gd name="connsiteX460" fmla="*/ 1131594 w 1193687"/>
                <a:gd name="connsiteY460" fmla="*/ 26714 h 93972"/>
                <a:gd name="connsiteX461" fmla="*/ 1133675 w 1193687"/>
                <a:gd name="connsiteY461" fmla="*/ 15745 h 93972"/>
                <a:gd name="connsiteX462" fmla="*/ 1139620 w 1193687"/>
                <a:gd name="connsiteY462" fmla="*/ 7318 h 93972"/>
                <a:gd name="connsiteX463" fmla="*/ 1148983 w 1193687"/>
                <a:gd name="connsiteY463" fmla="*/ 1968 h 93972"/>
                <a:gd name="connsiteX464" fmla="*/ 1161289 w 1193687"/>
                <a:gd name="connsiteY464" fmla="*/ 95 h 93972"/>
                <a:gd name="connsiteX465" fmla="*/ 1176603 w 1193687"/>
                <a:gd name="connsiteY465" fmla="*/ 2435 h 93972"/>
                <a:gd name="connsiteX466" fmla="*/ 1188978 w 1193687"/>
                <a:gd name="connsiteY466" fmla="*/ 8522 h 93972"/>
                <a:gd name="connsiteX467" fmla="*/ 1189435 w 1193687"/>
                <a:gd name="connsiteY467" fmla="*/ 10140 h 93972"/>
                <a:gd name="connsiteX468" fmla="*/ 1189245 w 1193687"/>
                <a:gd name="connsiteY468" fmla="*/ 10395 h 93972"/>
                <a:gd name="connsiteX469" fmla="*/ 1184697 w 1193687"/>
                <a:gd name="connsiteY469" fmla="*/ 17752 h 93972"/>
                <a:gd name="connsiteX470" fmla="*/ 1182881 w 1193687"/>
                <a:gd name="connsiteY470" fmla="*/ 18063 h 93972"/>
                <a:gd name="connsiteX471" fmla="*/ 1182825 w 1193687"/>
                <a:gd name="connsiteY471" fmla="*/ 18019 h 93972"/>
                <a:gd name="connsiteX472" fmla="*/ 1171990 w 1193687"/>
                <a:gd name="connsiteY472" fmla="*/ 12862 h 93972"/>
                <a:gd name="connsiteX473" fmla="*/ 1160888 w 1193687"/>
                <a:gd name="connsiteY473" fmla="*/ 11197 h 93972"/>
                <a:gd name="connsiteX474" fmla="*/ 1148047 w 1193687"/>
                <a:gd name="connsiteY474" fmla="*/ 15276 h 93972"/>
                <a:gd name="connsiteX475" fmla="*/ 1143647 w 1193687"/>
                <a:gd name="connsiteY475" fmla="*/ 25911 h 93972"/>
                <a:gd name="connsiteX476" fmla="*/ 1147928 w 1193687"/>
                <a:gd name="connsiteY476" fmla="*/ 35340 h 93972"/>
                <a:gd name="connsiteX477" fmla="*/ 1162760 w 1193687"/>
                <a:gd name="connsiteY477" fmla="*/ 40506 h 93972"/>
                <a:gd name="connsiteX478" fmla="*/ 1167174 w 1193687"/>
                <a:gd name="connsiteY478" fmla="*/ 41175 h 93972"/>
                <a:gd name="connsiteX479" fmla="*/ 1187239 w 1193687"/>
                <a:gd name="connsiteY479" fmla="*/ 49201 h 93972"/>
                <a:gd name="connsiteX480" fmla="*/ 1193927 w 1193687"/>
                <a:gd name="connsiteY480" fmla="*/ 66590 h 93972"/>
                <a:gd name="connsiteX481" fmla="*/ 1191846 w 1193687"/>
                <a:gd name="connsiteY481" fmla="*/ 77623 h 93972"/>
                <a:gd name="connsiteX482" fmla="*/ 1185559 w 1193687"/>
                <a:gd name="connsiteY482" fmla="*/ 86244 h 93972"/>
                <a:gd name="connsiteX483" fmla="*/ 1175126 w 1193687"/>
                <a:gd name="connsiteY483" fmla="*/ 91930 h 93972"/>
                <a:gd name="connsiteX484" fmla="*/ 1160754 w 1193687"/>
                <a:gd name="connsiteY484" fmla="*/ 93996 h 93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Lst>
              <a:rect l="l" t="t" r="r" b="b"/>
              <a:pathLst>
                <a:path w="1193687" h="93972">
                  <a:moveTo>
                    <a:pt x="31941" y="2904"/>
                  </a:moveTo>
                  <a:cubicBezTo>
                    <a:pt x="32072" y="2123"/>
                    <a:pt x="32754" y="1556"/>
                    <a:pt x="33546" y="1567"/>
                  </a:cubicBezTo>
                  <a:lnTo>
                    <a:pt x="42240" y="1567"/>
                  </a:lnTo>
                  <a:cubicBezTo>
                    <a:pt x="43071" y="1520"/>
                    <a:pt x="43811" y="2089"/>
                    <a:pt x="43979" y="2904"/>
                  </a:cubicBezTo>
                  <a:lnTo>
                    <a:pt x="75145" y="91187"/>
                  </a:lnTo>
                  <a:cubicBezTo>
                    <a:pt x="75413" y="92079"/>
                    <a:pt x="75101" y="92524"/>
                    <a:pt x="74209" y="92524"/>
                  </a:cubicBezTo>
                  <a:lnTo>
                    <a:pt x="64846" y="92524"/>
                  </a:lnTo>
                  <a:cubicBezTo>
                    <a:pt x="64015" y="92571"/>
                    <a:pt x="63275" y="92002"/>
                    <a:pt x="63107" y="91187"/>
                  </a:cubicBezTo>
                  <a:lnTo>
                    <a:pt x="56151" y="71390"/>
                  </a:lnTo>
                  <a:lnTo>
                    <a:pt x="19367" y="71390"/>
                  </a:lnTo>
                  <a:lnTo>
                    <a:pt x="12411" y="91187"/>
                  </a:lnTo>
                  <a:cubicBezTo>
                    <a:pt x="12197" y="91972"/>
                    <a:pt x="11486" y="92518"/>
                    <a:pt x="10672" y="92524"/>
                  </a:cubicBezTo>
                  <a:lnTo>
                    <a:pt x="1309" y="92524"/>
                  </a:lnTo>
                  <a:cubicBezTo>
                    <a:pt x="417" y="92524"/>
                    <a:pt x="105" y="92079"/>
                    <a:pt x="373" y="91187"/>
                  </a:cubicBezTo>
                  <a:close/>
                  <a:moveTo>
                    <a:pt x="52272" y="60422"/>
                  </a:moveTo>
                  <a:lnTo>
                    <a:pt x="37960" y="19089"/>
                  </a:lnTo>
                  <a:lnTo>
                    <a:pt x="37692" y="19089"/>
                  </a:lnTo>
                  <a:lnTo>
                    <a:pt x="23246" y="60422"/>
                  </a:lnTo>
                  <a:close/>
                  <a:moveTo>
                    <a:pt x="105911" y="92524"/>
                  </a:moveTo>
                  <a:cubicBezTo>
                    <a:pt x="105119" y="92535"/>
                    <a:pt x="104437" y="91968"/>
                    <a:pt x="104305" y="91187"/>
                  </a:cubicBezTo>
                  <a:lnTo>
                    <a:pt x="74878" y="3172"/>
                  </a:lnTo>
                  <a:cubicBezTo>
                    <a:pt x="74695" y="2791"/>
                    <a:pt x="74695" y="2348"/>
                    <a:pt x="74878" y="1968"/>
                  </a:cubicBezTo>
                  <a:cubicBezTo>
                    <a:pt x="75099" y="1680"/>
                    <a:pt x="75453" y="1528"/>
                    <a:pt x="75814" y="1567"/>
                  </a:cubicBezTo>
                  <a:lnTo>
                    <a:pt x="84910" y="1567"/>
                  </a:lnTo>
                  <a:cubicBezTo>
                    <a:pt x="85780" y="1487"/>
                    <a:pt x="86576" y="2056"/>
                    <a:pt x="86783" y="2904"/>
                  </a:cubicBezTo>
                  <a:lnTo>
                    <a:pt x="110057" y="73129"/>
                  </a:lnTo>
                  <a:lnTo>
                    <a:pt x="110325" y="73129"/>
                  </a:lnTo>
                  <a:lnTo>
                    <a:pt x="132797" y="2904"/>
                  </a:lnTo>
                  <a:cubicBezTo>
                    <a:pt x="132965" y="2089"/>
                    <a:pt x="133704" y="1520"/>
                    <a:pt x="134536" y="1567"/>
                  </a:cubicBezTo>
                  <a:lnTo>
                    <a:pt x="143750" y="1567"/>
                  </a:lnTo>
                  <a:cubicBezTo>
                    <a:pt x="144741" y="1567"/>
                    <a:pt x="145053" y="2102"/>
                    <a:pt x="144687" y="3172"/>
                  </a:cubicBezTo>
                  <a:lnTo>
                    <a:pt x="115408" y="91187"/>
                  </a:lnTo>
                  <a:cubicBezTo>
                    <a:pt x="115276" y="91968"/>
                    <a:pt x="114594" y="92535"/>
                    <a:pt x="113803" y="92524"/>
                  </a:cubicBezTo>
                  <a:close/>
                  <a:moveTo>
                    <a:pt x="158613" y="2904"/>
                  </a:moveTo>
                  <a:cubicBezTo>
                    <a:pt x="158525" y="2253"/>
                    <a:pt x="158981" y="1655"/>
                    <a:pt x="159632" y="1567"/>
                  </a:cubicBezTo>
                  <a:cubicBezTo>
                    <a:pt x="159737" y="1552"/>
                    <a:pt x="159844" y="1552"/>
                    <a:pt x="159950" y="1567"/>
                  </a:cubicBezTo>
                  <a:lnTo>
                    <a:pt x="169165" y="1567"/>
                  </a:lnTo>
                  <a:cubicBezTo>
                    <a:pt x="169816" y="1479"/>
                    <a:pt x="170415" y="1935"/>
                    <a:pt x="170503" y="2586"/>
                  </a:cubicBezTo>
                  <a:cubicBezTo>
                    <a:pt x="170517" y="2691"/>
                    <a:pt x="170517" y="2798"/>
                    <a:pt x="170503" y="2904"/>
                  </a:cubicBezTo>
                  <a:lnTo>
                    <a:pt x="170503" y="91187"/>
                  </a:lnTo>
                  <a:cubicBezTo>
                    <a:pt x="170591" y="91837"/>
                    <a:pt x="170134" y="92436"/>
                    <a:pt x="169484" y="92524"/>
                  </a:cubicBezTo>
                  <a:cubicBezTo>
                    <a:pt x="169378" y="92539"/>
                    <a:pt x="169271" y="92539"/>
                    <a:pt x="169165" y="92524"/>
                  </a:cubicBezTo>
                  <a:lnTo>
                    <a:pt x="159950" y="92524"/>
                  </a:lnTo>
                  <a:cubicBezTo>
                    <a:pt x="159300" y="92612"/>
                    <a:pt x="158701" y="92156"/>
                    <a:pt x="158613" y="91505"/>
                  </a:cubicBezTo>
                  <a:cubicBezTo>
                    <a:pt x="158598" y="91400"/>
                    <a:pt x="158598" y="91293"/>
                    <a:pt x="158613" y="91187"/>
                  </a:cubicBezTo>
                  <a:close/>
                  <a:moveTo>
                    <a:pt x="216531" y="2904"/>
                  </a:moveTo>
                  <a:cubicBezTo>
                    <a:pt x="216663" y="2123"/>
                    <a:pt x="217345" y="1556"/>
                    <a:pt x="218137" y="1567"/>
                  </a:cubicBezTo>
                  <a:lnTo>
                    <a:pt x="226831" y="1567"/>
                  </a:lnTo>
                  <a:cubicBezTo>
                    <a:pt x="227662" y="1520"/>
                    <a:pt x="228402" y="2089"/>
                    <a:pt x="228570" y="2904"/>
                  </a:cubicBezTo>
                  <a:lnTo>
                    <a:pt x="259736" y="91187"/>
                  </a:lnTo>
                  <a:cubicBezTo>
                    <a:pt x="260004" y="92079"/>
                    <a:pt x="259692" y="92524"/>
                    <a:pt x="258800" y="92524"/>
                  </a:cubicBezTo>
                  <a:lnTo>
                    <a:pt x="249437" y="92524"/>
                  </a:lnTo>
                  <a:cubicBezTo>
                    <a:pt x="248606" y="92571"/>
                    <a:pt x="247866" y="92002"/>
                    <a:pt x="247698" y="91187"/>
                  </a:cubicBezTo>
                  <a:lnTo>
                    <a:pt x="240742" y="71390"/>
                  </a:lnTo>
                  <a:lnTo>
                    <a:pt x="203958" y="71390"/>
                  </a:lnTo>
                  <a:lnTo>
                    <a:pt x="197002" y="91187"/>
                  </a:lnTo>
                  <a:cubicBezTo>
                    <a:pt x="196788" y="91972"/>
                    <a:pt x="196077" y="92518"/>
                    <a:pt x="195263" y="92524"/>
                  </a:cubicBezTo>
                  <a:lnTo>
                    <a:pt x="185900" y="92524"/>
                  </a:lnTo>
                  <a:cubicBezTo>
                    <a:pt x="185008" y="92524"/>
                    <a:pt x="184696" y="92079"/>
                    <a:pt x="184964" y="91187"/>
                  </a:cubicBezTo>
                  <a:close/>
                  <a:moveTo>
                    <a:pt x="236863" y="60422"/>
                  </a:moveTo>
                  <a:lnTo>
                    <a:pt x="222551" y="19089"/>
                  </a:lnTo>
                  <a:lnTo>
                    <a:pt x="222283" y="19089"/>
                  </a:lnTo>
                  <a:lnTo>
                    <a:pt x="207837" y="60422"/>
                  </a:lnTo>
                  <a:close/>
                  <a:moveTo>
                    <a:pt x="284616" y="92524"/>
                  </a:moveTo>
                  <a:cubicBezTo>
                    <a:pt x="283965" y="92612"/>
                    <a:pt x="283366" y="92156"/>
                    <a:pt x="283278" y="91505"/>
                  </a:cubicBezTo>
                  <a:cubicBezTo>
                    <a:pt x="283264" y="91400"/>
                    <a:pt x="283264" y="91293"/>
                    <a:pt x="283278" y="91187"/>
                  </a:cubicBezTo>
                  <a:lnTo>
                    <a:pt x="283278" y="13457"/>
                  </a:lnTo>
                  <a:cubicBezTo>
                    <a:pt x="283333" y="13068"/>
                    <a:pt x="283063" y="12709"/>
                    <a:pt x="282674" y="12654"/>
                  </a:cubicBezTo>
                  <a:cubicBezTo>
                    <a:pt x="282608" y="12645"/>
                    <a:pt x="282542" y="12645"/>
                    <a:pt x="282476" y="12654"/>
                  </a:cubicBezTo>
                  <a:lnTo>
                    <a:pt x="257596" y="12654"/>
                  </a:lnTo>
                  <a:cubicBezTo>
                    <a:pt x="256946" y="12742"/>
                    <a:pt x="256347" y="12286"/>
                    <a:pt x="256259" y="11635"/>
                  </a:cubicBezTo>
                  <a:cubicBezTo>
                    <a:pt x="256244" y="11529"/>
                    <a:pt x="256244" y="11422"/>
                    <a:pt x="256259" y="11316"/>
                  </a:cubicBezTo>
                  <a:lnTo>
                    <a:pt x="256259" y="2904"/>
                  </a:lnTo>
                  <a:cubicBezTo>
                    <a:pt x="256171" y="2253"/>
                    <a:pt x="256627" y="1655"/>
                    <a:pt x="257278" y="1567"/>
                  </a:cubicBezTo>
                  <a:cubicBezTo>
                    <a:pt x="257383" y="1552"/>
                    <a:pt x="257490" y="1552"/>
                    <a:pt x="257596" y="1567"/>
                  </a:cubicBezTo>
                  <a:lnTo>
                    <a:pt x="320865" y="1567"/>
                  </a:lnTo>
                  <a:cubicBezTo>
                    <a:pt x="321516" y="1479"/>
                    <a:pt x="322114" y="1935"/>
                    <a:pt x="322203" y="2586"/>
                  </a:cubicBezTo>
                  <a:cubicBezTo>
                    <a:pt x="322218" y="2691"/>
                    <a:pt x="322218" y="2798"/>
                    <a:pt x="322203" y="2904"/>
                  </a:cubicBezTo>
                  <a:lnTo>
                    <a:pt x="322203" y="11331"/>
                  </a:lnTo>
                  <a:cubicBezTo>
                    <a:pt x="322292" y="11982"/>
                    <a:pt x="321834" y="12581"/>
                    <a:pt x="321183" y="12669"/>
                  </a:cubicBezTo>
                  <a:cubicBezTo>
                    <a:pt x="321079" y="12683"/>
                    <a:pt x="320972" y="12683"/>
                    <a:pt x="320865" y="12669"/>
                  </a:cubicBezTo>
                  <a:lnTo>
                    <a:pt x="295986" y="12669"/>
                  </a:lnTo>
                  <a:cubicBezTo>
                    <a:pt x="295596" y="12614"/>
                    <a:pt x="295237" y="12885"/>
                    <a:pt x="295183" y="13273"/>
                  </a:cubicBezTo>
                  <a:cubicBezTo>
                    <a:pt x="295174" y="13339"/>
                    <a:pt x="295174" y="13406"/>
                    <a:pt x="295183" y="13471"/>
                  </a:cubicBezTo>
                  <a:lnTo>
                    <a:pt x="295183" y="91187"/>
                  </a:lnTo>
                  <a:cubicBezTo>
                    <a:pt x="295272" y="91837"/>
                    <a:pt x="294815" y="92436"/>
                    <a:pt x="294164" y="92524"/>
                  </a:cubicBezTo>
                  <a:cubicBezTo>
                    <a:pt x="294058" y="92539"/>
                    <a:pt x="293951" y="92539"/>
                    <a:pt x="293846" y="92524"/>
                  </a:cubicBezTo>
                  <a:close/>
                  <a:moveTo>
                    <a:pt x="336382" y="2904"/>
                  </a:moveTo>
                  <a:cubicBezTo>
                    <a:pt x="336293" y="2253"/>
                    <a:pt x="336750" y="1655"/>
                    <a:pt x="337401" y="1567"/>
                  </a:cubicBezTo>
                  <a:cubicBezTo>
                    <a:pt x="337505" y="1552"/>
                    <a:pt x="337612" y="1552"/>
                    <a:pt x="337719" y="1567"/>
                  </a:cubicBezTo>
                  <a:lnTo>
                    <a:pt x="346934" y="1567"/>
                  </a:lnTo>
                  <a:cubicBezTo>
                    <a:pt x="347585" y="1479"/>
                    <a:pt x="348182" y="1935"/>
                    <a:pt x="348272" y="2586"/>
                  </a:cubicBezTo>
                  <a:cubicBezTo>
                    <a:pt x="348286" y="2691"/>
                    <a:pt x="348286" y="2798"/>
                    <a:pt x="348272" y="2904"/>
                  </a:cubicBezTo>
                  <a:lnTo>
                    <a:pt x="348272" y="91187"/>
                  </a:lnTo>
                  <a:cubicBezTo>
                    <a:pt x="348361" y="91837"/>
                    <a:pt x="347903" y="92436"/>
                    <a:pt x="347252" y="92524"/>
                  </a:cubicBezTo>
                  <a:cubicBezTo>
                    <a:pt x="347148" y="92539"/>
                    <a:pt x="347041" y="92539"/>
                    <a:pt x="346934" y="92524"/>
                  </a:cubicBezTo>
                  <a:lnTo>
                    <a:pt x="337719" y="92524"/>
                  </a:lnTo>
                  <a:cubicBezTo>
                    <a:pt x="337068" y="92612"/>
                    <a:pt x="336471" y="92156"/>
                    <a:pt x="336382" y="91505"/>
                  </a:cubicBezTo>
                  <a:cubicBezTo>
                    <a:pt x="336367" y="91400"/>
                    <a:pt x="336367" y="91293"/>
                    <a:pt x="336382" y="91187"/>
                  </a:cubicBezTo>
                  <a:close/>
                  <a:moveTo>
                    <a:pt x="400855" y="93996"/>
                  </a:moveTo>
                  <a:cubicBezTo>
                    <a:pt x="393976" y="94218"/>
                    <a:pt x="387190" y="92353"/>
                    <a:pt x="381391" y="88645"/>
                  </a:cubicBezTo>
                  <a:cubicBezTo>
                    <a:pt x="375877" y="84796"/>
                    <a:pt x="371843" y="79181"/>
                    <a:pt x="369956" y="72728"/>
                  </a:cubicBezTo>
                  <a:cubicBezTo>
                    <a:pt x="369504" y="71362"/>
                    <a:pt x="369124" y="69973"/>
                    <a:pt x="368820" y="68566"/>
                  </a:cubicBezTo>
                  <a:cubicBezTo>
                    <a:pt x="368473" y="66911"/>
                    <a:pt x="368229" y="65236"/>
                    <a:pt x="368083" y="63552"/>
                  </a:cubicBezTo>
                  <a:cubicBezTo>
                    <a:pt x="367905" y="61635"/>
                    <a:pt x="367771" y="59339"/>
                    <a:pt x="367682" y="56661"/>
                  </a:cubicBezTo>
                  <a:cubicBezTo>
                    <a:pt x="367593" y="53984"/>
                    <a:pt x="367542" y="50779"/>
                    <a:pt x="367533" y="47046"/>
                  </a:cubicBezTo>
                  <a:cubicBezTo>
                    <a:pt x="367533" y="43300"/>
                    <a:pt x="367578" y="40090"/>
                    <a:pt x="367667" y="37415"/>
                  </a:cubicBezTo>
                  <a:cubicBezTo>
                    <a:pt x="367756" y="34739"/>
                    <a:pt x="367890" y="32444"/>
                    <a:pt x="368068" y="30527"/>
                  </a:cubicBezTo>
                  <a:cubicBezTo>
                    <a:pt x="368214" y="28843"/>
                    <a:pt x="368458" y="27168"/>
                    <a:pt x="368805" y="25513"/>
                  </a:cubicBezTo>
                  <a:cubicBezTo>
                    <a:pt x="369109" y="24107"/>
                    <a:pt x="369489" y="22717"/>
                    <a:pt x="369941" y="21351"/>
                  </a:cubicBezTo>
                  <a:cubicBezTo>
                    <a:pt x="371831" y="14895"/>
                    <a:pt x="375871" y="9279"/>
                    <a:pt x="381391" y="5431"/>
                  </a:cubicBezTo>
                  <a:cubicBezTo>
                    <a:pt x="393432" y="-1703"/>
                    <a:pt x="408408" y="-1703"/>
                    <a:pt x="420449" y="5431"/>
                  </a:cubicBezTo>
                  <a:cubicBezTo>
                    <a:pt x="425963" y="9280"/>
                    <a:pt x="429997" y="14895"/>
                    <a:pt x="431887" y="21348"/>
                  </a:cubicBezTo>
                  <a:cubicBezTo>
                    <a:pt x="432339" y="22714"/>
                    <a:pt x="432720" y="24104"/>
                    <a:pt x="433023" y="25510"/>
                  </a:cubicBezTo>
                  <a:cubicBezTo>
                    <a:pt x="433371" y="27166"/>
                    <a:pt x="433614" y="28841"/>
                    <a:pt x="433760" y="30527"/>
                  </a:cubicBezTo>
                  <a:cubicBezTo>
                    <a:pt x="433938" y="32446"/>
                    <a:pt x="434072" y="34742"/>
                    <a:pt x="434161" y="37415"/>
                  </a:cubicBezTo>
                  <a:cubicBezTo>
                    <a:pt x="434251" y="40088"/>
                    <a:pt x="434295" y="43298"/>
                    <a:pt x="434295" y="47046"/>
                  </a:cubicBezTo>
                  <a:cubicBezTo>
                    <a:pt x="434295" y="50791"/>
                    <a:pt x="434251" y="54001"/>
                    <a:pt x="434161" y="56676"/>
                  </a:cubicBezTo>
                  <a:cubicBezTo>
                    <a:pt x="434072" y="59352"/>
                    <a:pt x="433938" y="61648"/>
                    <a:pt x="433760" y="63567"/>
                  </a:cubicBezTo>
                  <a:cubicBezTo>
                    <a:pt x="433614" y="65253"/>
                    <a:pt x="433371" y="66928"/>
                    <a:pt x="433023" y="68584"/>
                  </a:cubicBezTo>
                  <a:cubicBezTo>
                    <a:pt x="432720" y="69990"/>
                    <a:pt x="432339" y="71380"/>
                    <a:pt x="431887" y="72746"/>
                  </a:cubicBezTo>
                  <a:cubicBezTo>
                    <a:pt x="429997" y="79199"/>
                    <a:pt x="425963" y="84814"/>
                    <a:pt x="420449" y="88663"/>
                  </a:cubicBezTo>
                  <a:cubicBezTo>
                    <a:pt x="414605" y="92376"/>
                    <a:pt x="407775" y="94235"/>
                    <a:pt x="400855" y="93996"/>
                  </a:cubicBezTo>
                  <a:close/>
                  <a:moveTo>
                    <a:pt x="400855" y="82894"/>
                  </a:moveTo>
                  <a:cubicBezTo>
                    <a:pt x="405266" y="83088"/>
                    <a:pt x="409624" y="81870"/>
                    <a:pt x="413295" y="79416"/>
                  </a:cubicBezTo>
                  <a:cubicBezTo>
                    <a:pt x="416636" y="76911"/>
                    <a:pt x="419076" y="73391"/>
                    <a:pt x="420250" y="69384"/>
                  </a:cubicBezTo>
                  <a:cubicBezTo>
                    <a:pt x="420562" y="68398"/>
                    <a:pt x="420809" y="67392"/>
                    <a:pt x="420987" y="66373"/>
                  </a:cubicBezTo>
                  <a:cubicBezTo>
                    <a:pt x="421210" y="65168"/>
                    <a:pt x="421433" y="63674"/>
                    <a:pt x="421656" y="61893"/>
                  </a:cubicBezTo>
                  <a:cubicBezTo>
                    <a:pt x="421879" y="60112"/>
                    <a:pt x="422037" y="58016"/>
                    <a:pt x="422126" y="55606"/>
                  </a:cubicBezTo>
                  <a:cubicBezTo>
                    <a:pt x="422215" y="53199"/>
                    <a:pt x="422260" y="50345"/>
                    <a:pt x="422260" y="47046"/>
                  </a:cubicBezTo>
                  <a:cubicBezTo>
                    <a:pt x="422260" y="43746"/>
                    <a:pt x="422215" y="40892"/>
                    <a:pt x="422126" y="38485"/>
                  </a:cubicBezTo>
                  <a:cubicBezTo>
                    <a:pt x="422037" y="36077"/>
                    <a:pt x="421879" y="33981"/>
                    <a:pt x="421656" y="32198"/>
                  </a:cubicBezTo>
                  <a:cubicBezTo>
                    <a:pt x="421433" y="30415"/>
                    <a:pt x="421210" y="28921"/>
                    <a:pt x="420987" y="27718"/>
                  </a:cubicBezTo>
                  <a:cubicBezTo>
                    <a:pt x="420809" y="26699"/>
                    <a:pt x="420562" y="25693"/>
                    <a:pt x="420250" y="24707"/>
                  </a:cubicBezTo>
                  <a:cubicBezTo>
                    <a:pt x="419076" y="20699"/>
                    <a:pt x="416636" y="17180"/>
                    <a:pt x="413295" y="14675"/>
                  </a:cubicBezTo>
                  <a:cubicBezTo>
                    <a:pt x="409624" y="12221"/>
                    <a:pt x="405266" y="11003"/>
                    <a:pt x="400855" y="11197"/>
                  </a:cubicBezTo>
                  <a:cubicBezTo>
                    <a:pt x="396464" y="10996"/>
                    <a:pt x="392125" y="12215"/>
                    <a:pt x="388480" y="14675"/>
                  </a:cubicBezTo>
                  <a:cubicBezTo>
                    <a:pt x="385172" y="17198"/>
                    <a:pt x="382758" y="20714"/>
                    <a:pt x="381593" y="24707"/>
                  </a:cubicBezTo>
                  <a:cubicBezTo>
                    <a:pt x="381281" y="25693"/>
                    <a:pt x="381034" y="26699"/>
                    <a:pt x="380859" y="27718"/>
                  </a:cubicBezTo>
                  <a:cubicBezTo>
                    <a:pt x="380636" y="28921"/>
                    <a:pt x="380413" y="30415"/>
                    <a:pt x="380190" y="32198"/>
                  </a:cubicBezTo>
                  <a:cubicBezTo>
                    <a:pt x="379967" y="33981"/>
                    <a:pt x="379810" y="36077"/>
                    <a:pt x="379720" y="38485"/>
                  </a:cubicBezTo>
                  <a:cubicBezTo>
                    <a:pt x="379631" y="40892"/>
                    <a:pt x="379587" y="43746"/>
                    <a:pt x="379587" y="47046"/>
                  </a:cubicBezTo>
                  <a:cubicBezTo>
                    <a:pt x="379587" y="50345"/>
                    <a:pt x="379631" y="53199"/>
                    <a:pt x="379720" y="55606"/>
                  </a:cubicBezTo>
                  <a:cubicBezTo>
                    <a:pt x="379810" y="58014"/>
                    <a:pt x="379967" y="60110"/>
                    <a:pt x="380190" y="61893"/>
                  </a:cubicBezTo>
                  <a:cubicBezTo>
                    <a:pt x="380413" y="63677"/>
                    <a:pt x="380636" y="65170"/>
                    <a:pt x="380859" y="66373"/>
                  </a:cubicBezTo>
                  <a:cubicBezTo>
                    <a:pt x="381034" y="67392"/>
                    <a:pt x="381281" y="68398"/>
                    <a:pt x="381593" y="69384"/>
                  </a:cubicBezTo>
                  <a:cubicBezTo>
                    <a:pt x="382758" y="73377"/>
                    <a:pt x="385172" y="76893"/>
                    <a:pt x="388480" y="79416"/>
                  </a:cubicBezTo>
                  <a:cubicBezTo>
                    <a:pt x="392125" y="81876"/>
                    <a:pt x="396464" y="83095"/>
                    <a:pt x="400855" y="82894"/>
                  </a:cubicBezTo>
                  <a:close/>
                  <a:moveTo>
                    <a:pt x="453557" y="2904"/>
                  </a:moveTo>
                  <a:cubicBezTo>
                    <a:pt x="453468" y="2253"/>
                    <a:pt x="453925" y="1655"/>
                    <a:pt x="454576" y="1567"/>
                  </a:cubicBezTo>
                  <a:cubicBezTo>
                    <a:pt x="454680" y="1552"/>
                    <a:pt x="454787" y="1552"/>
                    <a:pt x="454894" y="1567"/>
                  </a:cubicBezTo>
                  <a:lnTo>
                    <a:pt x="463455" y="1567"/>
                  </a:lnTo>
                  <a:cubicBezTo>
                    <a:pt x="464415" y="1502"/>
                    <a:pt x="465319" y="2033"/>
                    <a:pt x="465729" y="2904"/>
                  </a:cubicBezTo>
                  <a:lnTo>
                    <a:pt x="506928" y="71123"/>
                  </a:lnTo>
                  <a:lnTo>
                    <a:pt x="507463" y="71123"/>
                  </a:lnTo>
                  <a:lnTo>
                    <a:pt x="507463" y="2904"/>
                  </a:lnTo>
                  <a:cubicBezTo>
                    <a:pt x="507373" y="2253"/>
                    <a:pt x="507831" y="1655"/>
                    <a:pt x="508482" y="1567"/>
                  </a:cubicBezTo>
                  <a:cubicBezTo>
                    <a:pt x="508586" y="1552"/>
                    <a:pt x="508693" y="1552"/>
                    <a:pt x="508800" y="1567"/>
                  </a:cubicBezTo>
                  <a:lnTo>
                    <a:pt x="517227" y="1567"/>
                  </a:lnTo>
                  <a:cubicBezTo>
                    <a:pt x="517878" y="1479"/>
                    <a:pt x="518476" y="1935"/>
                    <a:pt x="518565" y="2586"/>
                  </a:cubicBezTo>
                  <a:cubicBezTo>
                    <a:pt x="518580" y="2691"/>
                    <a:pt x="518580" y="2798"/>
                    <a:pt x="518565" y="2904"/>
                  </a:cubicBezTo>
                  <a:lnTo>
                    <a:pt x="518565" y="91187"/>
                  </a:lnTo>
                  <a:cubicBezTo>
                    <a:pt x="518654" y="91837"/>
                    <a:pt x="518196" y="92436"/>
                    <a:pt x="517545" y="92524"/>
                  </a:cubicBezTo>
                  <a:cubicBezTo>
                    <a:pt x="517441" y="92539"/>
                    <a:pt x="517334" y="92539"/>
                    <a:pt x="517227" y="92524"/>
                  </a:cubicBezTo>
                  <a:lnTo>
                    <a:pt x="508667" y="92524"/>
                  </a:lnTo>
                  <a:cubicBezTo>
                    <a:pt x="507706" y="92589"/>
                    <a:pt x="506803" y="92058"/>
                    <a:pt x="506393" y="91187"/>
                  </a:cubicBezTo>
                  <a:lnTo>
                    <a:pt x="465060" y="23236"/>
                  </a:lnTo>
                  <a:lnTo>
                    <a:pt x="464659" y="23236"/>
                  </a:lnTo>
                  <a:lnTo>
                    <a:pt x="464659" y="91187"/>
                  </a:lnTo>
                  <a:cubicBezTo>
                    <a:pt x="464748" y="91837"/>
                    <a:pt x="464290" y="92436"/>
                    <a:pt x="463639" y="92524"/>
                  </a:cubicBezTo>
                  <a:cubicBezTo>
                    <a:pt x="463535" y="92539"/>
                    <a:pt x="463428" y="92539"/>
                    <a:pt x="463321" y="92524"/>
                  </a:cubicBezTo>
                  <a:lnTo>
                    <a:pt x="454894" y="92524"/>
                  </a:lnTo>
                  <a:cubicBezTo>
                    <a:pt x="454243" y="92612"/>
                    <a:pt x="453646" y="92156"/>
                    <a:pt x="453557" y="91505"/>
                  </a:cubicBezTo>
                  <a:cubicBezTo>
                    <a:pt x="453542" y="91400"/>
                    <a:pt x="453542" y="91293"/>
                    <a:pt x="453557" y="91187"/>
                  </a:cubicBezTo>
                  <a:close/>
                  <a:moveTo>
                    <a:pt x="539164" y="79683"/>
                  </a:moveTo>
                  <a:cubicBezTo>
                    <a:pt x="539075" y="79033"/>
                    <a:pt x="539533" y="78434"/>
                    <a:pt x="540184" y="78346"/>
                  </a:cubicBezTo>
                  <a:cubicBezTo>
                    <a:pt x="540288" y="78331"/>
                    <a:pt x="540395" y="78331"/>
                    <a:pt x="540502" y="78346"/>
                  </a:cubicBezTo>
                  <a:lnTo>
                    <a:pt x="550668" y="78346"/>
                  </a:lnTo>
                  <a:cubicBezTo>
                    <a:pt x="551319" y="78258"/>
                    <a:pt x="551916" y="78714"/>
                    <a:pt x="552005" y="79365"/>
                  </a:cubicBezTo>
                  <a:cubicBezTo>
                    <a:pt x="552020" y="79470"/>
                    <a:pt x="552020" y="79577"/>
                    <a:pt x="552005" y="79683"/>
                  </a:cubicBezTo>
                  <a:lnTo>
                    <a:pt x="552005" y="91187"/>
                  </a:lnTo>
                  <a:cubicBezTo>
                    <a:pt x="552094" y="91837"/>
                    <a:pt x="551637" y="92436"/>
                    <a:pt x="550986" y="92524"/>
                  </a:cubicBezTo>
                  <a:cubicBezTo>
                    <a:pt x="550882" y="92539"/>
                    <a:pt x="550775" y="92539"/>
                    <a:pt x="550668" y="92524"/>
                  </a:cubicBezTo>
                  <a:lnTo>
                    <a:pt x="540502" y="92524"/>
                  </a:lnTo>
                  <a:cubicBezTo>
                    <a:pt x="539851" y="92612"/>
                    <a:pt x="539253" y="92156"/>
                    <a:pt x="539164" y="91505"/>
                  </a:cubicBezTo>
                  <a:cubicBezTo>
                    <a:pt x="539149" y="91400"/>
                    <a:pt x="539149" y="91293"/>
                    <a:pt x="539164" y="91187"/>
                  </a:cubicBezTo>
                  <a:close/>
                  <a:moveTo>
                    <a:pt x="601883" y="2904"/>
                  </a:moveTo>
                  <a:cubicBezTo>
                    <a:pt x="601794" y="2253"/>
                    <a:pt x="602252" y="1655"/>
                    <a:pt x="602903" y="1567"/>
                  </a:cubicBezTo>
                  <a:cubicBezTo>
                    <a:pt x="603007" y="1552"/>
                    <a:pt x="603114" y="1552"/>
                    <a:pt x="603221" y="1567"/>
                  </a:cubicBezTo>
                  <a:lnTo>
                    <a:pt x="612465" y="1567"/>
                  </a:lnTo>
                  <a:cubicBezTo>
                    <a:pt x="613116" y="1479"/>
                    <a:pt x="613714" y="1935"/>
                    <a:pt x="613803" y="2586"/>
                  </a:cubicBezTo>
                  <a:cubicBezTo>
                    <a:pt x="613818" y="2691"/>
                    <a:pt x="613818" y="2798"/>
                    <a:pt x="613803" y="2904"/>
                  </a:cubicBezTo>
                  <a:lnTo>
                    <a:pt x="613803" y="80620"/>
                  </a:lnTo>
                  <a:cubicBezTo>
                    <a:pt x="613750" y="81008"/>
                    <a:pt x="614020" y="81368"/>
                    <a:pt x="614406" y="81422"/>
                  </a:cubicBezTo>
                  <a:cubicBezTo>
                    <a:pt x="614472" y="81431"/>
                    <a:pt x="614540" y="81431"/>
                    <a:pt x="614606" y="81422"/>
                  </a:cubicBezTo>
                  <a:lnTo>
                    <a:pt x="657944" y="81422"/>
                  </a:lnTo>
                  <a:cubicBezTo>
                    <a:pt x="658595" y="81334"/>
                    <a:pt x="659193" y="81791"/>
                    <a:pt x="659282" y="82441"/>
                  </a:cubicBezTo>
                  <a:cubicBezTo>
                    <a:pt x="659297" y="82547"/>
                    <a:pt x="659297" y="82654"/>
                    <a:pt x="659282" y="82760"/>
                  </a:cubicBezTo>
                  <a:lnTo>
                    <a:pt x="659282" y="91187"/>
                  </a:lnTo>
                  <a:cubicBezTo>
                    <a:pt x="659371" y="91837"/>
                    <a:pt x="658913" y="92436"/>
                    <a:pt x="658262" y="92524"/>
                  </a:cubicBezTo>
                  <a:cubicBezTo>
                    <a:pt x="658158" y="92539"/>
                    <a:pt x="658051" y="92539"/>
                    <a:pt x="657944" y="92524"/>
                  </a:cubicBezTo>
                  <a:lnTo>
                    <a:pt x="603251" y="92524"/>
                  </a:lnTo>
                  <a:cubicBezTo>
                    <a:pt x="602600" y="92612"/>
                    <a:pt x="602002" y="92156"/>
                    <a:pt x="601913" y="91505"/>
                  </a:cubicBezTo>
                  <a:cubicBezTo>
                    <a:pt x="601898" y="91400"/>
                    <a:pt x="601898" y="91293"/>
                    <a:pt x="601913" y="91187"/>
                  </a:cubicBezTo>
                  <a:close/>
                  <a:moveTo>
                    <a:pt x="703958" y="93996"/>
                  </a:moveTo>
                  <a:cubicBezTo>
                    <a:pt x="697080" y="94218"/>
                    <a:pt x="690294" y="92353"/>
                    <a:pt x="684495" y="88645"/>
                  </a:cubicBezTo>
                  <a:cubicBezTo>
                    <a:pt x="678981" y="84796"/>
                    <a:pt x="674947" y="79181"/>
                    <a:pt x="673056" y="72728"/>
                  </a:cubicBezTo>
                  <a:cubicBezTo>
                    <a:pt x="672605" y="71362"/>
                    <a:pt x="672224" y="69973"/>
                    <a:pt x="671921" y="68566"/>
                  </a:cubicBezTo>
                  <a:cubicBezTo>
                    <a:pt x="671576" y="66911"/>
                    <a:pt x="671329" y="65236"/>
                    <a:pt x="671187" y="63552"/>
                  </a:cubicBezTo>
                  <a:cubicBezTo>
                    <a:pt x="671008" y="61635"/>
                    <a:pt x="670875" y="59339"/>
                    <a:pt x="670785" y="56661"/>
                  </a:cubicBezTo>
                  <a:cubicBezTo>
                    <a:pt x="670696" y="53984"/>
                    <a:pt x="670652" y="50774"/>
                    <a:pt x="670652" y="47031"/>
                  </a:cubicBezTo>
                  <a:cubicBezTo>
                    <a:pt x="670652" y="43285"/>
                    <a:pt x="670696" y="40075"/>
                    <a:pt x="670785" y="37400"/>
                  </a:cubicBezTo>
                  <a:cubicBezTo>
                    <a:pt x="670875" y="34725"/>
                    <a:pt x="671008" y="32429"/>
                    <a:pt x="671187" y="30513"/>
                  </a:cubicBezTo>
                  <a:cubicBezTo>
                    <a:pt x="671329" y="28832"/>
                    <a:pt x="671573" y="27161"/>
                    <a:pt x="671915" y="25510"/>
                  </a:cubicBezTo>
                  <a:cubicBezTo>
                    <a:pt x="672218" y="24104"/>
                    <a:pt x="672599" y="22714"/>
                    <a:pt x="673051" y="21348"/>
                  </a:cubicBezTo>
                  <a:cubicBezTo>
                    <a:pt x="674941" y="14894"/>
                    <a:pt x="678978" y="9279"/>
                    <a:pt x="684495" y="5431"/>
                  </a:cubicBezTo>
                  <a:cubicBezTo>
                    <a:pt x="696536" y="-1703"/>
                    <a:pt x="711511" y="-1703"/>
                    <a:pt x="723553" y="5431"/>
                  </a:cubicBezTo>
                  <a:cubicBezTo>
                    <a:pt x="729067" y="9280"/>
                    <a:pt x="733100" y="14895"/>
                    <a:pt x="734991" y="21348"/>
                  </a:cubicBezTo>
                  <a:cubicBezTo>
                    <a:pt x="735443" y="22714"/>
                    <a:pt x="735823" y="24104"/>
                    <a:pt x="736126" y="25510"/>
                  </a:cubicBezTo>
                  <a:cubicBezTo>
                    <a:pt x="736474" y="27166"/>
                    <a:pt x="736718" y="28841"/>
                    <a:pt x="736864" y="30527"/>
                  </a:cubicBezTo>
                  <a:cubicBezTo>
                    <a:pt x="737042" y="32446"/>
                    <a:pt x="737176" y="34742"/>
                    <a:pt x="737265" y="37415"/>
                  </a:cubicBezTo>
                  <a:cubicBezTo>
                    <a:pt x="737354" y="40088"/>
                    <a:pt x="737399" y="43298"/>
                    <a:pt x="737399" y="47046"/>
                  </a:cubicBezTo>
                  <a:cubicBezTo>
                    <a:pt x="737399" y="50791"/>
                    <a:pt x="737354" y="54001"/>
                    <a:pt x="737265" y="56676"/>
                  </a:cubicBezTo>
                  <a:cubicBezTo>
                    <a:pt x="737176" y="59352"/>
                    <a:pt x="737042" y="61648"/>
                    <a:pt x="736864" y="63567"/>
                  </a:cubicBezTo>
                  <a:cubicBezTo>
                    <a:pt x="736718" y="65253"/>
                    <a:pt x="736474" y="66928"/>
                    <a:pt x="736126" y="68584"/>
                  </a:cubicBezTo>
                  <a:cubicBezTo>
                    <a:pt x="735823" y="69990"/>
                    <a:pt x="735443" y="71380"/>
                    <a:pt x="734991" y="72746"/>
                  </a:cubicBezTo>
                  <a:cubicBezTo>
                    <a:pt x="733100" y="79199"/>
                    <a:pt x="729067" y="84814"/>
                    <a:pt x="723553" y="88663"/>
                  </a:cubicBezTo>
                  <a:cubicBezTo>
                    <a:pt x="717709" y="92376"/>
                    <a:pt x="710878" y="94235"/>
                    <a:pt x="703958" y="93996"/>
                  </a:cubicBezTo>
                  <a:close/>
                  <a:moveTo>
                    <a:pt x="703958" y="82894"/>
                  </a:moveTo>
                  <a:cubicBezTo>
                    <a:pt x="708369" y="83088"/>
                    <a:pt x="712727" y="81870"/>
                    <a:pt x="716398" y="79416"/>
                  </a:cubicBezTo>
                  <a:cubicBezTo>
                    <a:pt x="719739" y="76911"/>
                    <a:pt x="722180" y="73391"/>
                    <a:pt x="723354" y="69384"/>
                  </a:cubicBezTo>
                  <a:cubicBezTo>
                    <a:pt x="723666" y="68398"/>
                    <a:pt x="723913" y="67392"/>
                    <a:pt x="724091" y="66373"/>
                  </a:cubicBezTo>
                  <a:cubicBezTo>
                    <a:pt x="724314" y="65168"/>
                    <a:pt x="724537" y="63674"/>
                    <a:pt x="724760" y="61893"/>
                  </a:cubicBezTo>
                  <a:cubicBezTo>
                    <a:pt x="724983" y="60112"/>
                    <a:pt x="725140" y="58016"/>
                    <a:pt x="725229" y="55606"/>
                  </a:cubicBezTo>
                  <a:cubicBezTo>
                    <a:pt x="725319" y="53199"/>
                    <a:pt x="725363" y="50345"/>
                    <a:pt x="725363" y="47046"/>
                  </a:cubicBezTo>
                  <a:cubicBezTo>
                    <a:pt x="725363" y="43746"/>
                    <a:pt x="725319" y="40892"/>
                    <a:pt x="725229" y="38485"/>
                  </a:cubicBezTo>
                  <a:cubicBezTo>
                    <a:pt x="725140" y="36077"/>
                    <a:pt x="724983" y="33981"/>
                    <a:pt x="724760" y="32198"/>
                  </a:cubicBezTo>
                  <a:cubicBezTo>
                    <a:pt x="724537" y="30415"/>
                    <a:pt x="724314" y="28921"/>
                    <a:pt x="724091" y="27718"/>
                  </a:cubicBezTo>
                  <a:cubicBezTo>
                    <a:pt x="723913" y="26699"/>
                    <a:pt x="723666" y="25693"/>
                    <a:pt x="723354" y="24707"/>
                  </a:cubicBezTo>
                  <a:cubicBezTo>
                    <a:pt x="722180" y="20699"/>
                    <a:pt x="719739" y="17180"/>
                    <a:pt x="716398" y="14675"/>
                  </a:cubicBezTo>
                  <a:cubicBezTo>
                    <a:pt x="712727" y="12221"/>
                    <a:pt x="708369" y="11003"/>
                    <a:pt x="703958" y="11197"/>
                  </a:cubicBezTo>
                  <a:cubicBezTo>
                    <a:pt x="699568" y="10996"/>
                    <a:pt x="695228" y="12215"/>
                    <a:pt x="691584" y="14675"/>
                  </a:cubicBezTo>
                  <a:cubicBezTo>
                    <a:pt x="688276" y="17198"/>
                    <a:pt x="685862" y="20714"/>
                    <a:pt x="684697" y="24707"/>
                  </a:cubicBezTo>
                  <a:cubicBezTo>
                    <a:pt x="684385" y="25693"/>
                    <a:pt x="684138" y="26699"/>
                    <a:pt x="683962" y="27718"/>
                  </a:cubicBezTo>
                  <a:cubicBezTo>
                    <a:pt x="683740" y="28921"/>
                    <a:pt x="683517" y="30415"/>
                    <a:pt x="683294" y="32198"/>
                  </a:cubicBezTo>
                  <a:cubicBezTo>
                    <a:pt x="683071" y="33981"/>
                    <a:pt x="682913" y="36077"/>
                    <a:pt x="682824" y="38485"/>
                  </a:cubicBezTo>
                  <a:cubicBezTo>
                    <a:pt x="682735" y="40892"/>
                    <a:pt x="682690" y="43746"/>
                    <a:pt x="682690" y="47046"/>
                  </a:cubicBezTo>
                  <a:cubicBezTo>
                    <a:pt x="682690" y="50345"/>
                    <a:pt x="682735" y="53199"/>
                    <a:pt x="682824" y="55606"/>
                  </a:cubicBezTo>
                  <a:cubicBezTo>
                    <a:pt x="682913" y="58014"/>
                    <a:pt x="683071" y="60110"/>
                    <a:pt x="683294" y="61893"/>
                  </a:cubicBezTo>
                  <a:cubicBezTo>
                    <a:pt x="683517" y="63677"/>
                    <a:pt x="683740" y="65170"/>
                    <a:pt x="683962" y="66373"/>
                  </a:cubicBezTo>
                  <a:cubicBezTo>
                    <a:pt x="684138" y="67392"/>
                    <a:pt x="684385" y="68398"/>
                    <a:pt x="684697" y="69384"/>
                  </a:cubicBezTo>
                  <a:cubicBezTo>
                    <a:pt x="685862" y="73377"/>
                    <a:pt x="688276" y="76893"/>
                    <a:pt x="691584" y="79416"/>
                  </a:cubicBezTo>
                  <a:cubicBezTo>
                    <a:pt x="695228" y="81876"/>
                    <a:pt x="699568" y="83095"/>
                    <a:pt x="703958" y="82894"/>
                  </a:cubicBezTo>
                  <a:close/>
                  <a:moveTo>
                    <a:pt x="755858" y="72728"/>
                  </a:moveTo>
                  <a:cubicBezTo>
                    <a:pt x="755406" y="71367"/>
                    <a:pt x="755049" y="69976"/>
                    <a:pt x="754788" y="68566"/>
                  </a:cubicBezTo>
                  <a:cubicBezTo>
                    <a:pt x="754520" y="67139"/>
                    <a:pt x="754276" y="65468"/>
                    <a:pt x="754053" y="63552"/>
                  </a:cubicBezTo>
                  <a:cubicBezTo>
                    <a:pt x="753831" y="61635"/>
                    <a:pt x="753676" y="59339"/>
                    <a:pt x="753584" y="56661"/>
                  </a:cubicBezTo>
                  <a:cubicBezTo>
                    <a:pt x="753495" y="53986"/>
                    <a:pt x="753450" y="50776"/>
                    <a:pt x="753450" y="47031"/>
                  </a:cubicBezTo>
                  <a:cubicBezTo>
                    <a:pt x="753450" y="43285"/>
                    <a:pt x="753495" y="40075"/>
                    <a:pt x="753584" y="37400"/>
                  </a:cubicBezTo>
                  <a:cubicBezTo>
                    <a:pt x="753673" y="34725"/>
                    <a:pt x="753831" y="32429"/>
                    <a:pt x="754053" y="30513"/>
                  </a:cubicBezTo>
                  <a:cubicBezTo>
                    <a:pt x="754276" y="28596"/>
                    <a:pt x="754523" y="26925"/>
                    <a:pt x="754788" y="25498"/>
                  </a:cubicBezTo>
                  <a:cubicBezTo>
                    <a:pt x="755049" y="24088"/>
                    <a:pt x="755406" y="22698"/>
                    <a:pt x="755858" y="21337"/>
                  </a:cubicBezTo>
                  <a:cubicBezTo>
                    <a:pt x="757757" y="14874"/>
                    <a:pt x="761818" y="9259"/>
                    <a:pt x="767361" y="5431"/>
                  </a:cubicBezTo>
                  <a:cubicBezTo>
                    <a:pt x="773232" y="1717"/>
                    <a:pt x="780081" y="-147"/>
                    <a:pt x="787024" y="80"/>
                  </a:cubicBezTo>
                  <a:cubicBezTo>
                    <a:pt x="790683" y="33"/>
                    <a:pt x="794331" y="505"/>
                    <a:pt x="797859" y="1483"/>
                  </a:cubicBezTo>
                  <a:cubicBezTo>
                    <a:pt x="800891" y="2339"/>
                    <a:pt x="803777" y="3646"/>
                    <a:pt x="806420" y="5362"/>
                  </a:cubicBezTo>
                  <a:cubicBezTo>
                    <a:pt x="808839" y="6943"/>
                    <a:pt x="811003" y="8882"/>
                    <a:pt x="812840" y="11114"/>
                  </a:cubicBezTo>
                  <a:cubicBezTo>
                    <a:pt x="814600" y="13260"/>
                    <a:pt x="816083" y="15619"/>
                    <a:pt x="817254" y="18135"/>
                  </a:cubicBezTo>
                  <a:cubicBezTo>
                    <a:pt x="817682" y="18669"/>
                    <a:pt x="817593" y="19447"/>
                    <a:pt x="817061" y="19873"/>
                  </a:cubicBezTo>
                  <a:cubicBezTo>
                    <a:pt x="816996" y="19925"/>
                    <a:pt x="816927" y="19970"/>
                    <a:pt x="816853" y="20008"/>
                  </a:cubicBezTo>
                  <a:lnTo>
                    <a:pt x="808827" y="23872"/>
                  </a:lnTo>
                  <a:cubicBezTo>
                    <a:pt x="808034" y="24318"/>
                    <a:pt x="807409" y="24095"/>
                    <a:pt x="806955" y="23203"/>
                  </a:cubicBezTo>
                  <a:cubicBezTo>
                    <a:pt x="805109" y="19530"/>
                    <a:pt x="802344" y="16396"/>
                    <a:pt x="798929" y="14107"/>
                  </a:cubicBezTo>
                  <a:cubicBezTo>
                    <a:pt x="795323" y="12022"/>
                    <a:pt x="791201" y="11001"/>
                    <a:pt x="787039" y="11165"/>
                  </a:cubicBezTo>
                  <a:cubicBezTo>
                    <a:pt x="782566" y="10966"/>
                    <a:pt x="778139" y="12183"/>
                    <a:pt x="774397" y="14643"/>
                  </a:cubicBezTo>
                  <a:cubicBezTo>
                    <a:pt x="771020" y="17129"/>
                    <a:pt x="768553" y="20653"/>
                    <a:pt x="767373" y="24675"/>
                  </a:cubicBezTo>
                  <a:cubicBezTo>
                    <a:pt x="767106" y="25477"/>
                    <a:pt x="766838" y="26458"/>
                    <a:pt x="766571" y="27617"/>
                  </a:cubicBezTo>
                  <a:cubicBezTo>
                    <a:pt x="766270" y="29028"/>
                    <a:pt x="766071" y="30458"/>
                    <a:pt x="765976" y="31898"/>
                  </a:cubicBezTo>
                  <a:cubicBezTo>
                    <a:pt x="765842" y="33592"/>
                    <a:pt x="765732" y="35665"/>
                    <a:pt x="765643" y="38116"/>
                  </a:cubicBezTo>
                  <a:cubicBezTo>
                    <a:pt x="765554" y="40568"/>
                    <a:pt x="765503" y="43544"/>
                    <a:pt x="765489" y="47046"/>
                  </a:cubicBezTo>
                  <a:cubicBezTo>
                    <a:pt x="765489" y="50523"/>
                    <a:pt x="765533" y="53489"/>
                    <a:pt x="765622" y="55942"/>
                  </a:cubicBezTo>
                  <a:cubicBezTo>
                    <a:pt x="765712" y="58395"/>
                    <a:pt x="765822" y="60468"/>
                    <a:pt x="765955" y="62161"/>
                  </a:cubicBezTo>
                  <a:cubicBezTo>
                    <a:pt x="766050" y="63600"/>
                    <a:pt x="766250" y="65030"/>
                    <a:pt x="766550" y="66441"/>
                  </a:cubicBezTo>
                  <a:cubicBezTo>
                    <a:pt x="766817" y="67600"/>
                    <a:pt x="767085" y="68581"/>
                    <a:pt x="767352" y="69384"/>
                  </a:cubicBezTo>
                  <a:cubicBezTo>
                    <a:pt x="768532" y="73406"/>
                    <a:pt x="771003" y="76930"/>
                    <a:pt x="774376" y="79416"/>
                  </a:cubicBezTo>
                  <a:cubicBezTo>
                    <a:pt x="778119" y="81876"/>
                    <a:pt x="782545" y="83093"/>
                    <a:pt x="787018" y="82894"/>
                  </a:cubicBezTo>
                  <a:cubicBezTo>
                    <a:pt x="791319" y="82991"/>
                    <a:pt x="795555" y="81829"/>
                    <a:pt x="799205" y="79550"/>
                  </a:cubicBezTo>
                  <a:cubicBezTo>
                    <a:pt x="802728" y="77261"/>
                    <a:pt x="805335" y="73803"/>
                    <a:pt x="806562" y="69785"/>
                  </a:cubicBezTo>
                  <a:cubicBezTo>
                    <a:pt x="807082" y="67895"/>
                    <a:pt x="807481" y="65974"/>
                    <a:pt x="807751" y="64033"/>
                  </a:cubicBezTo>
                  <a:cubicBezTo>
                    <a:pt x="808141" y="61197"/>
                    <a:pt x="808322" y="58335"/>
                    <a:pt x="808286" y="55472"/>
                  </a:cubicBezTo>
                  <a:cubicBezTo>
                    <a:pt x="808340" y="55084"/>
                    <a:pt x="808069" y="54725"/>
                    <a:pt x="807683" y="54670"/>
                  </a:cubicBezTo>
                  <a:cubicBezTo>
                    <a:pt x="807618" y="54661"/>
                    <a:pt x="807549" y="54661"/>
                    <a:pt x="807484" y="54670"/>
                  </a:cubicBezTo>
                  <a:lnTo>
                    <a:pt x="789827" y="54670"/>
                  </a:lnTo>
                  <a:cubicBezTo>
                    <a:pt x="789176" y="54758"/>
                    <a:pt x="788579" y="54302"/>
                    <a:pt x="788490" y="53651"/>
                  </a:cubicBezTo>
                  <a:cubicBezTo>
                    <a:pt x="788475" y="53545"/>
                    <a:pt x="788475" y="53438"/>
                    <a:pt x="788490" y="53332"/>
                  </a:cubicBezTo>
                  <a:lnTo>
                    <a:pt x="788490" y="45559"/>
                  </a:lnTo>
                  <a:cubicBezTo>
                    <a:pt x="788400" y="44909"/>
                    <a:pt x="788858" y="44310"/>
                    <a:pt x="789509" y="44222"/>
                  </a:cubicBezTo>
                  <a:cubicBezTo>
                    <a:pt x="789613" y="44207"/>
                    <a:pt x="789720" y="44207"/>
                    <a:pt x="789827" y="44222"/>
                  </a:cubicBezTo>
                  <a:lnTo>
                    <a:pt x="818854" y="44222"/>
                  </a:lnTo>
                  <a:cubicBezTo>
                    <a:pt x="819504" y="44134"/>
                    <a:pt x="820102" y="44590"/>
                    <a:pt x="820191" y="45241"/>
                  </a:cubicBezTo>
                  <a:cubicBezTo>
                    <a:pt x="820206" y="45346"/>
                    <a:pt x="820206" y="45453"/>
                    <a:pt x="820191" y="45559"/>
                  </a:cubicBezTo>
                  <a:lnTo>
                    <a:pt x="820191" y="52396"/>
                  </a:lnTo>
                  <a:cubicBezTo>
                    <a:pt x="820209" y="56216"/>
                    <a:pt x="820010" y="60034"/>
                    <a:pt x="819597" y="63831"/>
                  </a:cubicBezTo>
                  <a:cubicBezTo>
                    <a:pt x="819314" y="66751"/>
                    <a:pt x="818755" y="69638"/>
                    <a:pt x="817926" y="72451"/>
                  </a:cubicBezTo>
                  <a:cubicBezTo>
                    <a:pt x="816042" y="78925"/>
                    <a:pt x="812008" y="84563"/>
                    <a:pt x="806488" y="88434"/>
                  </a:cubicBezTo>
                  <a:cubicBezTo>
                    <a:pt x="800727" y="92243"/>
                    <a:pt x="793932" y="94182"/>
                    <a:pt x="787027" y="93987"/>
                  </a:cubicBezTo>
                  <a:cubicBezTo>
                    <a:pt x="780084" y="94214"/>
                    <a:pt x="773235" y="92350"/>
                    <a:pt x="767364" y="88636"/>
                  </a:cubicBezTo>
                  <a:cubicBezTo>
                    <a:pt x="761821" y="84808"/>
                    <a:pt x="757757" y="79192"/>
                    <a:pt x="755858" y="72728"/>
                  </a:cubicBezTo>
                  <a:close/>
                  <a:moveTo>
                    <a:pt x="839459" y="2904"/>
                  </a:moveTo>
                  <a:cubicBezTo>
                    <a:pt x="839370" y="2253"/>
                    <a:pt x="839827" y="1655"/>
                    <a:pt x="840478" y="1567"/>
                  </a:cubicBezTo>
                  <a:cubicBezTo>
                    <a:pt x="840582" y="1552"/>
                    <a:pt x="840689" y="1552"/>
                    <a:pt x="840796" y="1567"/>
                  </a:cubicBezTo>
                  <a:lnTo>
                    <a:pt x="850011" y="1567"/>
                  </a:lnTo>
                  <a:cubicBezTo>
                    <a:pt x="850662" y="1479"/>
                    <a:pt x="851259" y="1935"/>
                    <a:pt x="851349" y="2586"/>
                  </a:cubicBezTo>
                  <a:cubicBezTo>
                    <a:pt x="851363" y="2691"/>
                    <a:pt x="851363" y="2798"/>
                    <a:pt x="851349" y="2904"/>
                  </a:cubicBezTo>
                  <a:lnTo>
                    <a:pt x="851349" y="91187"/>
                  </a:lnTo>
                  <a:cubicBezTo>
                    <a:pt x="851438" y="91837"/>
                    <a:pt x="850980" y="92436"/>
                    <a:pt x="850329" y="92524"/>
                  </a:cubicBezTo>
                  <a:cubicBezTo>
                    <a:pt x="850225" y="92539"/>
                    <a:pt x="850118" y="92539"/>
                    <a:pt x="850011" y="92524"/>
                  </a:cubicBezTo>
                  <a:lnTo>
                    <a:pt x="840796" y="92524"/>
                  </a:lnTo>
                  <a:cubicBezTo>
                    <a:pt x="840145" y="92612"/>
                    <a:pt x="839548" y="92156"/>
                    <a:pt x="839459" y="91505"/>
                  </a:cubicBezTo>
                  <a:cubicBezTo>
                    <a:pt x="839444" y="91400"/>
                    <a:pt x="839444" y="91293"/>
                    <a:pt x="839459" y="91187"/>
                  </a:cubicBezTo>
                  <a:close/>
                  <a:moveTo>
                    <a:pt x="901390" y="93996"/>
                  </a:moveTo>
                  <a:cubicBezTo>
                    <a:pt x="898201" y="93998"/>
                    <a:pt x="895020" y="93684"/>
                    <a:pt x="891893" y="93059"/>
                  </a:cubicBezTo>
                  <a:cubicBezTo>
                    <a:pt x="888891" y="92468"/>
                    <a:pt x="885939" y="91640"/>
                    <a:pt x="883065" y="90583"/>
                  </a:cubicBezTo>
                  <a:cubicBezTo>
                    <a:pt x="880419" y="89614"/>
                    <a:pt x="877866" y="88405"/>
                    <a:pt x="875441" y="86972"/>
                  </a:cubicBezTo>
                  <a:cubicBezTo>
                    <a:pt x="873300" y="85719"/>
                    <a:pt x="871285" y="84264"/>
                    <a:pt x="869421" y="82626"/>
                  </a:cubicBezTo>
                  <a:cubicBezTo>
                    <a:pt x="868833" y="82145"/>
                    <a:pt x="868747" y="81278"/>
                    <a:pt x="869225" y="80689"/>
                  </a:cubicBezTo>
                  <a:cubicBezTo>
                    <a:pt x="869246" y="80665"/>
                    <a:pt x="869267" y="80642"/>
                    <a:pt x="869288" y="80620"/>
                  </a:cubicBezTo>
                  <a:lnTo>
                    <a:pt x="875173" y="73664"/>
                  </a:lnTo>
                  <a:cubicBezTo>
                    <a:pt x="875568" y="73116"/>
                    <a:pt x="876335" y="72993"/>
                    <a:pt x="876882" y="73389"/>
                  </a:cubicBezTo>
                  <a:cubicBezTo>
                    <a:pt x="876942" y="73431"/>
                    <a:pt x="876995" y="73479"/>
                    <a:pt x="877046" y="73530"/>
                  </a:cubicBezTo>
                  <a:cubicBezTo>
                    <a:pt x="880428" y="76108"/>
                    <a:pt x="884111" y="78264"/>
                    <a:pt x="888014" y="79951"/>
                  </a:cubicBezTo>
                  <a:cubicBezTo>
                    <a:pt x="892565" y="81950"/>
                    <a:pt x="897490" y="82953"/>
                    <a:pt x="902460" y="82894"/>
                  </a:cubicBezTo>
                  <a:cubicBezTo>
                    <a:pt x="907734" y="83216"/>
                    <a:pt x="912956" y="81703"/>
                    <a:pt x="917242" y="78613"/>
                  </a:cubicBezTo>
                  <a:cubicBezTo>
                    <a:pt x="920688" y="75920"/>
                    <a:pt x="922649" y="71749"/>
                    <a:pt x="922525" y="67377"/>
                  </a:cubicBezTo>
                  <a:cubicBezTo>
                    <a:pt x="922548" y="65551"/>
                    <a:pt x="922230" y="63736"/>
                    <a:pt x="921588" y="62027"/>
                  </a:cubicBezTo>
                  <a:cubicBezTo>
                    <a:pt x="920919" y="60358"/>
                    <a:pt x="919838" y="58886"/>
                    <a:pt x="918446" y="57746"/>
                  </a:cubicBezTo>
                  <a:cubicBezTo>
                    <a:pt x="916707" y="56348"/>
                    <a:pt x="914737" y="55261"/>
                    <a:pt x="912626" y="54536"/>
                  </a:cubicBezTo>
                  <a:cubicBezTo>
                    <a:pt x="909681" y="53523"/>
                    <a:pt x="906628" y="52850"/>
                    <a:pt x="903531" y="52530"/>
                  </a:cubicBezTo>
                  <a:lnTo>
                    <a:pt x="898983" y="51861"/>
                  </a:lnTo>
                  <a:cubicBezTo>
                    <a:pt x="881148" y="49453"/>
                    <a:pt x="872230" y="41071"/>
                    <a:pt x="872230" y="26714"/>
                  </a:cubicBezTo>
                  <a:cubicBezTo>
                    <a:pt x="872183" y="22955"/>
                    <a:pt x="872890" y="19226"/>
                    <a:pt x="874311" y="15745"/>
                  </a:cubicBezTo>
                  <a:cubicBezTo>
                    <a:pt x="875634" y="12526"/>
                    <a:pt x="877667" y="9645"/>
                    <a:pt x="880256" y="7318"/>
                  </a:cubicBezTo>
                  <a:cubicBezTo>
                    <a:pt x="882982" y="4919"/>
                    <a:pt x="886168" y="3099"/>
                    <a:pt x="889619" y="1968"/>
                  </a:cubicBezTo>
                  <a:cubicBezTo>
                    <a:pt x="893590" y="670"/>
                    <a:pt x="897749" y="38"/>
                    <a:pt x="901925" y="95"/>
                  </a:cubicBezTo>
                  <a:cubicBezTo>
                    <a:pt x="907121" y="71"/>
                    <a:pt x="912287" y="861"/>
                    <a:pt x="917240" y="2435"/>
                  </a:cubicBezTo>
                  <a:cubicBezTo>
                    <a:pt x="921672" y="3779"/>
                    <a:pt x="925857" y="5835"/>
                    <a:pt x="929629" y="8522"/>
                  </a:cubicBezTo>
                  <a:cubicBezTo>
                    <a:pt x="930203" y="8842"/>
                    <a:pt x="930408" y="9566"/>
                    <a:pt x="930087" y="10140"/>
                  </a:cubicBezTo>
                  <a:cubicBezTo>
                    <a:pt x="930036" y="10233"/>
                    <a:pt x="929971" y="10319"/>
                    <a:pt x="929896" y="10395"/>
                  </a:cubicBezTo>
                  <a:lnTo>
                    <a:pt x="925348" y="17752"/>
                  </a:lnTo>
                  <a:cubicBezTo>
                    <a:pt x="924932" y="18339"/>
                    <a:pt x="924121" y="18478"/>
                    <a:pt x="923532" y="18063"/>
                  </a:cubicBezTo>
                  <a:cubicBezTo>
                    <a:pt x="923514" y="18049"/>
                    <a:pt x="923494" y="18034"/>
                    <a:pt x="923476" y="18019"/>
                  </a:cubicBezTo>
                  <a:cubicBezTo>
                    <a:pt x="920081" y="15865"/>
                    <a:pt x="916440" y="14133"/>
                    <a:pt x="912626" y="12862"/>
                  </a:cubicBezTo>
                  <a:cubicBezTo>
                    <a:pt x="909036" y="11731"/>
                    <a:pt x="905290" y="11167"/>
                    <a:pt x="901524" y="11191"/>
                  </a:cubicBezTo>
                  <a:cubicBezTo>
                    <a:pt x="896881" y="10866"/>
                    <a:pt x="892289" y="12324"/>
                    <a:pt x="888683" y="15270"/>
                  </a:cubicBezTo>
                  <a:cubicBezTo>
                    <a:pt x="885734" y="18002"/>
                    <a:pt x="884123" y="21885"/>
                    <a:pt x="884269" y="25902"/>
                  </a:cubicBezTo>
                  <a:cubicBezTo>
                    <a:pt x="884177" y="29535"/>
                    <a:pt x="885755" y="33009"/>
                    <a:pt x="888549" y="35331"/>
                  </a:cubicBezTo>
                  <a:cubicBezTo>
                    <a:pt x="892943" y="38358"/>
                    <a:pt x="898073" y="40139"/>
                    <a:pt x="903397" y="40482"/>
                  </a:cubicBezTo>
                  <a:lnTo>
                    <a:pt x="907811" y="41151"/>
                  </a:lnTo>
                  <a:cubicBezTo>
                    <a:pt x="915156" y="41744"/>
                    <a:pt x="922147" y="44541"/>
                    <a:pt x="927875" y="49177"/>
                  </a:cubicBezTo>
                  <a:cubicBezTo>
                    <a:pt x="932518" y="53730"/>
                    <a:pt x="934959" y="60074"/>
                    <a:pt x="934563" y="66566"/>
                  </a:cubicBezTo>
                  <a:cubicBezTo>
                    <a:pt x="934605" y="70345"/>
                    <a:pt x="933897" y="74095"/>
                    <a:pt x="932482" y="77600"/>
                  </a:cubicBezTo>
                  <a:cubicBezTo>
                    <a:pt x="931106" y="80934"/>
                    <a:pt x="928948" y="83890"/>
                    <a:pt x="926196" y="86220"/>
                  </a:cubicBezTo>
                  <a:cubicBezTo>
                    <a:pt x="923119" y="88775"/>
                    <a:pt x="919576" y="90706"/>
                    <a:pt x="915762" y="91906"/>
                  </a:cubicBezTo>
                  <a:cubicBezTo>
                    <a:pt x="911113" y="93368"/>
                    <a:pt x="906262" y="94074"/>
                    <a:pt x="901390" y="93996"/>
                  </a:cubicBezTo>
                  <a:close/>
                  <a:moveTo>
                    <a:pt x="971348" y="92524"/>
                  </a:moveTo>
                  <a:cubicBezTo>
                    <a:pt x="970697" y="92612"/>
                    <a:pt x="970099" y="92156"/>
                    <a:pt x="970010" y="91505"/>
                  </a:cubicBezTo>
                  <a:cubicBezTo>
                    <a:pt x="969995" y="91400"/>
                    <a:pt x="969995" y="91293"/>
                    <a:pt x="970010" y="91187"/>
                  </a:cubicBezTo>
                  <a:lnTo>
                    <a:pt x="970010" y="13457"/>
                  </a:lnTo>
                  <a:cubicBezTo>
                    <a:pt x="970063" y="13068"/>
                    <a:pt x="969793" y="12709"/>
                    <a:pt x="969407" y="12654"/>
                  </a:cubicBezTo>
                  <a:cubicBezTo>
                    <a:pt x="969341" y="12645"/>
                    <a:pt x="969273" y="12645"/>
                    <a:pt x="969207" y="12654"/>
                  </a:cubicBezTo>
                  <a:lnTo>
                    <a:pt x="944328" y="12654"/>
                  </a:lnTo>
                  <a:cubicBezTo>
                    <a:pt x="943677" y="12742"/>
                    <a:pt x="943079" y="12286"/>
                    <a:pt x="942990" y="11635"/>
                  </a:cubicBezTo>
                  <a:cubicBezTo>
                    <a:pt x="942975" y="11529"/>
                    <a:pt x="942975" y="11422"/>
                    <a:pt x="942990" y="11316"/>
                  </a:cubicBezTo>
                  <a:lnTo>
                    <a:pt x="942990" y="2904"/>
                  </a:lnTo>
                  <a:cubicBezTo>
                    <a:pt x="942901" y="2253"/>
                    <a:pt x="943359" y="1655"/>
                    <a:pt x="944010" y="1567"/>
                  </a:cubicBezTo>
                  <a:cubicBezTo>
                    <a:pt x="944114" y="1552"/>
                    <a:pt x="944221" y="1552"/>
                    <a:pt x="944328" y="1567"/>
                  </a:cubicBezTo>
                  <a:lnTo>
                    <a:pt x="1007597" y="1567"/>
                  </a:lnTo>
                  <a:cubicBezTo>
                    <a:pt x="1008248" y="1479"/>
                    <a:pt x="1008845" y="1935"/>
                    <a:pt x="1008935" y="2586"/>
                  </a:cubicBezTo>
                  <a:cubicBezTo>
                    <a:pt x="1008949" y="2691"/>
                    <a:pt x="1008949" y="2798"/>
                    <a:pt x="1008935" y="2904"/>
                  </a:cubicBezTo>
                  <a:lnTo>
                    <a:pt x="1008935" y="11331"/>
                  </a:lnTo>
                  <a:cubicBezTo>
                    <a:pt x="1009024" y="11982"/>
                    <a:pt x="1008566" y="12581"/>
                    <a:pt x="1007915" y="12669"/>
                  </a:cubicBezTo>
                  <a:cubicBezTo>
                    <a:pt x="1007811" y="12683"/>
                    <a:pt x="1007704" y="12683"/>
                    <a:pt x="1007597" y="12669"/>
                  </a:cubicBezTo>
                  <a:lnTo>
                    <a:pt x="982717" y="12669"/>
                  </a:lnTo>
                  <a:cubicBezTo>
                    <a:pt x="982328" y="12614"/>
                    <a:pt x="981968" y="12885"/>
                    <a:pt x="981915" y="13273"/>
                  </a:cubicBezTo>
                  <a:cubicBezTo>
                    <a:pt x="981906" y="13339"/>
                    <a:pt x="981906" y="13406"/>
                    <a:pt x="981915" y="13471"/>
                  </a:cubicBezTo>
                  <a:lnTo>
                    <a:pt x="981915" y="91187"/>
                  </a:lnTo>
                  <a:cubicBezTo>
                    <a:pt x="982004" y="91837"/>
                    <a:pt x="981546" y="92436"/>
                    <a:pt x="980895" y="92524"/>
                  </a:cubicBezTo>
                  <a:cubicBezTo>
                    <a:pt x="980791" y="92539"/>
                    <a:pt x="980684" y="92539"/>
                    <a:pt x="980577" y="92524"/>
                  </a:cubicBezTo>
                  <a:close/>
                  <a:moveTo>
                    <a:pt x="1023113" y="2904"/>
                  </a:moveTo>
                  <a:cubicBezTo>
                    <a:pt x="1023024" y="2253"/>
                    <a:pt x="1023482" y="1655"/>
                    <a:pt x="1024133" y="1567"/>
                  </a:cubicBezTo>
                  <a:cubicBezTo>
                    <a:pt x="1024237" y="1552"/>
                    <a:pt x="1024344" y="1552"/>
                    <a:pt x="1024451" y="1567"/>
                  </a:cubicBezTo>
                  <a:lnTo>
                    <a:pt x="1033666" y="1567"/>
                  </a:lnTo>
                  <a:cubicBezTo>
                    <a:pt x="1034317" y="1479"/>
                    <a:pt x="1034914" y="1935"/>
                    <a:pt x="1035003" y="2586"/>
                  </a:cubicBezTo>
                  <a:cubicBezTo>
                    <a:pt x="1035018" y="2691"/>
                    <a:pt x="1035018" y="2798"/>
                    <a:pt x="1035003" y="2904"/>
                  </a:cubicBezTo>
                  <a:lnTo>
                    <a:pt x="1035003" y="91187"/>
                  </a:lnTo>
                  <a:cubicBezTo>
                    <a:pt x="1035092" y="91837"/>
                    <a:pt x="1034635" y="92436"/>
                    <a:pt x="1033984" y="92524"/>
                  </a:cubicBezTo>
                  <a:cubicBezTo>
                    <a:pt x="1033880" y="92539"/>
                    <a:pt x="1033773" y="92539"/>
                    <a:pt x="1033666" y="92524"/>
                  </a:cubicBezTo>
                  <a:lnTo>
                    <a:pt x="1024451" y="92524"/>
                  </a:lnTo>
                  <a:cubicBezTo>
                    <a:pt x="1023800" y="92612"/>
                    <a:pt x="1023202" y="92156"/>
                    <a:pt x="1023113" y="91505"/>
                  </a:cubicBezTo>
                  <a:cubicBezTo>
                    <a:pt x="1023098" y="91400"/>
                    <a:pt x="1023098" y="91293"/>
                    <a:pt x="1023113" y="91187"/>
                  </a:cubicBezTo>
                  <a:close/>
                  <a:moveTo>
                    <a:pt x="1056702" y="72594"/>
                  </a:moveTo>
                  <a:cubicBezTo>
                    <a:pt x="1056256" y="71256"/>
                    <a:pt x="1055876" y="69897"/>
                    <a:pt x="1055564" y="68516"/>
                  </a:cubicBezTo>
                  <a:cubicBezTo>
                    <a:pt x="1055213" y="66883"/>
                    <a:pt x="1054969" y="65230"/>
                    <a:pt x="1054830" y="63567"/>
                  </a:cubicBezTo>
                  <a:cubicBezTo>
                    <a:pt x="1054651" y="61650"/>
                    <a:pt x="1054518" y="59354"/>
                    <a:pt x="1054428" y="56676"/>
                  </a:cubicBezTo>
                  <a:cubicBezTo>
                    <a:pt x="1054339" y="53999"/>
                    <a:pt x="1054295" y="50789"/>
                    <a:pt x="1054295" y="47046"/>
                  </a:cubicBezTo>
                  <a:cubicBezTo>
                    <a:pt x="1054295" y="43300"/>
                    <a:pt x="1054339" y="40090"/>
                    <a:pt x="1054428" y="37415"/>
                  </a:cubicBezTo>
                  <a:cubicBezTo>
                    <a:pt x="1054518" y="34739"/>
                    <a:pt x="1054651" y="32444"/>
                    <a:pt x="1054830" y="30527"/>
                  </a:cubicBezTo>
                  <a:cubicBezTo>
                    <a:pt x="1054969" y="28864"/>
                    <a:pt x="1055213" y="27211"/>
                    <a:pt x="1055564" y="25578"/>
                  </a:cubicBezTo>
                  <a:cubicBezTo>
                    <a:pt x="1055876" y="24191"/>
                    <a:pt x="1056256" y="22832"/>
                    <a:pt x="1056702" y="21500"/>
                  </a:cubicBezTo>
                  <a:cubicBezTo>
                    <a:pt x="1058507" y="15006"/>
                    <a:pt x="1062469" y="9321"/>
                    <a:pt x="1067938" y="5383"/>
                  </a:cubicBezTo>
                  <a:cubicBezTo>
                    <a:pt x="1073583" y="1724"/>
                    <a:pt x="1080209" y="-120"/>
                    <a:pt x="1086932" y="98"/>
                  </a:cubicBezTo>
                  <a:cubicBezTo>
                    <a:pt x="1093175" y="-45"/>
                    <a:pt x="1099325" y="1605"/>
                    <a:pt x="1104654" y="4854"/>
                  </a:cubicBezTo>
                  <a:cubicBezTo>
                    <a:pt x="1109764" y="8104"/>
                    <a:pt x="1113756" y="12842"/>
                    <a:pt x="1116092" y="18429"/>
                  </a:cubicBezTo>
                  <a:cubicBezTo>
                    <a:pt x="1116416" y="19058"/>
                    <a:pt x="1116179" y="19830"/>
                    <a:pt x="1115557" y="20168"/>
                  </a:cubicBezTo>
                  <a:lnTo>
                    <a:pt x="1107532" y="24047"/>
                  </a:lnTo>
                  <a:cubicBezTo>
                    <a:pt x="1107008" y="24443"/>
                    <a:pt x="1106262" y="24340"/>
                    <a:pt x="1105867" y="23816"/>
                  </a:cubicBezTo>
                  <a:cubicBezTo>
                    <a:pt x="1105769" y="23686"/>
                    <a:pt x="1105698" y="23537"/>
                    <a:pt x="1105659" y="23379"/>
                  </a:cubicBezTo>
                  <a:cubicBezTo>
                    <a:pt x="1103994" y="19957"/>
                    <a:pt x="1101569" y="16961"/>
                    <a:pt x="1098570" y="14619"/>
                  </a:cubicBezTo>
                  <a:cubicBezTo>
                    <a:pt x="1095184" y="12208"/>
                    <a:pt x="1091085" y="11007"/>
                    <a:pt x="1086932" y="11209"/>
                  </a:cubicBezTo>
                  <a:cubicBezTo>
                    <a:pt x="1082643" y="10998"/>
                    <a:pt x="1078407" y="12221"/>
                    <a:pt x="1074894" y="14687"/>
                  </a:cubicBezTo>
                  <a:cubicBezTo>
                    <a:pt x="1071690" y="17241"/>
                    <a:pt x="1069311" y="20685"/>
                    <a:pt x="1068057" y="24585"/>
                  </a:cubicBezTo>
                  <a:cubicBezTo>
                    <a:pt x="1067790" y="25576"/>
                    <a:pt x="1067546" y="26625"/>
                    <a:pt x="1067323" y="27730"/>
                  </a:cubicBezTo>
                  <a:cubicBezTo>
                    <a:pt x="1067064" y="29106"/>
                    <a:pt x="1066886" y="30496"/>
                    <a:pt x="1066788" y="31892"/>
                  </a:cubicBezTo>
                  <a:cubicBezTo>
                    <a:pt x="1066654" y="33541"/>
                    <a:pt x="1066541" y="35592"/>
                    <a:pt x="1066455" y="38045"/>
                  </a:cubicBezTo>
                  <a:cubicBezTo>
                    <a:pt x="1066369" y="40498"/>
                    <a:pt x="1066324" y="43508"/>
                    <a:pt x="1066321" y="47075"/>
                  </a:cubicBezTo>
                  <a:cubicBezTo>
                    <a:pt x="1066321" y="50642"/>
                    <a:pt x="1066366" y="53651"/>
                    <a:pt x="1066455" y="56103"/>
                  </a:cubicBezTo>
                  <a:cubicBezTo>
                    <a:pt x="1066544" y="58554"/>
                    <a:pt x="1066654" y="60605"/>
                    <a:pt x="1066788" y="62256"/>
                  </a:cubicBezTo>
                  <a:cubicBezTo>
                    <a:pt x="1066892" y="63669"/>
                    <a:pt x="1067070" y="65076"/>
                    <a:pt x="1067323" y="66471"/>
                  </a:cubicBezTo>
                  <a:cubicBezTo>
                    <a:pt x="1067516" y="67508"/>
                    <a:pt x="1067760" y="68535"/>
                    <a:pt x="1068057" y="69547"/>
                  </a:cubicBezTo>
                  <a:cubicBezTo>
                    <a:pt x="1069311" y="73448"/>
                    <a:pt x="1071690" y="76891"/>
                    <a:pt x="1074894" y="79446"/>
                  </a:cubicBezTo>
                  <a:cubicBezTo>
                    <a:pt x="1078407" y="81911"/>
                    <a:pt x="1082643" y="83135"/>
                    <a:pt x="1086932" y="82923"/>
                  </a:cubicBezTo>
                  <a:cubicBezTo>
                    <a:pt x="1091085" y="83125"/>
                    <a:pt x="1095184" y="81922"/>
                    <a:pt x="1098570" y="79511"/>
                  </a:cubicBezTo>
                  <a:cubicBezTo>
                    <a:pt x="1101569" y="77168"/>
                    <a:pt x="1103994" y="74172"/>
                    <a:pt x="1105659" y="70751"/>
                  </a:cubicBezTo>
                  <a:cubicBezTo>
                    <a:pt x="1105814" y="70113"/>
                    <a:pt x="1106456" y="69720"/>
                    <a:pt x="1107095" y="69875"/>
                  </a:cubicBezTo>
                  <a:cubicBezTo>
                    <a:pt x="1107252" y="69913"/>
                    <a:pt x="1107401" y="69984"/>
                    <a:pt x="1107532" y="70082"/>
                  </a:cubicBezTo>
                  <a:lnTo>
                    <a:pt x="1115557" y="73946"/>
                  </a:lnTo>
                  <a:cubicBezTo>
                    <a:pt x="1116179" y="74285"/>
                    <a:pt x="1116416" y="75057"/>
                    <a:pt x="1116092" y="75685"/>
                  </a:cubicBezTo>
                  <a:cubicBezTo>
                    <a:pt x="1113756" y="81273"/>
                    <a:pt x="1109764" y="86011"/>
                    <a:pt x="1104654" y="89261"/>
                  </a:cubicBezTo>
                  <a:cubicBezTo>
                    <a:pt x="1099325" y="92510"/>
                    <a:pt x="1093175" y="94160"/>
                    <a:pt x="1086932" y="94017"/>
                  </a:cubicBezTo>
                  <a:cubicBezTo>
                    <a:pt x="1080209" y="94235"/>
                    <a:pt x="1073583" y="92391"/>
                    <a:pt x="1067938" y="88732"/>
                  </a:cubicBezTo>
                  <a:cubicBezTo>
                    <a:pt x="1062463" y="84794"/>
                    <a:pt x="1058492" y="79107"/>
                    <a:pt x="1056687" y="72609"/>
                  </a:cubicBezTo>
                  <a:close/>
                  <a:moveTo>
                    <a:pt x="1160769" y="93996"/>
                  </a:moveTo>
                  <a:cubicBezTo>
                    <a:pt x="1157579" y="93998"/>
                    <a:pt x="1154399" y="93684"/>
                    <a:pt x="1151272" y="93059"/>
                  </a:cubicBezTo>
                  <a:cubicBezTo>
                    <a:pt x="1148269" y="92468"/>
                    <a:pt x="1145318" y="91640"/>
                    <a:pt x="1142443" y="90583"/>
                  </a:cubicBezTo>
                  <a:cubicBezTo>
                    <a:pt x="1139798" y="89614"/>
                    <a:pt x="1137245" y="88405"/>
                    <a:pt x="1134819" y="86972"/>
                  </a:cubicBezTo>
                  <a:cubicBezTo>
                    <a:pt x="1132673" y="85720"/>
                    <a:pt x="1130652" y="84264"/>
                    <a:pt x="1128785" y="82626"/>
                  </a:cubicBezTo>
                  <a:cubicBezTo>
                    <a:pt x="1128196" y="82145"/>
                    <a:pt x="1128110" y="81278"/>
                    <a:pt x="1128589" y="80689"/>
                  </a:cubicBezTo>
                  <a:cubicBezTo>
                    <a:pt x="1128609" y="80665"/>
                    <a:pt x="1128630" y="80642"/>
                    <a:pt x="1128651" y="80620"/>
                  </a:cubicBezTo>
                  <a:lnTo>
                    <a:pt x="1134537" y="73664"/>
                  </a:lnTo>
                  <a:cubicBezTo>
                    <a:pt x="1134932" y="73116"/>
                    <a:pt x="1135699" y="72993"/>
                    <a:pt x="1136246" y="73389"/>
                  </a:cubicBezTo>
                  <a:cubicBezTo>
                    <a:pt x="1136305" y="73431"/>
                    <a:pt x="1136359" y="73479"/>
                    <a:pt x="1136409" y="73530"/>
                  </a:cubicBezTo>
                  <a:cubicBezTo>
                    <a:pt x="1139792" y="76108"/>
                    <a:pt x="1143475" y="78264"/>
                    <a:pt x="1147378" y="79951"/>
                  </a:cubicBezTo>
                  <a:cubicBezTo>
                    <a:pt x="1151929" y="81950"/>
                    <a:pt x="1156854" y="82953"/>
                    <a:pt x="1161824" y="82894"/>
                  </a:cubicBezTo>
                  <a:cubicBezTo>
                    <a:pt x="1167097" y="83216"/>
                    <a:pt x="1172320" y="81703"/>
                    <a:pt x="1176606" y="78613"/>
                  </a:cubicBezTo>
                  <a:cubicBezTo>
                    <a:pt x="1180051" y="75920"/>
                    <a:pt x="1182013" y="71749"/>
                    <a:pt x="1181888" y="67377"/>
                  </a:cubicBezTo>
                  <a:cubicBezTo>
                    <a:pt x="1181912" y="65551"/>
                    <a:pt x="1181594" y="63736"/>
                    <a:pt x="1180952" y="62027"/>
                  </a:cubicBezTo>
                  <a:cubicBezTo>
                    <a:pt x="1180283" y="60358"/>
                    <a:pt x="1179201" y="58886"/>
                    <a:pt x="1177810" y="57746"/>
                  </a:cubicBezTo>
                  <a:cubicBezTo>
                    <a:pt x="1176071" y="56348"/>
                    <a:pt x="1174100" y="55261"/>
                    <a:pt x="1171990" y="54536"/>
                  </a:cubicBezTo>
                  <a:cubicBezTo>
                    <a:pt x="1169044" y="53523"/>
                    <a:pt x="1165991" y="52850"/>
                    <a:pt x="1162894" y="52530"/>
                  </a:cubicBezTo>
                  <a:lnTo>
                    <a:pt x="1158346" y="51861"/>
                  </a:lnTo>
                  <a:cubicBezTo>
                    <a:pt x="1140511" y="49453"/>
                    <a:pt x="1131594" y="41071"/>
                    <a:pt x="1131594" y="26714"/>
                  </a:cubicBezTo>
                  <a:cubicBezTo>
                    <a:pt x="1131546" y="22955"/>
                    <a:pt x="1132254" y="19226"/>
                    <a:pt x="1133675" y="15745"/>
                  </a:cubicBezTo>
                  <a:cubicBezTo>
                    <a:pt x="1134997" y="12526"/>
                    <a:pt x="1137031" y="9645"/>
                    <a:pt x="1139620" y="7318"/>
                  </a:cubicBezTo>
                  <a:cubicBezTo>
                    <a:pt x="1142345" y="4919"/>
                    <a:pt x="1145532" y="3099"/>
                    <a:pt x="1148983" y="1968"/>
                  </a:cubicBezTo>
                  <a:cubicBezTo>
                    <a:pt x="1152954" y="670"/>
                    <a:pt x="1157113" y="38"/>
                    <a:pt x="1161289" y="95"/>
                  </a:cubicBezTo>
                  <a:cubicBezTo>
                    <a:pt x="1166485" y="71"/>
                    <a:pt x="1171651" y="861"/>
                    <a:pt x="1176603" y="2435"/>
                  </a:cubicBezTo>
                  <a:cubicBezTo>
                    <a:pt x="1181029" y="3780"/>
                    <a:pt x="1185208" y="5836"/>
                    <a:pt x="1188978" y="8522"/>
                  </a:cubicBezTo>
                  <a:cubicBezTo>
                    <a:pt x="1189551" y="8842"/>
                    <a:pt x="1189756" y="9566"/>
                    <a:pt x="1189435" y="10140"/>
                  </a:cubicBezTo>
                  <a:cubicBezTo>
                    <a:pt x="1189385" y="10233"/>
                    <a:pt x="1189319" y="10319"/>
                    <a:pt x="1189245" y="10395"/>
                  </a:cubicBezTo>
                  <a:lnTo>
                    <a:pt x="1184697" y="17752"/>
                  </a:lnTo>
                  <a:cubicBezTo>
                    <a:pt x="1184281" y="18339"/>
                    <a:pt x="1183470" y="18478"/>
                    <a:pt x="1182881" y="18063"/>
                  </a:cubicBezTo>
                  <a:cubicBezTo>
                    <a:pt x="1182863" y="18049"/>
                    <a:pt x="1182842" y="18034"/>
                    <a:pt x="1182825" y="18019"/>
                  </a:cubicBezTo>
                  <a:cubicBezTo>
                    <a:pt x="1179436" y="15866"/>
                    <a:pt x="1175798" y="14134"/>
                    <a:pt x="1171990" y="12862"/>
                  </a:cubicBezTo>
                  <a:cubicBezTo>
                    <a:pt x="1168399" y="11733"/>
                    <a:pt x="1164654" y="11171"/>
                    <a:pt x="1160888" y="11197"/>
                  </a:cubicBezTo>
                  <a:cubicBezTo>
                    <a:pt x="1156245" y="10871"/>
                    <a:pt x="1151652" y="12330"/>
                    <a:pt x="1148047" y="15276"/>
                  </a:cubicBezTo>
                  <a:cubicBezTo>
                    <a:pt x="1145104" y="18012"/>
                    <a:pt x="1143496" y="21895"/>
                    <a:pt x="1143647" y="25911"/>
                  </a:cubicBezTo>
                  <a:cubicBezTo>
                    <a:pt x="1143555" y="29544"/>
                    <a:pt x="1145134" y="33018"/>
                    <a:pt x="1147928" y="35340"/>
                  </a:cubicBezTo>
                  <a:cubicBezTo>
                    <a:pt x="1152315" y="38370"/>
                    <a:pt x="1157440" y="40155"/>
                    <a:pt x="1162760" y="40506"/>
                  </a:cubicBezTo>
                  <a:lnTo>
                    <a:pt x="1167174" y="41175"/>
                  </a:lnTo>
                  <a:cubicBezTo>
                    <a:pt x="1174519" y="41767"/>
                    <a:pt x="1181511" y="44565"/>
                    <a:pt x="1187239" y="49201"/>
                  </a:cubicBezTo>
                  <a:cubicBezTo>
                    <a:pt x="1191882" y="53754"/>
                    <a:pt x="1194322" y="60098"/>
                    <a:pt x="1193927" y="66590"/>
                  </a:cubicBezTo>
                  <a:cubicBezTo>
                    <a:pt x="1193968" y="70369"/>
                    <a:pt x="1193261" y="74119"/>
                    <a:pt x="1191846" y="77623"/>
                  </a:cubicBezTo>
                  <a:cubicBezTo>
                    <a:pt x="1190470" y="80958"/>
                    <a:pt x="1188312" y="83913"/>
                    <a:pt x="1185559" y="86244"/>
                  </a:cubicBezTo>
                  <a:cubicBezTo>
                    <a:pt x="1182483" y="88799"/>
                    <a:pt x="1178939" y="90730"/>
                    <a:pt x="1175126" y="91930"/>
                  </a:cubicBezTo>
                  <a:cubicBezTo>
                    <a:pt x="1170477" y="93384"/>
                    <a:pt x="1165623" y="94081"/>
                    <a:pt x="1160754" y="93996"/>
                  </a:cubicBezTo>
                  <a:close/>
                </a:path>
              </a:pathLst>
            </a:custGeom>
            <a:solidFill>
              <a:schemeClr val="bg2"/>
            </a:solidFill>
            <a:ln w="2965" cap="flat">
              <a:noFill/>
              <a:prstDash val="solid"/>
              <a:miter/>
            </a:ln>
          </p:spPr>
          <p:txBody>
            <a:bodyPr rtlCol="0" anchor="ctr"/>
            <a:lstStyle/>
            <a:p>
              <a:endParaRPr lang="de-DE"/>
            </a:p>
          </p:txBody>
        </p:sp>
      </p:grpSp>
      <p:sp>
        <p:nvSpPr>
          <p:cNvPr id="8" name="Rectangle 7" hidden="1">
            <a:extLst>
              <a:ext uri="{FF2B5EF4-FFF2-40B4-BE49-F238E27FC236}">
                <a16:creationId xmlns:a16="http://schemas.microsoft.com/office/drawing/2014/main" id="{58B05D70-1324-46AA-B96F-A5B3F47FA519}"/>
              </a:ext>
            </a:extLst>
          </p:cNvPr>
          <p:cNvSpPr/>
          <p:nvPr userDrawn="1">
            <p:custDataLst>
              <p:tags r:id="rId1"/>
            </p:custDataLst>
          </p:nvPr>
        </p:nvSpPr>
        <p:spPr>
          <a:xfrm>
            <a:off x="410400" y="1"/>
            <a:ext cx="11781600" cy="618331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1" name="Textplatzhalter 16">
            <a:extLst>
              <a:ext uri="{FF2B5EF4-FFF2-40B4-BE49-F238E27FC236}">
                <a16:creationId xmlns:a16="http://schemas.microsoft.com/office/drawing/2014/main" id="{69555E6C-BBD3-447E-BE2D-8146D94D609E}"/>
              </a:ext>
            </a:extLst>
          </p:cNvPr>
          <p:cNvSpPr>
            <a:spLocks noGrp="1"/>
          </p:cNvSpPr>
          <p:nvPr>
            <p:ph type="body" sz="quarter" idx="15" hasCustomPrompt="1"/>
          </p:nvPr>
        </p:nvSpPr>
        <p:spPr>
          <a:xfrm>
            <a:off x="410400" y="2677887"/>
            <a:ext cx="2179437" cy="3505427"/>
          </a:xfrm>
          <a:prstGeom prst="rect">
            <a:avLst/>
          </a:prstGeom>
        </p:spPr>
        <p:txBody>
          <a:bodyPr lIns="0"/>
          <a:lstStyle>
            <a:lvl1pPr>
              <a:spcBef>
                <a:spcPts val="497"/>
              </a:spcBef>
              <a:spcAft>
                <a:spcPts val="497"/>
              </a:spcAft>
              <a:defRPr sz="1600" b="1" cap="all" baseline="0">
                <a:solidFill>
                  <a:schemeClr val="tx1"/>
                </a:solidFill>
              </a:defRPr>
            </a:lvl1pPr>
            <a:lvl2pPr marL="0" indent="0">
              <a:spcBef>
                <a:spcPts val="0"/>
              </a:spcBef>
              <a:buNone/>
              <a:defRPr sz="1200">
                <a:solidFill>
                  <a:schemeClr val="tx1"/>
                </a:solidFill>
              </a:defRPr>
            </a:lvl2pPr>
            <a:lvl3pPr marL="144000" indent="-144000">
              <a:spcBef>
                <a:spcPts val="0"/>
              </a:spcBef>
              <a:buFont typeface="Arial" panose="020B0604020202020204" pitchFamily="34" charset="0"/>
              <a:buChar char="•"/>
              <a:defRPr sz="1200">
                <a:solidFill>
                  <a:schemeClr val="tx1"/>
                </a:solidFill>
              </a:defRPr>
            </a:lvl3pPr>
            <a:lvl4pPr marL="288000" indent="-144000">
              <a:spcBef>
                <a:spcPts val="0"/>
              </a:spcBef>
              <a:buFont typeface="Symbol" panose="05050102010706020507" pitchFamily="18" charset="2"/>
              <a:buChar char=""/>
              <a:defRPr sz="1200">
                <a:solidFill>
                  <a:schemeClr val="tx1"/>
                </a:solidFill>
              </a:defRPr>
            </a:lvl4pPr>
            <a:lvl5pPr marL="432000" indent="-144000">
              <a:spcBef>
                <a:spcPts val="0"/>
              </a:spcBef>
              <a:buFont typeface="Arial" panose="020B0604020202020204" pitchFamily="34" charset="0"/>
              <a:buChar char="•"/>
              <a:defRPr sz="1200" b="0" cap="none" baseline="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9272659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5" name="Rectangle 4" hidden="1">
            <a:extLst>
              <a:ext uri="{FF2B5EF4-FFF2-40B4-BE49-F238E27FC236}">
                <a16:creationId xmlns:a16="http://schemas.microsoft.com/office/drawing/2014/main" id="{661770DA-B4A6-4E13-80C0-961289C4AC9F}"/>
              </a:ext>
            </a:extLst>
          </p:cNvPr>
          <p:cNvSpPr/>
          <p:nvPr userDrawn="1">
            <p:custDataLst>
              <p:tags r:id="rId1"/>
            </p:custDataLst>
          </p:nvPr>
        </p:nvSpPr>
        <p:spPr>
          <a:xfrm>
            <a:off x="0" y="1"/>
            <a:ext cx="12192000" cy="618331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19867874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ontakt">
    <p:bg>
      <p:bgPr>
        <a:solidFill>
          <a:schemeClr val="bg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92AF181-AE26-4644-BBCB-95E3F63C9AE2}"/>
              </a:ext>
            </a:extLst>
          </p:cNvPr>
          <p:cNvSpPr>
            <a:spLocks noGrp="1"/>
          </p:cNvSpPr>
          <p:nvPr>
            <p:ph type="body" sz="quarter" idx="10" hasCustomPrompt="1"/>
          </p:nvPr>
        </p:nvSpPr>
        <p:spPr>
          <a:xfrm>
            <a:off x="485480" y="3662041"/>
            <a:ext cx="2955144" cy="1797050"/>
          </a:xfrm>
        </p:spPr>
        <p:txBody>
          <a:bodyPr wrap="square" lIns="0" tIns="90000" rIns="0" bIns="90000">
            <a:spAutoFit/>
          </a:bodyPr>
          <a:lstStyle>
            <a:lvl1pPr>
              <a:lnSpc>
                <a:spcPct val="100000"/>
              </a:lnSpc>
              <a:spcBef>
                <a:spcPts val="200"/>
              </a:spcBef>
              <a:spcAft>
                <a:spcPts val="200"/>
              </a:spcAft>
              <a:defRPr sz="2000" b="1" cap="none" baseline="0">
                <a:solidFill>
                  <a:schemeClr val="bg1"/>
                </a:solidFill>
              </a:defRPr>
            </a:lvl1pPr>
            <a:lvl2pPr marL="0" indent="0">
              <a:lnSpc>
                <a:spcPct val="100000"/>
              </a:lnSpc>
              <a:spcBef>
                <a:spcPts val="200"/>
              </a:spcBef>
              <a:spcAft>
                <a:spcPts val="200"/>
              </a:spcAft>
              <a:buNone/>
              <a:defRPr sz="1400">
                <a:solidFill>
                  <a:schemeClr val="bg1"/>
                </a:solidFill>
              </a:defRPr>
            </a:lvl2pPr>
            <a:lvl3pPr marL="0" indent="0">
              <a:lnSpc>
                <a:spcPct val="100000"/>
              </a:lnSpc>
              <a:spcBef>
                <a:spcPts val="1200"/>
              </a:spcBef>
              <a:spcAft>
                <a:spcPts val="200"/>
              </a:spcAft>
              <a:buNone/>
              <a:defRPr sz="1400">
                <a:solidFill>
                  <a:schemeClr val="bg1"/>
                </a:solidFill>
              </a:defRPr>
            </a:lvl3pPr>
            <a:lvl4pPr>
              <a:defRPr>
                <a:solidFill>
                  <a:schemeClr val="bg1"/>
                </a:solidFill>
              </a:defRPr>
            </a:lvl4pPr>
            <a:lvl5pPr>
              <a:defRPr>
                <a:solidFill>
                  <a:schemeClr val="bg1"/>
                </a:solidFill>
              </a:defRPr>
            </a:lvl5pPr>
          </a:lstStyle>
          <a:p>
            <a:pPr lvl="0"/>
            <a:r>
              <a:rPr lang="en-US"/>
              <a:t>Name</a:t>
            </a:r>
          </a:p>
          <a:p>
            <a:pPr lvl="1"/>
            <a:r>
              <a:rPr lang="de-DE"/>
              <a:t>Position wie z.B. Partner?</a:t>
            </a:r>
            <a:endParaRPr lang="en-US"/>
          </a:p>
          <a:p>
            <a:pPr lvl="2"/>
            <a:r>
              <a:rPr lang="en-US"/>
              <a:t>Address</a:t>
            </a:r>
          </a:p>
          <a:p>
            <a:pPr lvl="2"/>
            <a:r>
              <a:rPr lang="en-US"/>
              <a:t>+49 89 38808-XXX</a:t>
            </a:r>
            <a:br>
              <a:rPr lang="en-US"/>
            </a:br>
            <a:r>
              <a:rPr lang="en-US"/>
              <a:t>E-mail</a:t>
            </a:r>
          </a:p>
        </p:txBody>
      </p:sp>
      <p:sp>
        <p:nvSpPr>
          <p:cNvPr id="15" name="Text Placeholder 2">
            <a:extLst>
              <a:ext uri="{FF2B5EF4-FFF2-40B4-BE49-F238E27FC236}">
                <a16:creationId xmlns:a16="http://schemas.microsoft.com/office/drawing/2014/main" id="{C36BFF9A-E48A-4D63-81FB-9BE214C61220}"/>
              </a:ext>
            </a:extLst>
          </p:cNvPr>
          <p:cNvSpPr>
            <a:spLocks noGrp="1"/>
          </p:cNvSpPr>
          <p:nvPr>
            <p:ph type="body" sz="quarter" idx="11" hasCustomPrompt="1"/>
          </p:nvPr>
        </p:nvSpPr>
        <p:spPr>
          <a:xfrm>
            <a:off x="3926903" y="3662041"/>
            <a:ext cx="2955144" cy="1797050"/>
          </a:xfrm>
        </p:spPr>
        <p:txBody>
          <a:bodyPr wrap="square" lIns="0" tIns="90000" rIns="0" bIns="90000">
            <a:spAutoFit/>
          </a:bodyPr>
          <a:lstStyle>
            <a:lvl1pPr>
              <a:lnSpc>
                <a:spcPct val="100000"/>
              </a:lnSpc>
              <a:spcBef>
                <a:spcPts val="200"/>
              </a:spcBef>
              <a:spcAft>
                <a:spcPts val="200"/>
              </a:spcAft>
              <a:defRPr sz="2000" b="1" cap="none" baseline="0">
                <a:solidFill>
                  <a:schemeClr val="bg1"/>
                </a:solidFill>
              </a:defRPr>
            </a:lvl1pPr>
            <a:lvl2pPr marL="0" indent="0">
              <a:lnSpc>
                <a:spcPct val="100000"/>
              </a:lnSpc>
              <a:spcBef>
                <a:spcPts val="200"/>
              </a:spcBef>
              <a:spcAft>
                <a:spcPts val="200"/>
              </a:spcAft>
              <a:buNone/>
              <a:defRPr sz="1400">
                <a:solidFill>
                  <a:schemeClr val="bg1"/>
                </a:solidFill>
              </a:defRPr>
            </a:lvl2pPr>
            <a:lvl3pPr marL="0" indent="0">
              <a:lnSpc>
                <a:spcPct val="100000"/>
              </a:lnSpc>
              <a:spcBef>
                <a:spcPts val="1200"/>
              </a:spcBef>
              <a:spcAft>
                <a:spcPts val="200"/>
              </a:spcAft>
              <a:buNone/>
              <a:defRPr sz="1400">
                <a:solidFill>
                  <a:schemeClr val="bg1"/>
                </a:solidFill>
              </a:defRPr>
            </a:lvl3pPr>
            <a:lvl4pPr>
              <a:defRPr>
                <a:solidFill>
                  <a:schemeClr val="bg1"/>
                </a:solidFill>
              </a:defRPr>
            </a:lvl4pPr>
            <a:lvl5pPr>
              <a:defRPr>
                <a:solidFill>
                  <a:schemeClr val="bg1"/>
                </a:solidFill>
              </a:defRPr>
            </a:lvl5pPr>
          </a:lstStyle>
          <a:p>
            <a:pPr lvl="0"/>
            <a:r>
              <a:rPr lang="en-US"/>
              <a:t>Name</a:t>
            </a:r>
          </a:p>
          <a:p>
            <a:pPr lvl="1"/>
            <a:r>
              <a:rPr lang="de-DE"/>
              <a:t>Position wie z.B. Partner?</a:t>
            </a:r>
            <a:endParaRPr lang="en-US"/>
          </a:p>
          <a:p>
            <a:pPr lvl="2"/>
            <a:r>
              <a:rPr lang="en-US"/>
              <a:t>Address</a:t>
            </a:r>
          </a:p>
          <a:p>
            <a:pPr lvl="2"/>
            <a:r>
              <a:rPr lang="en-US"/>
              <a:t>+49 89 38808-XXX</a:t>
            </a:r>
            <a:br>
              <a:rPr lang="en-US"/>
            </a:br>
            <a:r>
              <a:rPr lang="en-US"/>
              <a:t>E-mail</a:t>
            </a:r>
          </a:p>
        </p:txBody>
      </p:sp>
      <p:sp>
        <p:nvSpPr>
          <p:cNvPr id="16" name="Text Placeholder 2">
            <a:extLst>
              <a:ext uri="{FF2B5EF4-FFF2-40B4-BE49-F238E27FC236}">
                <a16:creationId xmlns:a16="http://schemas.microsoft.com/office/drawing/2014/main" id="{910F6AD4-2CC2-4760-A96F-5CB358364115}"/>
              </a:ext>
            </a:extLst>
          </p:cNvPr>
          <p:cNvSpPr>
            <a:spLocks noGrp="1"/>
          </p:cNvSpPr>
          <p:nvPr>
            <p:ph type="body" sz="quarter" idx="12" hasCustomPrompt="1"/>
          </p:nvPr>
        </p:nvSpPr>
        <p:spPr>
          <a:xfrm>
            <a:off x="7368326" y="3662041"/>
            <a:ext cx="2955144" cy="1797050"/>
          </a:xfrm>
        </p:spPr>
        <p:txBody>
          <a:bodyPr wrap="square" lIns="0" tIns="90000" rIns="0" bIns="90000">
            <a:spAutoFit/>
          </a:bodyPr>
          <a:lstStyle>
            <a:lvl1pPr>
              <a:lnSpc>
                <a:spcPct val="100000"/>
              </a:lnSpc>
              <a:spcBef>
                <a:spcPts val="200"/>
              </a:spcBef>
              <a:spcAft>
                <a:spcPts val="200"/>
              </a:spcAft>
              <a:defRPr sz="2000" b="1" cap="none" baseline="0">
                <a:solidFill>
                  <a:schemeClr val="bg1"/>
                </a:solidFill>
              </a:defRPr>
            </a:lvl1pPr>
            <a:lvl2pPr marL="0" indent="0">
              <a:lnSpc>
                <a:spcPct val="100000"/>
              </a:lnSpc>
              <a:spcBef>
                <a:spcPts val="200"/>
              </a:spcBef>
              <a:spcAft>
                <a:spcPts val="200"/>
              </a:spcAft>
              <a:buNone/>
              <a:defRPr sz="1400">
                <a:solidFill>
                  <a:schemeClr val="bg1"/>
                </a:solidFill>
              </a:defRPr>
            </a:lvl2pPr>
            <a:lvl3pPr marL="0" indent="0">
              <a:lnSpc>
                <a:spcPct val="100000"/>
              </a:lnSpc>
              <a:spcBef>
                <a:spcPts val="1200"/>
              </a:spcBef>
              <a:spcAft>
                <a:spcPts val="200"/>
              </a:spcAft>
              <a:buNone/>
              <a:defRPr sz="1400">
                <a:solidFill>
                  <a:schemeClr val="bg1"/>
                </a:solidFill>
              </a:defRPr>
            </a:lvl3pPr>
            <a:lvl4pPr>
              <a:defRPr>
                <a:solidFill>
                  <a:schemeClr val="bg1"/>
                </a:solidFill>
              </a:defRPr>
            </a:lvl4pPr>
            <a:lvl5pPr>
              <a:defRPr>
                <a:solidFill>
                  <a:schemeClr val="bg1"/>
                </a:solidFill>
              </a:defRPr>
            </a:lvl5pPr>
          </a:lstStyle>
          <a:p>
            <a:pPr lvl="0"/>
            <a:r>
              <a:rPr lang="en-US"/>
              <a:t>Name</a:t>
            </a:r>
          </a:p>
          <a:p>
            <a:pPr lvl="1"/>
            <a:r>
              <a:rPr lang="de-DE"/>
              <a:t>Position wie z.B. Partner?</a:t>
            </a:r>
            <a:endParaRPr lang="en-US"/>
          </a:p>
          <a:p>
            <a:pPr lvl="2"/>
            <a:r>
              <a:rPr lang="en-US"/>
              <a:t>Address</a:t>
            </a:r>
          </a:p>
          <a:p>
            <a:pPr lvl="2"/>
            <a:r>
              <a:rPr lang="en-US"/>
              <a:t>+49 89 38808-XXX</a:t>
            </a:r>
            <a:br>
              <a:rPr lang="en-US"/>
            </a:br>
            <a:r>
              <a:rPr lang="en-US"/>
              <a:t>E-mail</a:t>
            </a:r>
          </a:p>
        </p:txBody>
      </p:sp>
      <p:sp>
        <p:nvSpPr>
          <p:cNvPr id="5" name="Picture Placeholder 4">
            <a:extLst>
              <a:ext uri="{FF2B5EF4-FFF2-40B4-BE49-F238E27FC236}">
                <a16:creationId xmlns:a16="http://schemas.microsoft.com/office/drawing/2014/main" id="{2B441B78-EA87-4D14-8316-BD6D68B2E219}"/>
              </a:ext>
            </a:extLst>
          </p:cNvPr>
          <p:cNvSpPr>
            <a:spLocks noGrp="1"/>
          </p:cNvSpPr>
          <p:nvPr>
            <p:ph type="pic" sz="quarter" idx="13"/>
          </p:nvPr>
        </p:nvSpPr>
        <p:spPr>
          <a:xfrm>
            <a:off x="485480" y="2661382"/>
            <a:ext cx="931008" cy="931008"/>
          </a:xfrm>
        </p:spPr>
        <p:txBody>
          <a:bodyPr/>
          <a:lstStyle>
            <a:lvl1pPr>
              <a:defRPr>
                <a:solidFill>
                  <a:schemeClr val="bg1"/>
                </a:solidFill>
              </a:defRPr>
            </a:lvl1pPr>
          </a:lstStyle>
          <a:p>
            <a:r>
              <a:rPr lang="de-DE"/>
              <a:t>Bild durch Klicken auf Symbol hinzufügen</a:t>
            </a:r>
          </a:p>
        </p:txBody>
      </p:sp>
      <p:sp>
        <p:nvSpPr>
          <p:cNvPr id="18" name="Picture Placeholder 4">
            <a:extLst>
              <a:ext uri="{FF2B5EF4-FFF2-40B4-BE49-F238E27FC236}">
                <a16:creationId xmlns:a16="http://schemas.microsoft.com/office/drawing/2014/main" id="{ABDEF80C-7A09-4FB6-8F72-0E6D656C1990}"/>
              </a:ext>
            </a:extLst>
          </p:cNvPr>
          <p:cNvSpPr>
            <a:spLocks noGrp="1"/>
          </p:cNvSpPr>
          <p:nvPr>
            <p:ph type="pic" sz="quarter" idx="14"/>
          </p:nvPr>
        </p:nvSpPr>
        <p:spPr>
          <a:xfrm>
            <a:off x="3926903" y="2661382"/>
            <a:ext cx="931008" cy="931008"/>
          </a:xfrm>
        </p:spPr>
        <p:txBody>
          <a:bodyPr/>
          <a:lstStyle>
            <a:lvl1pPr>
              <a:defRPr>
                <a:solidFill>
                  <a:schemeClr val="bg1"/>
                </a:solidFill>
              </a:defRPr>
            </a:lvl1pPr>
          </a:lstStyle>
          <a:p>
            <a:r>
              <a:rPr lang="de-DE"/>
              <a:t>Bild durch Klicken auf Symbol hinzufügen</a:t>
            </a:r>
          </a:p>
        </p:txBody>
      </p:sp>
      <p:sp>
        <p:nvSpPr>
          <p:cNvPr id="19" name="Picture Placeholder 4">
            <a:extLst>
              <a:ext uri="{FF2B5EF4-FFF2-40B4-BE49-F238E27FC236}">
                <a16:creationId xmlns:a16="http://schemas.microsoft.com/office/drawing/2014/main" id="{9FFE3C9F-05CE-4B00-91BB-34DDF97D9502}"/>
              </a:ext>
            </a:extLst>
          </p:cNvPr>
          <p:cNvSpPr>
            <a:spLocks noGrp="1"/>
          </p:cNvSpPr>
          <p:nvPr>
            <p:ph type="pic" sz="quarter" idx="15"/>
          </p:nvPr>
        </p:nvSpPr>
        <p:spPr>
          <a:xfrm>
            <a:off x="7368326" y="2661382"/>
            <a:ext cx="931008" cy="931008"/>
          </a:xfrm>
        </p:spPr>
        <p:txBody>
          <a:bodyPr/>
          <a:lstStyle>
            <a:lvl1pPr>
              <a:defRPr>
                <a:solidFill>
                  <a:schemeClr val="bg1"/>
                </a:solidFill>
              </a:defRPr>
            </a:lvl1pPr>
          </a:lstStyle>
          <a:p>
            <a:r>
              <a:rPr lang="de-DE"/>
              <a:t>Bild durch Klicken auf Symbol hinzufügen</a:t>
            </a:r>
          </a:p>
        </p:txBody>
      </p:sp>
      <p:sp>
        <p:nvSpPr>
          <p:cNvPr id="20" name="Textfeld 5">
            <a:extLst>
              <a:ext uri="{FF2B5EF4-FFF2-40B4-BE49-F238E27FC236}">
                <a16:creationId xmlns:a16="http://schemas.microsoft.com/office/drawing/2014/main" id="{47926F21-7631-4D6B-A71A-F22857050831}"/>
              </a:ext>
            </a:extLst>
          </p:cNvPr>
          <p:cNvSpPr txBox="1"/>
          <p:nvPr userDrawn="1"/>
        </p:nvSpPr>
        <p:spPr>
          <a:xfrm>
            <a:off x="419613" y="723066"/>
            <a:ext cx="8085273" cy="1107996"/>
          </a:xfrm>
          <a:prstGeom prst="rect">
            <a:avLst/>
          </a:prstGeom>
          <a:noFill/>
        </p:spPr>
        <p:txBody>
          <a:bodyPr wrap="square" lIns="0" rtlCol="0">
            <a:spAutoFit/>
          </a:bodyPr>
          <a:lstStyle/>
          <a:p>
            <a:pPr>
              <a:lnSpc>
                <a:spcPct val="100000"/>
              </a:lnSpc>
            </a:pPr>
            <a:r>
              <a:rPr lang="de-DE" sz="6600" b="1">
                <a:solidFill>
                  <a:schemeClr val="bg1"/>
                </a:solidFill>
                <a:latin typeface="Arial" panose="020B0604020202020204" pitchFamily="34" charset="0"/>
                <a:cs typeface="Arial" panose="020B0604020202020204" pitchFamily="34" charset="0"/>
              </a:rPr>
              <a:t>KONTAKT</a:t>
            </a:r>
            <a:endParaRPr lang="de-DE" sz="66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3671364"/>
      </p:ext>
    </p:extLst>
  </p:cSld>
  <p:clrMapOvr>
    <a:masterClrMapping/>
  </p:clrMapOvr>
  <p:extLst>
    <p:ext uri="{DCECCB84-F9BA-43D5-87BE-67443E8EF086}">
      <p15:sldGuideLst xmlns:p15="http://schemas.microsoft.com/office/powerpoint/2012/main">
        <p15:guide id="1" pos="30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_Anschnitt">
    <p:spTree>
      <p:nvGrpSpPr>
        <p:cNvPr id="1" name=""/>
        <p:cNvGrpSpPr/>
        <p:nvPr/>
      </p:nvGrpSpPr>
      <p:grpSpPr>
        <a:xfrm>
          <a:off x="0" y="0"/>
          <a:ext cx="0" cy="0"/>
          <a:chOff x="0" y="0"/>
          <a:chExt cx="0" cy="0"/>
        </a:xfrm>
      </p:grpSpPr>
      <p:sp>
        <p:nvSpPr>
          <p:cNvPr id="27" name="Freihandform: Form 26">
            <a:extLst>
              <a:ext uri="{FF2B5EF4-FFF2-40B4-BE49-F238E27FC236}">
                <a16:creationId xmlns:a16="http://schemas.microsoft.com/office/drawing/2014/main" id="{B263B741-E895-4948-9085-DF4BFCBB1CD5}"/>
              </a:ext>
            </a:extLst>
          </p:cNvPr>
          <p:cNvSpPr/>
          <p:nvPr/>
        </p:nvSpPr>
        <p:spPr>
          <a:xfrm>
            <a:off x="6884996" y="0"/>
            <a:ext cx="5307169" cy="6858000"/>
          </a:xfrm>
          <a:custGeom>
            <a:avLst/>
            <a:gdLst>
              <a:gd name="connsiteX0" fmla="*/ 0 w 10547999"/>
              <a:gd name="connsiteY0" fmla="*/ 0 h 13716000"/>
              <a:gd name="connsiteX1" fmla="*/ 10547999 w 10547999"/>
              <a:gd name="connsiteY1" fmla="*/ 0 h 13716000"/>
              <a:gd name="connsiteX2" fmla="*/ 10547999 w 10547999"/>
              <a:gd name="connsiteY2" fmla="*/ 9531233 h 13716000"/>
              <a:gd name="connsiteX3" fmla="*/ 10434539 w 10547999"/>
              <a:gd name="connsiteY3" fmla="*/ 9372295 h 13716000"/>
              <a:gd name="connsiteX4" fmla="*/ 6692943 w 10547999"/>
              <a:gd name="connsiteY4" fmla="*/ 7503983 h 13716000"/>
              <a:gd name="connsiteX5" fmla="*/ 2023742 w 10547999"/>
              <a:gd name="connsiteY5" fmla="*/ 12155182 h 13716000"/>
              <a:gd name="connsiteX6" fmla="*/ 2233660 w 10547999"/>
              <a:gd name="connsiteY6" fmla="*/ 13538307 h 13716000"/>
              <a:gd name="connsiteX7" fmla="*/ 2294018 w 10547999"/>
              <a:gd name="connsiteY7" fmla="*/ 13716000 h 13716000"/>
              <a:gd name="connsiteX8" fmla="*/ 0 w 10547999"/>
              <a:gd name="connsiteY8"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47999" h="13716000">
                <a:moveTo>
                  <a:pt x="0" y="0"/>
                </a:moveTo>
                <a:lnTo>
                  <a:pt x="10547999" y="0"/>
                </a:lnTo>
                <a:lnTo>
                  <a:pt x="10547999" y="9531233"/>
                </a:lnTo>
                <a:lnTo>
                  <a:pt x="10434539" y="9372295"/>
                </a:lnTo>
                <a:cubicBezTo>
                  <a:pt x="9583053" y="8238114"/>
                  <a:pt x="8224063" y="7503983"/>
                  <a:pt x="6692943" y="7503983"/>
                </a:cubicBezTo>
                <a:cubicBezTo>
                  <a:pt x="4114215" y="7503983"/>
                  <a:pt x="2023742" y="9586395"/>
                  <a:pt x="2023742" y="12155182"/>
                </a:cubicBezTo>
                <a:cubicBezTo>
                  <a:pt x="2023742" y="12636830"/>
                  <a:pt x="2097235" y="13101378"/>
                  <a:pt x="2233660" y="13538307"/>
                </a:cubicBezTo>
                <a:lnTo>
                  <a:pt x="2294018" y="13716000"/>
                </a:lnTo>
                <a:lnTo>
                  <a:pt x="0" y="13716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895"/>
          </a:p>
        </p:txBody>
      </p:sp>
      <p:sp>
        <p:nvSpPr>
          <p:cNvPr id="28" name="Freihandform: Form 27">
            <a:extLst>
              <a:ext uri="{FF2B5EF4-FFF2-40B4-BE49-F238E27FC236}">
                <a16:creationId xmlns:a16="http://schemas.microsoft.com/office/drawing/2014/main" id="{6E75FD48-8FAF-477E-B998-AF8CB0DC7E41}"/>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2529554 h 6858000"/>
              <a:gd name="connsiteX3" fmla="*/ 12192000 w 12192000"/>
              <a:gd name="connsiteY3" fmla="*/ 2724150 h 6858000"/>
              <a:gd name="connsiteX4" fmla="*/ 12192000 w 12192000"/>
              <a:gd name="connsiteY4" fmla="*/ 4764376 h 6858000"/>
              <a:gd name="connsiteX5" fmla="*/ 12192000 w 12192000"/>
              <a:gd name="connsiteY5" fmla="*/ 6858000 h 6858000"/>
              <a:gd name="connsiteX6" fmla="*/ 8033755 w 12192000"/>
              <a:gd name="connsiteY6" fmla="*/ 6858000 h 6858000"/>
              <a:gd name="connsiteX7" fmla="*/ 6096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2529554"/>
                </a:lnTo>
                <a:lnTo>
                  <a:pt x="12192000" y="2724150"/>
                </a:lnTo>
                <a:lnTo>
                  <a:pt x="12192000" y="4764376"/>
                </a:lnTo>
                <a:lnTo>
                  <a:pt x="12192000" y="6858000"/>
                </a:lnTo>
                <a:lnTo>
                  <a:pt x="8033755" y="6858000"/>
                </a:lnTo>
                <a:lnTo>
                  <a:pt x="6096000"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de-DE" sz="895"/>
          </a:p>
        </p:txBody>
      </p:sp>
      <p:sp>
        <p:nvSpPr>
          <p:cNvPr id="2" name="Title 1"/>
          <p:cNvSpPr>
            <a:spLocks noGrp="1"/>
          </p:cNvSpPr>
          <p:nvPr>
            <p:ph type="ctrTitle"/>
          </p:nvPr>
        </p:nvSpPr>
        <p:spPr>
          <a:xfrm>
            <a:off x="688303" y="1600201"/>
            <a:ext cx="5813965" cy="1909763"/>
          </a:xfrm>
        </p:spPr>
        <p:txBody>
          <a:bodyPr anchor="b"/>
          <a:lstStyle>
            <a:lvl1pPr algn="l">
              <a:defRPr sz="3200">
                <a:solidFill>
                  <a:schemeClr val="bg1"/>
                </a:solidFill>
              </a:defRPr>
            </a:lvl1pPr>
          </a:lstStyle>
          <a:p>
            <a:r>
              <a:rPr lang="de-DE"/>
              <a:t>Mastertitelformat bearbeiten</a:t>
            </a:r>
            <a:endParaRPr lang="en-US"/>
          </a:p>
        </p:txBody>
      </p:sp>
      <p:sp>
        <p:nvSpPr>
          <p:cNvPr id="3" name="Subtitle 2"/>
          <p:cNvSpPr>
            <a:spLocks noGrp="1"/>
          </p:cNvSpPr>
          <p:nvPr>
            <p:ph type="subTitle" idx="1"/>
          </p:nvPr>
        </p:nvSpPr>
        <p:spPr>
          <a:xfrm>
            <a:off x="688303" y="3602038"/>
            <a:ext cx="5813965" cy="1655762"/>
          </a:xfrm>
          <a:prstGeom prst="rect">
            <a:avLst/>
          </a:prstGeom>
        </p:spPr>
        <p:txBody>
          <a:bodyPr>
            <a:normAutofit/>
          </a:bodyPr>
          <a:lstStyle>
            <a:lvl1pPr marL="0" indent="0" algn="l">
              <a:buNone/>
              <a:defRPr sz="1800">
                <a:solidFill>
                  <a:schemeClr val="bg1"/>
                </a:solidFill>
              </a:defRPr>
            </a:lvl1pPr>
            <a:lvl2pPr marL="451504" indent="0" algn="ctr">
              <a:buNone/>
              <a:defRPr sz="1976"/>
            </a:lvl2pPr>
            <a:lvl3pPr marL="903006" indent="0" algn="ctr">
              <a:buNone/>
              <a:defRPr sz="1778"/>
            </a:lvl3pPr>
            <a:lvl4pPr marL="1354509" indent="0" algn="ctr">
              <a:buNone/>
              <a:defRPr sz="1580"/>
            </a:lvl4pPr>
            <a:lvl5pPr marL="1806012" indent="0" algn="ctr">
              <a:buNone/>
              <a:defRPr sz="1580"/>
            </a:lvl5pPr>
            <a:lvl6pPr marL="2257515" indent="0" algn="ctr">
              <a:buNone/>
              <a:defRPr sz="1580"/>
            </a:lvl6pPr>
            <a:lvl7pPr marL="2709017" indent="0" algn="ctr">
              <a:buNone/>
              <a:defRPr sz="1580"/>
            </a:lvl7pPr>
            <a:lvl8pPr marL="3160521" indent="0" algn="ctr">
              <a:buNone/>
              <a:defRPr sz="1580"/>
            </a:lvl8pPr>
            <a:lvl9pPr marL="3612023" indent="0" algn="ctr">
              <a:buNone/>
              <a:defRPr sz="1580"/>
            </a:lvl9pPr>
          </a:lstStyle>
          <a:p>
            <a:r>
              <a:rPr lang="de-DE"/>
              <a:t>Master-Untertitelformat bearbeiten</a:t>
            </a:r>
            <a:endParaRPr lang="en-US"/>
          </a:p>
        </p:txBody>
      </p:sp>
      <p:grpSp>
        <p:nvGrpSpPr>
          <p:cNvPr id="4" name="Grafik 11">
            <a:extLst>
              <a:ext uri="{FF2B5EF4-FFF2-40B4-BE49-F238E27FC236}">
                <a16:creationId xmlns:a16="http://schemas.microsoft.com/office/drawing/2014/main" id="{0B01F7F3-8808-454C-8242-620B39B3C272}"/>
              </a:ext>
            </a:extLst>
          </p:cNvPr>
          <p:cNvGrpSpPr/>
          <p:nvPr/>
        </p:nvGrpSpPr>
        <p:grpSpPr>
          <a:xfrm>
            <a:off x="688303" y="361527"/>
            <a:ext cx="1787285" cy="596781"/>
            <a:chOff x="688303" y="361527"/>
            <a:chExt cx="1787285" cy="596781"/>
          </a:xfrm>
          <a:solidFill>
            <a:srgbClr val="FFFFFF"/>
          </a:solidFill>
        </p:grpSpPr>
        <p:sp>
          <p:nvSpPr>
            <p:cNvPr id="5" name="Freeform: Shape 4">
              <a:extLst>
                <a:ext uri="{FF2B5EF4-FFF2-40B4-BE49-F238E27FC236}">
                  <a16:creationId xmlns:a16="http://schemas.microsoft.com/office/drawing/2014/main" id="{FFE78138-9DA3-427B-B01E-ED207E28569A}"/>
                </a:ext>
              </a:extLst>
            </p:cNvPr>
            <p:cNvSpPr/>
            <p:nvPr/>
          </p:nvSpPr>
          <p:spPr>
            <a:xfrm>
              <a:off x="688303" y="424024"/>
              <a:ext cx="147751" cy="475361"/>
            </a:xfrm>
            <a:custGeom>
              <a:avLst/>
              <a:gdLst>
                <a:gd name="connsiteX0" fmla="*/ 53103 w 147751"/>
                <a:gd name="connsiteY0" fmla="*/ 235886 h 475361"/>
                <a:gd name="connsiteX1" fmla="*/ 144346 w 147751"/>
                <a:gd name="connsiteY1" fmla="*/ 45533 h 475361"/>
                <a:gd name="connsiteX2" fmla="*/ 117058 w 147751"/>
                <a:gd name="connsiteY2" fmla="*/ 0 h 475361"/>
                <a:gd name="connsiteX3" fmla="*/ 0 w 147751"/>
                <a:gd name="connsiteY3" fmla="*/ 235886 h 475361"/>
                <a:gd name="connsiteX4" fmla="*/ 121870 w 147751"/>
                <a:gd name="connsiteY4" fmla="*/ 475361 h 475361"/>
                <a:gd name="connsiteX5" fmla="*/ 147752 w 147751"/>
                <a:gd name="connsiteY5" fmla="*/ 428778 h 475361"/>
                <a:gd name="connsiteX6" fmla="*/ 53103 w 147751"/>
                <a:gd name="connsiteY6" fmla="*/ 235886 h 475361"/>
                <a:gd name="connsiteX7" fmla="*/ 53103 w 147751"/>
                <a:gd name="connsiteY7" fmla="*/ 235886 h 47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751" h="475361">
                  <a:moveTo>
                    <a:pt x="53103" y="235886"/>
                  </a:moveTo>
                  <a:cubicBezTo>
                    <a:pt x="53103" y="159167"/>
                    <a:pt x="88721" y="90607"/>
                    <a:pt x="144346" y="45533"/>
                  </a:cubicBezTo>
                  <a:lnTo>
                    <a:pt x="117058" y="0"/>
                  </a:lnTo>
                  <a:cubicBezTo>
                    <a:pt x="46014" y="54619"/>
                    <a:pt x="0" y="139913"/>
                    <a:pt x="0" y="235886"/>
                  </a:cubicBezTo>
                  <a:cubicBezTo>
                    <a:pt x="0" y="334005"/>
                    <a:pt x="48106" y="420939"/>
                    <a:pt x="121870" y="475361"/>
                  </a:cubicBezTo>
                  <a:lnTo>
                    <a:pt x="147752" y="428778"/>
                  </a:lnTo>
                  <a:cubicBezTo>
                    <a:pt x="90233" y="383770"/>
                    <a:pt x="53103" y="314122"/>
                    <a:pt x="53103" y="235886"/>
                  </a:cubicBezTo>
                  <a:lnTo>
                    <a:pt x="53103" y="235886"/>
                  </a:lnTo>
                  <a:close/>
                </a:path>
              </a:pathLst>
            </a:custGeom>
            <a:solidFill>
              <a:srgbClr val="FFFFFF"/>
            </a:solidFill>
            <a:ln w="7" cap="flat">
              <a:noFill/>
              <a:prstDash val="solid"/>
              <a:miter/>
            </a:ln>
          </p:spPr>
          <p:txBody>
            <a:bodyPr rtlCol="0" anchor="ctr"/>
            <a:lstStyle/>
            <a:p>
              <a:endParaRPr lang="de-DE"/>
            </a:p>
          </p:txBody>
        </p:sp>
        <p:sp>
          <p:nvSpPr>
            <p:cNvPr id="6" name="Freeform: Shape 5">
              <a:extLst>
                <a:ext uri="{FF2B5EF4-FFF2-40B4-BE49-F238E27FC236}">
                  <a16:creationId xmlns:a16="http://schemas.microsoft.com/office/drawing/2014/main" id="{BAB007EA-0751-446F-B828-9B2B009A4DFF}"/>
                </a:ext>
              </a:extLst>
            </p:cNvPr>
            <p:cNvSpPr/>
            <p:nvPr/>
          </p:nvSpPr>
          <p:spPr>
            <a:xfrm>
              <a:off x="874035" y="694856"/>
              <a:ext cx="412502" cy="263451"/>
            </a:xfrm>
            <a:custGeom>
              <a:avLst/>
              <a:gdLst>
                <a:gd name="connsiteX0" fmla="*/ 114510 w 412502"/>
                <a:gd name="connsiteY0" fmla="*/ 210676 h 263451"/>
                <a:gd name="connsiteX1" fmla="*/ 25948 w 412502"/>
                <a:gd name="connsiteY1" fmla="*/ 194086 h 263451"/>
                <a:gd name="connsiteX2" fmla="*/ 0 w 412502"/>
                <a:gd name="connsiteY2" fmla="*/ 240787 h 263451"/>
                <a:gd name="connsiteX3" fmla="*/ 114510 w 412502"/>
                <a:gd name="connsiteY3" fmla="*/ 263452 h 263451"/>
                <a:gd name="connsiteX4" fmla="*/ 412502 w 412502"/>
                <a:gd name="connsiteY4" fmla="*/ 0 h 263451"/>
                <a:gd name="connsiteX5" fmla="*/ 358838 w 412502"/>
                <a:gd name="connsiteY5" fmla="*/ 0 h 263451"/>
                <a:gd name="connsiteX6" fmla="*/ 114510 w 412502"/>
                <a:gd name="connsiteY6" fmla="*/ 210676 h 263451"/>
                <a:gd name="connsiteX7" fmla="*/ 114510 w 412502"/>
                <a:gd name="connsiteY7" fmla="*/ 210676 h 263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502" h="263451">
                  <a:moveTo>
                    <a:pt x="114510" y="210676"/>
                  </a:moveTo>
                  <a:cubicBezTo>
                    <a:pt x="83269" y="210676"/>
                    <a:pt x="53486" y="204654"/>
                    <a:pt x="25948" y="194086"/>
                  </a:cubicBezTo>
                  <a:lnTo>
                    <a:pt x="0" y="240787"/>
                  </a:lnTo>
                  <a:cubicBezTo>
                    <a:pt x="35314" y="255330"/>
                    <a:pt x="73962" y="263452"/>
                    <a:pt x="114510" y="263452"/>
                  </a:cubicBezTo>
                  <a:cubicBezTo>
                    <a:pt x="268150" y="263452"/>
                    <a:pt x="395010" y="148113"/>
                    <a:pt x="412502" y="0"/>
                  </a:cubicBezTo>
                  <a:lnTo>
                    <a:pt x="358838" y="0"/>
                  </a:lnTo>
                  <a:cubicBezTo>
                    <a:pt x="341676" y="118894"/>
                    <a:pt x="238816" y="210676"/>
                    <a:pt x="114510" y="210676"/>
                  </a:cubicBezTo>
                  <a:lnTo>
                    <a:pt x="114510" y="210676"/>
                  </a:lnTo>
                  <a:close/>
                </a:path>
              </a:pathLst>
            </a:custGeom>
            <a:solidFill>
              <a:srgbClr val="FFFFFF"/>
            </a:solidFill>
            <a:ln w="7" cap="flat">
              <a:noFill/>
              <a:prstDash val="solid"/>
              <a:miter/>
            </a:ln>
          </p:spPr>
          <p:txBody>
            <a:bodyPr rtlCol="0" anchor="ctr"/>
            <a:lstStyle/>
            <a:p>
              <a:endParaRPr lang="de-DE"/>
            </a:p>
          </p:txBody>
        </p:sp>
        <p:sp>
          <p:nvSpPr>
            <p:cNvPr id="7" name="Freeform: Shape 6">
              <a:extLst>
                <a:ext uri="{FF2B5EF4-FFF2-40B4-BE49-F238E27FC236}">
                  <a16:creationId xmlns:a16="http://schemas.microsoft.com/office/drawing/2014/main" id="{F35C89D1-54CD-495B-BC01-591D99A96555}"/>
                </a:ext>
              </a:extLst>
            </p:cNvPr>
            <p:cNvSpPr/>
            <p:nvPr/>
          </p:nvSpPr>
          <p:spPr>
            <a:xfrm>
              <a:off x="868530" y="361527"/>
              <a:ext cx="417512" cy="260237"/>
            </a:xfrm>
            <a:custGeom>
              <a:avLst/>
              <a:gdLst>
                <a:gd name="connsiteX0" fmla="*/ 120015 w 417512"/>
                <a:gd name="connsiteY0" fmla="*/ 52782 h 260237"/>
                <a:gd name="connsiteX1" fmla="*/ 363848 w 417512"/>
                <a:gd name="connsiteY1" fmla="*/ 260237 h 260237"/>
                <a:gd name="connsiteX2" fmla="*/ 417512 w 417512"/>
                <a:gd name="connsiteY2" fmla="*/ 260237 h 260237"/>
                <a:gd name="connsiteX3" fmla="*/ 120405 w 417512"/>
                <a:gd name="connsiteY3" fmla="*/ 0 h 260237"/>
                <a:gd name="connsiteX4" fmla="*/ 118616 w 417512"/>
                <a:gd name="connsiteY4" fmla="*/ 0 h 260237"/>
                <a:gd name="connsiteX5" fmla="*/ 0 w 417512"/>
                <a:gd name="connsiteY5" fmla="*/ 25046 h 260237"/>
                <a:gd name="connsiteX6" fmla="*/ 27433 w 417512"/>
                <a:gd name="connsiteY6" fmla="*/ 70829 h 260237"/>
                <a:gd name="connsiteX7" fmla="*/ 120015 w 417512"/>
                <a:gd name="connsiteY7" fmla="*/ 52782 h 260237"/>
                <a:gd name="connsiteX8" fmla="*/ 120015 w 417512"/>
                <a:gd name="connsiteY8" fmla="*/ 52782 h 26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512" h="260237">
                  <a:moveTo>
                    <a:pt x="120015" y="52782"/>
                  </a:moveTo>
                  <a:cubicBezTo>
                    <a:pt x="243192" y="52782"/>
                    <a:pt x="345313" y="142911"/>
                    <a:pt x="363848" y="260237"/>
                  </a:cubicBezTo>
                  <a:lnTo>
                    <a:pt x="417512" y="260237"/>
                  </a:lnTo>
                  <a:cubicBezTo>
                    <a:pt x="398581" y="113823"/>
                    <a:pt x="272751" y="197"/>
                    <a:pt x="120405" y="0"/>
                  </a:cubicBezTo>
                  <a:lnTo>
                    <a:pt x="118616" y="0"/>
                  </a:lnTo>
                  <a:cubicBezTo>
                    <a:pt x="76450" y="197"/>
                    <a:pt x="36403" y="9204"/>
                    <a:pt x="0" y="25046"/>
                  </a:cubicBezTo>
                  <a:lnTo>
                    <a:pt x="27433" y="70829"/>
                  </a:lnTo>
                  <a:cubicBezTo>
                    <a:pt x="56067" y="59283"/>
                    <a:pt x="87262" y="52782"/>
                    <a:pt x="120015" y="52782"/>
                  </a:cubicBezTo>
                  <a:lnTo>
                    <a:pt x="120015" y="52782"/>
                  </a:lnTo>
                  <a:close/>
                </a:path>
              </a:pathLst>
            </a:custGeom>
            <a:solidFill>
              <a:srgbClr val="FFFFFF"/>
            </a:solidFill>
            <a:ln w="7" cap="flat">
              <a:noFill/>
              <a:prstDash val="solid"/>
              <a:miter/>
            </a:ln>
          </p:spPr>
          <p:txBody>
            <a:bodyPr rtlCol="0" anchor="ctr"/>
            <a:lstStyle/>
            <a:p>
              <a:endParaRPr lang="de-DE"/>
            </a:p>
          </p:txBody>
        </p:sp>
        <p:sp>
          <p:nvSpPr>
            <p:cNvPr id="8" name="Freeform: Shape 7">
              <a:extLst>
                <a:ext uri="{FF2B5EF4-FFF2-40B4-BE49-F238E27FC236}">
                  <a16:creationId xmlns:a16="http://schemas.microsoft.com/office/drawing/2014/main" id="{A5D42FE1-2324-4E3A-BBD7-40A91E773A8F}"/>
                </a:ext>
              </a:extLst>
            </p:cNvPr>
            <p:cNvSpPr/>
            <p:nvPr/>
          </p:nvSpPr>
          <p:spPr>
            <a:xfrm>
              <a:off x="1414169" y="388961"/>
              <a:ext cx="108306" cy="130604"/>
            </a:xfrm>
            <a:custGeom>
              <a:avLst/>
              <a:gdLst>
                <a:gd name="connsiteX0" fmla="*/ 45744 w 108306"/>
                <a:gd name="connsiteY0" fmla="*/ 1909 h 130604"/>
                <a:gd name="connsiteX1" fmla="*/ 48054 w 108306"/>
                <a:gd name="connsiteY1" fmla="*/ 0 h 130604"/>
                <a:gd name="connsiteX2" fmla="*/ 60629 w 108306"/>
                <a:gd name="connsiteY2" fmla="*/ 0 h 130604"/>
                <a:gd name="connsiteX3" fmla="*/ 63137 w 108306"/>
                <a:gd name="connsiteY3" fmla="*/ 1909 h 130604"/>
                <a:gd name="connsiteX4" fmla="*/ 108174 w 108306"/>
                <a:gd name="connsiteY4" fmla="*/ 128682 h 130604"/>
                <a:gd name="connsiteX5" fmla="*/ 106821 w 108306"/>
                <a:gd name="connsiteY5" fmla="*/ 130604 h 130604"/>
                <a:gd name="connsiteX6" fmla="*/ 93296 w 108306"/>
                <a:gd name="connsiteY6" fmla="*/ 130604 h 130604"/>
                <a:gd name="connsiteX7" fmla="*/ 90781 w 108306"/>
                <a:gd name="connsiteY7" fmla="*/ 128682 h 130604"/>
                <a:gd name="connsiteX8" fmla="*/ 80722 w 108306"/>
                <a:gd name="connsiteY8" fmla="*/ 100257 h 130604"/>
                <a:gd name="connsiteX9" fmla="*/ 27566 w 108306"/>
                <a:gd name="connsiteY9" fmla="*/ 100257 h 130604"/>
                <a:gd name="connsiteX10" fmla="*/ 17532 w 108306"/>
                <a:gd name="connsiteY10" fmla="*/ 128682 h 130604"/>
                <a:gd name="connsiteX11" fmla="*/ 15018 w 108306"/>
                <a:gd name="connsiteY11" fmla="*/ 130604 h 130604"/>
                <a:gd name="connsiteX12" fmla="*/ 1473 w 108306"/>
                <a:gd name="connsiteY12" fmla="*/ 130604 h 130604"/>
                <a:gd name="connsiteX13" fmla="*/ 139 w 108306"/>
                <a:gd name="connsiteY13" fmla="*/ 128682 h 130604"/>
                <a:gd name="connsiteX14" fmla="*/ 45744 w 108306"/>
                <a:gd name="connsiteY14" fmla="*/ 1909 h 130604"/>
                <a:gd name="connsiteX15" fmla="*/ 75118 w 108306"/>
                <a:gd name="connsiteY15" fmla="*/ 84513 h 130604"/>
                <a:gd name="connsiteX16" fmla="*/ 54431 w 108306"/>
                <a:gd name="connsiteY16" fmla="*/ 25158 h 130604"/>
                <a:gd name="connsiteX17" fmla="*/ 54048 w 108306"/>
                <a:gd name="connsiteY17" fmla="*/ 25158 h 130604"/>
                <a:gd name="connsiteX18" fmla="*/ 33176 w 108306"/>
                <a:gd name="connsiteY18" fmla="*/ 84513 h 130604"/>
                <a:gd name="connsiteX19" fmla="*/ 75118 w 108306"/>
                <a:gd name="connsiteY19" fmla="*/ 84513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306" h="130604">
                  <a:moveTo>
                    <a:pt x="45744" y="1909"/>
                  </a:moveTo>
                  <a:cubicBezTo>
                    <a:pt x="46120" y="636"/>
                    <a:pt x="46899" y="0"/>
                    <a:pt x="48054" y="0"/>
                  </a:cubicBezTo>
                  <a:lnTo>
                    <a:pt x="60629" y="0"/>
                  </a:lnTo>
                  <a:cubicBezTo>
                    <a:pt x="61903" y="0"/>
                    <a:pt x="62754" y="636"/>
                    <a:pt x="63137" y="1909"/>
                  </a:cubicBezTo>
                  <a:lnTo>
                    <a:pt x="108174" y="128682"/>
                  </a:lnTo>
                  <a:cubicBezTo>
                    <a:pt x="108557" y="129961"/>
                    <a:pt x="108108" y="130604"/>
                    <a:pt x="106821" y="130604"/>
                  </a:cubicBezTo>
                  <a:lnTo>
                    <a:pt x="93296" y="130604"/>
                  </a:lnTo>
                  <a:cubicBezTo>
                    <a:pt x="92002" y="130604"/>
                    <a:pt x="91171" y="129961"/>
                    <a:pt x="90781" y="128682"/>
                  </a:cubicBezTo>
                  <a:lnTo>
                    <a:pt x="80722" y="100257"/>
                  </a:lnTo>
                  <a:lnTo>
                    <a:pt x="27566" y="100257"/>
                  </a:lnTo>
                  <a:lnTo>
                    <a:pt x="17532" y="128682"/>
                  </a:lnTo>
                  <a:cubicBezTo>
                    <a:pt x="17011" y="129961"/>
                    <a:pt x="16179" y="130604"/>
                    <a:pt x="15018" y="130604"/>
                  </a:cubicBezTo>
                  <a:lnTo>
                    <a:pt x="1473" y="130604"/>
                  </a:lnTo>
                  <a:cubicBezTo>
                    <a:pt x="192" y="130604"/>
                    <a:pt x="-257" y="129961"/>
                    <a:pt x="139" y="128682"/>
                  </a:cubicBezTo>
                  <a:lnTo>
                    <a:pt x="45744" y="1909"/>
                  </a:lnTo>
                  <a:close/>
                  <a:moveTo>
                    <a:pt x="75118" y="84513"/>
                  </a:moveTo>
                  <a:lnTo>
                    <a:pt x="54431" y="25158"/>
                  </a:lnTo>
                  <a:lnTo>
                    <a:pt x="54048" y="25158"/>
                  </a:lnTo>
                  <a:lnTo>
                    <a:pt x="33176" y="84513"/>
                  </a:lnTo>
                  <a:lnTo>
                    <a:pt x="75118" y="84513"/>
                  </a:lnTo>
                  <a:close/>
                </a:path>
              </a:pathLst>
            </a:custGeom>
            <a:solidFill>
              <a:srgbClr val="FFFFFF"/>
            </a:solidFill>
            <a:ln w="7" cap="flat">
              <a:noFill/>
              <a:prstDash val="solid"/>
              <a:miter/>
            </a:ln>
          </p:spPr>
          <p:txBody>
            <a:bodyPr rtlCol="0" anchor="ctr"/>
            <a:lstStyle/>
            <a:p>
              <a:endParaRPr lang="de-DE"/>
            </a:p>
          </p:txBody>
        </p:sp>
        <p:sp>
          <p:nvSpPr>
            <p:cNvPr id="9" name="Freeform: Shape 8">
              <a:extLst>
                <a:ext uri="{FF2B5EF4-FFF2-40B4-BE49-F238E27FC236}">
                  <a16:creationId xmlns:a16="http://schemas.microsoft.com/office/drawing/2014/main" id="{CCCF6F93-16D5-4467-817C-0889AB2A234D}"/>
                </a:ext>
              </a:extLst>
            </p:cNvPr>
            <p:cNvSpPr/>
            <p:nvPr/>
          </p:nvSpPr>
          <p:spPr>
            <a:xfrm>
              <a:off x="1545149" y="388954"/>
              <a:ext cx="93313" cy="130610"/>
            </a:xfrm>
            <a:custGeom>
              <a:avLst/>
              <a:gdLst>
                <a:gd name="connsiteX0" fmla="*/ 76186 w 93313"/>
                <a:gd name="connsiteY0" fmla="*/ 130611 h 130610"/>
                <a:gd name="connsiteX1" fmla="*/ 73645 w 93313"/>
                <a:gd name="connsiteY1" fmla="*/ 128682 h 130610"/>
                <a:gd name="connsiteX2" fmla="*/ 47446 w 93313"/>
                <a:gd name="connsiteY2" fmla="*/ 75296 h 130610"/>
                <a:gd name="connsiteX3" fmla="*/ 18555 w 93313"/>
                <a:gd name="connsiteY3" fmla="*/ 75296 h 130610"/>
                <a:gd name="connsiteX4" fmla="*/ 17393 w 93313"/>
                <a:gd name="connsiteY4" fmla="*/ 76444 h 130610"/>
                <a:gd name="connsiteX5" fmla="*/ 17393 w 93313"/>
                <a:gd name="connsiteY5" fmla="*/ 128682 h 130610"/>
                <a:gd name="connsiteX6" fmla="*/ 15446 w 93313"/>
                <a:gd name="connsiteY6" fmla="*/ 130611 h 130610"/>
                <a:gd name="connsiteX7" fmla="*/ 1954 w 93313"/>
                <a:gd name="connsiteY7" fmla="*/ 130611 h 130610"/>
                <a:gd name="connsiteX8" fmla="*/ 0 w 93313"/>
                <a:gd name="connsiteY8" fmla="*/ 128682 h 130610"/>
                <a:gd name="connsiteX9" fmla="*/ 0 w 93313"/>
                <a:gd name="connsiteY9" fmla="*/ 1922 h 130610"/>
                <a:gd name="connsiteX10" fmla="*/ 1934 w 93313"/>
                <a:gd name="connsiteY10" fmla="*/ 0 h 130610"/>
                <a:gd name="connsiteX11" fmla="*/ 49592 w 93313"/>
                <a:gd name="connsiteY11" fmla="*/ 0 h 130610"/>
                <a:gd name="connsiteX12" fmla="*/ 66430 w 93313"/>
                <a:gd name="connsiteY12" fmla="*/ 2690 h 130610"/>
                <a:gd name="connsiteX13" fmla="*/ 79414 w 93313"/>
                <a:gd name="connsiteY13" fmla="*/ 10273 h 130610"/>
                <a:gd name="connsiteX14" fmla="*/ 87837 w 93313"/>
                <a:gd name="connsiteY14" fmla="*/ 22186 h 130610"/>
                <a:gd name="connsiteX15" fmla="*/ 90846 w 93313"/>
                <a:gd name="connsiteY15" fmla="*/ 37642 h 130610"/>
                <a:gd name="connsiteX16" fmla="*/ 83876 w 93313"/>
                <a:gd name="connsiteY16" fmla="*/ 60123 h 130610"/>
                <a:gd name="connsiteX17" fmla="*/ 64945 w 93313"/>
                <a:gd name="connsiteY17" fmla="*/ 73184 h 130610"/>
                <a:gd name="connsiteX18" fmla="*/ 92972 w 93313"/>
                <a:gd name="connsiteY18" fmla="*/ 128308 h 130610"/>
                <a:gd name="connsiteX19" fmla="*/ 93157 w 93313"/>
                <a:gd name="connsiteY19" fmla="*/ 129935 h 130610"/>
                <a:gd name="connsiteX20" fmla="*/ 91810 w 93313"/>
                <a:gd name="connsiteY20" fmla="*/ 130611 h 130610"/>
                <a:gd name="connsiteX21" fmla="*/ 76186 w 93313"/>
                <a:gd name="connsiteY21" fmla="*/ 130611 h 130610"/>
                <a:gd name="connsiteX22" fmla="*/ 49176 w 93313"/>
                <a:gd name="connsiteY22" fmla="*/ 59355 h 130610"/>
                <a:gd name="connsiteX23" fmla="*/ 67097 w 93313"/>
                <a:gd name="connsiteY23" fmla="*/ 53681 h 130610"/>
                <a:gd name="connsiteX24" fmla="*/ 73447 w 93313"/>
                <a:gd name="connsiteY24" fmla="*/ 37642 h 130610"/>
                <a:gd name="connsiteX25" fmla="*/ 67097 w 93313"/>
                <a:gd name="connsiteY25" fmla="*/ 21615 h 130610"/>
                <a:gd name="connsiteX26" fmla="*/ 49176 w 93313"/>
                <a:gd name="connsiteY26" fmla="*/ 15947 h 130610"/>
                <a:gd name="connsiteX27" fmla="*/ 18555 w 93313"/>
                <a:gd name="connsiteY27" fmla="*/ 15947 h 130610"/>
                <a:gd name="connsiteX28" fmla="*/ 17393 w 93313"/>
                <a:gd name="connsiteY28" fmla="*/ 17102 h 130610"/>
                <a:gd name="connsiteX29" fmla="*/ 17393 w 93313"/>
                <a:gd name="connsiteY29" fmla="*/ 58194 h 130610"/>
                <a:gd name="connsiteX30" fmla="*/ 18555 w 93313"/>
                <a:gd name="connsiteY30" fmla="*/ 59355 h 130610"/>
                <a:gd name="connsiteX31" fmla="*/ 49176 w 93313"/>
                <a:gd name="connsiteY31" fmla="*/ 59355 h 13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3313" h="130610">
                  <a:moveTo>
                    <a:pt x="76186" y="130611"/>
                  </a:moveTo>
                  <a:cubicBezTo>
                    <a:pt x="75018" y="130611"/>
                    <a:pt x="74160" y="129968"/>
                    <a:pt x="73645" y="128682"/>
                  </a:cubicBezTo>
                  <a:lnTo>
                    <a:pt x="47446" y="75296"/>
                  </a:lnTo>
                  <a:lnTo>
                    <a:pt x="18555" y="75296"/>
                  </a:lnTo>
                  <a:cubicBezTo>
                    <a:pt x="17776" y="75296"/>
                    <a:pt x="17393" y="75690"/>
                    <a:pt x="17393" y="76444"/>
                  </a:cubicBezTo>
                  <a:lnTo>
                    <a:pt x="17393" y="128682"/>
                  </a:lnTo>
                  <a:cubicBezTo>
                    <a:pt x="17393" y="129968"/>
                    <a:pt x="16740" y="130611"/>
                    <a:pt x="15446" y="130611"/>
                  </a:cubicBezTo>
                  <a:lnTo>
                    <a:pt x="1954" y="130611"/>
                  </a:lnTo>
                  <a:cubicBezTo>
                    <a:pt x="653" y="130611"/>
                    <a:pt x="0" y="129968"/>
                    <a:pt x="0" y="128682"/>
                  </a:cubicBezTo>
                  <a:lnTo>
                    <a:pt x="0" y="1922"/>
                  </a:lnTo>
                  <a:cubicBezTo>
                    <a:pt x="0" y="643"/>
                    <a:pt x="640" y="0"/>
                    <a:pt x="1934" y="0"/>
                  </a:cubicBezTo>
                  <a:lnTo>
                    <a:pt x="49592" y="0"/>
                  </a:lnTo>
                  <a:cubicBezTo>
                    <a:pt x="55777" y="0"/>
                    <a:pt x="61394" y="905"/>
                    <a:pt x="66430" y="2690"/>
                  </a:cubicBezTo>
                  <a:cubicBezTo>
                    <a:pt x="71473" y="4481"/>
                    <a:pt x="75797" y="7013"/>
                    <a:pt x="79414" y="10273"/>
                  </a:cubicBezTo>
                  <a:cubicBezTo>
                    <a:pt x="83025" y="13547"/>
                    <a:pt x="85843" y="17515"/>
                    <a:pt x="87837" y="22186"/>
                  </a:cubicBezTo>
                  <a:cubicBezTo>
                    <a:pt x="89843" y="26863"/>
                    <a:pt x="90846" y="32013"/>
                    <a:pt x="90846" y="37642"/>
                  </a:cubicBezTo>
                  <a:cubicBezTo>
                    <a:pt x="90846" y="46478"/>
                    <a:pt x="88516" y="53970"/>
                    <a:pt x="83876" y="60123"/>
                  </a:cubicBezTo>
                  <a:cubicBezTo>
                    <a:pt x="79242" y="66263"/>
                    <a:pt x="72939" y="70619"/>
                    <a:pt x="64945" y="73184"/>
                  </a:cubicBezTo>
                  <a:lnTo>
                    <a:pt x="92972" y="128308"/>
                  </a:lnTo>
                  <a:cubicBezTo>
                    <a:pt x="93355" y="128951"/>
                    <a:pt x="93414" y="129495"/>
                    <a:pt x="93157" y="129935"/>
                  </a:cubicBezTo>
                  <a:cubicBezTo>
                    <a:pt x="92893" y="130394"/>
                    <a:pt x="92457" y="130611"/>
                    <a:pt x="91810" y="130611"/>
                  </a:cubicBezTo>
                  <a:lnTo>
                    <a:pt x="76186" y="130611"/>
                  </a:lnTo>
                  <a:close/>
                  <a:moveTo>
                    <a:pt x="49176" y="59355"/>
                  </a:moveTo>
                  <a:cubicBezTo>
                    <a:pt x="56879" y="59355"/>
                    <a:pt x="62846" y="57459"/>
                    <a:pt x="67097" y="53681"/>
                  </a:cubicBezTo>
                  <a:cubicBezTo>
                    <a:pt x="71328" y="49909"/>
                    <a:pt x="73447" y="44562"/>
                    <a:pt x="73447" y="37642"/>
                  </a:cubicBezTo>
                  <a:cubicBezTo>
                    <a:pt x="73447" y="30727"/>
                    <a:pt x="71328" y="25374"/>
                    <a:pt x="67097" y="21615"/>
                  </a:cubicBezTo>
                  <a:cubicBezTo>
                    <a:pt x="62846" y="17830"/>
                    <a:pt x="56879" y="15947"/>
                    <a:pt x="49176" y="15947"/>
                  </a:cubicBezTo>
                  <a:lnTo>
                    <a:pt x="18555" y="15947"/>
                  </a:lnTo>
                  <a:cubicBezTo>
                    <a:pt x="17776" y="15947"/>
                    <a:pt x="17393" y="16335"/>
                    <a:pt x="17393" y="17102"/>
                  </a:cubicBezTo>
                  <a:lnTo>
                    <a:pt x="17393" y="58194"/>
                  </a:lnTo>
                  <a:cubicBezTo>
                    <a:pt x="17393" y="58962"/>
                    <a:pt x="17776" y="59355"/>
                    <a:pt x="18555" y="59355"/>
                  </a:cubicBezTo>
                  <a:lnTo>
                    <a:pt x="49176" y="59355"/>
                  </a:lnTo>
                  <a:close/>
                </a:path>
              </a:pathLst>
            </a:custGeom>
            <a:solidFill>
              <a:srgbClr val="FFFFFF"/>
            </a:solidFill>
            <a:ln w="7" cap="flat">
              <a:noFill/>
              <a:prstDash val="solid"/>
              <a:miter/>
            </a:ln>
          </p:spPr>
          <p:txBody>
            <a:bodyPr rtlCol="0" anchor="ctr"/>
            <a:lstStyle/>
            <a:p>
              <a:endParaRPr lang="de-DE"/>
            </a:p>
          </p:txBody>
        </p:sp>
        <p:sp>
          <p:nvSpPr>
            <p:cNvPr id="10" name="Freeform: Shape 9">
              <a:extLst>
                <a:ext uri="{FF2B5EF4-FFF2-40B4-BE49-F238E27FC236}">
                  <a16:creationId xmlns:a16="http://schemas.microsoft.com/office/drawing/2014/main" id="{6264CF4E-FB35-4C38-B05D-4C838210AB25}"/>
                </a:ext>
              </a:extLst>
            </p:cNvPr>
            <p:cNvSpPr/>
            <p:nvPr/>
          </p:nvSpPr>
          <p:spPr>
            <a:xfrm>
              <a:off x="1666319" y="388961"/>
              <a:ext cx="93929" cy="130604"/>
            </a:xfrm>
            <a:custGeom>
              <a:avLst/>
              <a:gdLst>
                <a:gd name="connsiteX0" fmla="*/ 0 w 93929"/>
                <a:gd name="connsiteY0" fmla="*/ 1909 h 130604"/>
                <a:gd name="connsiteX1" fmla="*/ 1941 w 93929"/>
                <a:gd name="connsiteY1" fmla="*/ 0 h 130604"/>
                <a:gd name="connsiteX2" fmla="*/ 14304 w 93929"/>
                <a:gd name="connsiteY2" fmla="*/ 0 h 130604"/>
                <a:gd name="connsiteX3" fmla="*/ 17598 w 93929"/>
                <a:gd name="connsiteY3" fmla="*/ 1909 h 130604"/>
                <a:gd name="connsiteX4" fmla="*/ 77123 w 93929"/>
                <a:gd name="connsiteY4" fmla="*/ 99877 h 130604"/>
                <a:gd name="connsiteX5" fmla="*/ 77896 w 93929"/>
                <a:gd name="connsiteY5" fmla="*/ 99877 h 130604"/>
                <a:gd name="connsiteX6" fmla="*/ 77896 w 93929"/>
                <a:gd name="connsiteY6" fmla="*/ 1909 h 130604"/>
                <a:gd name="connsiteX7" fmla="*/ 79823 w 93929"/>
                <a:gd name="connsiteY7" fmla="*/ 0 h 130604"/>
                <a:gd name="connsiteX8" fmla="*/ 92008 w 93929"/>
                <a:gd name="connsiteY8" fmla="*/ 0 h 130604"/>
                <a:gd name="connsiteX9" fmla="*/ 93929 w 93929"/>
                <a:gd name="connsiteY9" fmla="*/ 1909 h 130604"/>
                <a:gd name="connsiteX10" fmla="*/ 93929 w 93929"/>
                <a:gd name="connsiteY10" fmla="*/ 128682 h 130604"/>
                <a:gd name="connsiteX11" fmla="*/ 92008 w 93929"/>
                <a:gd name="connsiteY11" fmla="*/ 130604 h 130604"/>
                <a:gd name="connsiteX12" fmla="*/ 79625 w 93929"/>
                <a:gd name="connsiteY12" fmla="*/ 130604 h 130604"/>
                <a:gd name="connsiteX13" fmla="*/ 76351 w 93929"/>
                <a:gd name="connsiteY13" fmla="*/ 128682 h 130604"/>
                <a:gd name="connsiteX14" fmla="*/ 16634 w 93929"/>
                <a:gd name="connsiteY14" fmla="*/ 31108 h 130604"/>
                <a:gd name="connsiteX15" fmla="*/ 16046 w 93929"/>
                <a:gd name="connsiteY15" fmla="*/ 31108 h 130604"/>
                <a:gd name="connsiteX16" fmla="*/ 16046 w 93929"/>
                <a:gd name="connsiteY16" fmla="*/ 128682 h 130604"/>
                <a:gd name="connsiteX17" fmla="*/ 14112 w 93929"/>
                <a:gd name="connsiteY17" fmla="*/ 130604 h 130604"/>
                <a:gd name="connsiteX18" fmla="*/ 1941 w 93929"/>
                <a:gd name="connsiteY18" fmla="*/ 130604 h 130604"/>
                <a:gd name="connsiteX19" fmla="*/ 0 w 93929"/>
                <a:gd name="connsiteY19" fmla="*/ 128682 h 130604"/>
                <a:gd name="connsiteX20" fmla="*/ 0 w 93929"/>
                <a:gd name="connsiteY20"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29" h="130604">
                  <a:moveTo>
                    <a:pt x="0" y="1909"/>
                  </a:moveTo>
                  <a:cubicBezTo>
                    <a:pt x="0" y="636"/>
                    <a:pt x="647" y="0"/>
                    <a:pt x="1941" y="0"/>
                  </a:cubicBezTo>
                  <a:lnTo>
                    <a:pt x="14304" y="0"/>
                  </a:lnTo>
                  <a:cubicBezTo>
                    <a:pt x="15848" y="0"/>
                    <a:pt x="16951" y="636"/>
                    <a:pt x="17598" y="1909"/>
                  </a:cubicBezTo>
                  <a:lnTo>
                    <a:pt x="77123" y="99877"/>
                  </a:lnTo>
                  <a:lnTo>
                    <a:pt x="77896" y="99877"/>
                  </a:lnTo>
                  <a:lnTo>
                    <a:pt x="77896" y="1909"/>
                  </a:lnTo>
                  <a:cubicBezTo>
                    <a:pt x="77896" y="636"/>
                    <a:pt x="78536" y="0"/>
                    <a:pt x="79823" y="0"/>
                  </a:cubicBezTo>
                  <a:lnTo>
                    <a:pt x="92008" y="0"/>
                  </a:lnTo>
                  <a:cubicBezTo>
                    <a:pt x="93282" y="0"/>
                    <a:pt x="93929" y="636"/>
                    <a:pt x="93929" y="1909"/>
                  </a:cubicBezTo>
                  <a:lnTo>
                    <a:pt x="93929" y="128682"/>
                  </a:lnTo>
                  <a:cubicBezTo>
                    <a:pt x="93929" y="129961"/>
                    <a:pt x="93282" y="130604"/>
                    <a:pt x="92008" y="130604"/>
                  </a:cubicBezTo>
                  <a:lnTo>
                    <a:pt x="79625" y="130604"/>
                  </a:lnTo>
                  <a:cubicBezTo>
                    <a:pt x="78081" y="130604"/>
                    <a:pt x="76985" y="129961"/>
                    <a:pt x="76351" y="128682"/>
                  </a:cubicBezTo>
                  <a:lnTo>
                    <a:pt x="16634" y="31108"/>
                  </a:lnTo>
                  <a:lnTo>
                    <a:pt x="16046" y="31108"/>
                  </a:lnTo>
                  <a:lnTo>
                    <a:pt x="16046" y="128682"/>
                  </a:lnTo>
                  <a:cubicBezTo>
                    <a:pt x="16046" y="129961"/>
                    <a:pt x="15400" y="130604"/>
                    <a:pt x="14112" y="130604"/>
                  </a:cubicBezTo>
                  <a:lnTo>
                    <a:pt x="1941" y="130604"/>
                  </a:lnTo>
                  <a:cubicBezTo>
                    <a:pt x="647" y="130604"/>
                    <a:pt x="0" y="129961"/>
                    <a:pt x="0" y="128682"/>
                  </a:cubicBezTo>
                  <a:lnTo>
                    <a:pt x="0" y="1909"/>
                  </a:lnTo>
                  <a:close/>
                </a:path>
              </a:pathLst>
            </a:custGeom>
            <a:solidFill>
              <a:srgbClr val="FFFFFF"/>
            </a:solidFill>
            <a:ln w="7" cap="flat">
              <a:noFill/>
              <a:prstDash val="solid"/>
              <a:miter/>
            </a:ln>
          </p:spPr>
          <p:txBody>
            <a:bodyPr rtlCol="0" anchor="ctr"/>
            <a:lstStyle/>
            <a:p>
              <a:endParaRPr lang="de-DE"/>
            </a:p>
          </p:txBody>
        </p:sp>
        <p:sp>
          <p:nvSpPr>
            <p:cNvPr id="11" name="Freeform: Shape 10">
              <a:extLst>
                <a:ext uri="{FF2B5EF4-FFF2-40B4-BE49-F238E27FC236}">
                  <a16:creationId xmlns:a16="http://schemas.microsoft.com/office/drawing/2014/main" id="{C7741876-D441-4C87-B3DA-1BF9E3C8CE30}"/>
                </a:ext>
              </a:extLst>
            </p:cNvPr>
            <p:cNvSpPr/>
            <p:nvPr/>
          </p:nvSpPr>
          <p:spPr>
            <a:xfrm>
              <a:off x="1794665" y="388961"/>
              <a:ext cx="83103" cy="130604"/>
            </a:xfrm>
            <a:custGeom>
              <a:avLst/>
              <a:gdLst>
                <a:gd name="connsiteX0" fmla="*/ 0 w 83103"/>
                <a:gd name="connsiteY0" fmla="*/ 1909 h 130604"/>
                <a:gd name="connsiteX1" fmla="*/ 1947 w 83103"/>
                <a:gd name="connsiteY1" fmla="*/ 0 h 130604"/>
                <a:gd name="connsiteX2" fmla="*/ 81183 w 83103"/>
                <a:gd name="connsiteY2" fmla="*/ 0 h 130604"/>
                <a:gd name="connsiteX3" fmla="*/ 83104 w 83103"/>
                <a:gd name="connsiteY3" fmla="*/ 1909 h 130604"/>
                <a:gd name="connsiteX4" fmla="*/ 83104 w 83103"/>
                <a:gd name="connsiteY4" fmla="*/ 14012 h 130604"/>
                <a:gd name="connsiteX5" fmla="*/ 81183 w 83103"/>
                <a:gd name="connsiteY5" fmla="*/ 15941 h 130604"/>
                <a:gd name="connsiteX6" fmla="*/ 18555 w 83103"/>
                <a:gd name="connsiteY6" fmla="*/ 15941 h 130604"/>
                <a:gd name="connsiteX7" fmla="*/ 17406 w 83103"/>
                <a:gd name="connsiteY7" fmla="*/ 17095 h 130604"/>
                <a:gd name="connsiteX8" fmla="*/ 17406 w 83103"/>
                <a:gd name="connsiteY8" fmla="*/ 55505 h 130604"/>
                <a:gd name="connsiteX9" fmla="*/ 18555 w 83103"/>
                <a:gd name="connsiteY9" fmla="*/ 56646 h 130604"/>
                <a:gd name="connsiteX10" fmla="*/ 71698 w 83103"/>
                <a:gd name="connsiteY10" fmla="*/ 56646 h 130604"/>
                <a:gd name="connsiteX11" fmla="*/ 73645 w 83103"/>
                <a:gd name="connsiteY11" fmla="*/ 58575 h 130604"/>
                <a:gd name="connsiteX12" fmla="*/ 73645 w 83103"/>
                <a:gd name="connsiteY12" fmla="*/ 70678 h 130604"/>
                <a:gd name="connsiteX13" fmla="*/ 71698 w 83103"/>
                <a:gd name="connsiteY13" fmla="*/ 72600 h 130604"/>
                <a:gd name="connsiteX14" fmla="*/ 18555 w 83103"/>
                <a:gd name="connsiteY14" fmla="*/ 72600 h 130604"/>
                <a:gd name="connsiteX15" fmla="*/ 17406 w 83103"/>
                <a:gd name="connsiteY15" fmla="*/ 73748 h 130604"/>
                <a:gd name="connsiteX16" fmla="*/ 17406 w 83103"/>
                <a:gd name="connsiteY16" fmla="*/ 113509 h 130604"/>
                <a:gd name="connsiteX17" fmla="*/ 18555 w 83103"/>
                <a:gd name="connsiteY17" fmla="*/ 114670 h 130604"/>
                <a:gd name="connsiteX18" fmla="*/ 81183 w 83103"/>
                <a:gd name="connsiteY18" fmla="*/ 114670 h 130604"/>
                <a:gd name="connsiteX19" fmla="*/ 83104 w 83103"/>
                <a:gd name="connsiteY19" fmla="*/ 116598 h 130604"/>
                <a:gd name="connsiteX20" fmla="*/ 83104 w 83103"/>
                <a:gd name="connsiteY20" fmla="*/ 128682 h 130604"/>
                <a:gd name="connsiteX21" fmla="*/ 81183 w 83103"/>
                <a:gd name="connsiteY21" fmla="*/ 130604 h 130604"/>
                <a:gd name="connsiteX22" fmla="*/ 1947 w 83103"/>
                <a:gd name="connsiteY22" fmla="*/ 130604 h 130604"/>
                <a:gd name="connsiteX23" fmla="*/ 0 w 83103"/>
                <a:gd name="connsiteY23" fmla="*/ 128682 h 130604"/>
                <a:gd name="connsiteX24" fmla="*/ 0 w 83103"/>
                <a:gd name="connsiteY24"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09"/>
                  </a:moveTo>
                  <a:cubicBezTo>
                    <a:pt x="0" y="636"/>
                    <a:pt x="653" y="0"/>
                    <a:pt x="1947" y="0"/>
                  </a:cubicBezTo>
                  <a:lnTo>
                    <a:pt x="81183" y="0"/>
                  </a:lnTo>
                  <a:cubicBezTo>
                    <a:pt x="82463" y="0"/>
                    <a:pt x="83104" y="636"/>
                    <a:pt x="83104" y="1909"/>
                  </a:cubicBezTo>
                  <a:lnTo>
                    <a:pt x="83104" y="14012"/>
                  </a:lnTo>
                  <a:cubicBezTo>
                    <a:pt x="83104" y="15298"/>
                    <a:pt x="82463" y="15941"/>
                    <a:pt x="81183" y="15941"/>
                  </a:cubicBezTo>
                  <a:lnTo>
                    <a:pt x="18555" y="15941"/>
                  </a:lnTo>
                  <a:cubicBezTo>
                    <a:pt x="17782" y="15941"/>
                    <a:pt x="17406" y="16328"/>
                    <a:pt x="17406" y="17095"/>
                  </a:cubicBezTo>
                  <a:lnTo>
                    <a:pt x="17406" y="55505"/>
                  </a:lnTo>
                  <a:cubicBezTo>
                    <a:pt x="17406" y="56272"/>
                    <a:pt x="17782" y="56646"/>
                    <a:pt x="18555" y="56646"/>
                  </a:cubicBezTo>
                  <a:lnTo>
                    <a:pt x="71698" y="56646"/>
                  </a:lnTo>
                  <a:cubicBezTo>
                    <a:pt x="72991" y="56646"/>
                    <a:pt x="73645" y="57289"/>
                    <a:pt x="73645" y="58575"/>
                  </a:cubicBezTo>
                  <a:lnTo>
                    <a:pt x="73645" y="70678"/>
                  </a:lnTo>
                  <a:cubicBezTo>
                    <a:pt x="73645" y="71964"/>
                    <a:pt x="72991" y="72600"/>
                    <a:pt x="71698" y="72600"/>
                  </a:cubicBezTo>
                  <a:lnTo>
                    <a:pt x="18555" y="72600"/>
                  </a:lnTo>
                  <a:cubicBezTo>
                    <a:pt x="17782" y="72600"/>
                    <a:pt x="17406" y="72981"/>
                    <a:pt x="17406" y="73748"/>
                  </a:cubicBezTo>
                  <a:lnTo>
                    <a:pt x="17406" y="113509"/>
                  </a:lnTo>
                  <a:cubicBezTo>
                    <a:pt x="17406" y="114283"/>
                    <a:pt x="17782" y="114670"/>
                    <a:pt x="18555" y="114670"/>
                  </a:cubicBezTo>
                  <a:lnTo>
                    <a:pt x="81183" y="114670"/>
                  </a:lnTo>
                  <a:cubicBezTo>
                    <a:pt x="82463" y="114670"/>
                    <a:pt x="83104" y="115313"/>
                    <a:pt x="83104" y="116598"/>
                  </a:cubicBezTo>
                  <a:lnTo>
                    <a:pt x="83104" y="128682"/>
                  </a:lnTo>
                  <a:cubicBezTo>
                    <a:pt x="83104" y="129961"/>
                    <a:pt x="82463" y="130604"/>
                    <a:pt x="81183" y="130604"/>
                  </a:cubicBezTo>
                  <a:lnTo>
                    <a:pt x="1947" y="130604"/>
                  </a:lnTo>
                  <a:cubicBezTo>
                    <a:pt x="653" y="130604"/>
                    <a:pt x="0" y="129961"/>
                    <a:pt x="0" y="128682"/>
                  </a:cubicBezTo>
                  <a:lnTo>
                    <a:pt x="0" y="1909"/>
                  </a:lnTo>
                  <a:close/>
                </a:path>
              </a:pathLst>
            </a:custGeom>
            <a:solidFill>
              <a:srgbClr val="FFFFFF"/>
            </a:solidFill>
            <a:ln w="7" cap="flat">
              <a:noFill/>
              <a:prstDash val="solid"/>
              <a:miter/>
            </a:ln>
          </p:spPr>
          <p:txBody>
            <a:bodyPr rtlCol="0" anchor="ctr"/>
            <a:lstStyle/>
            <a:p>
              <a:endParaRPr lang="de-DE"/>
            </a:p>
          </p:txBody>
        </p:sp>
        <p:sp>
          <p:nvSpPr>
            <p:cNvPr id="13" name="Freeform: Shape 12">
              <a:extLst>
                <a:ext uri="{FF2B5EF4-FFF2-40B4-BE49-F238E27FC236}">
                  <a16:creationId xmlns:a16="http://schemas.microsoft.com/office/drawing/2014/main" id="{714731C9-0A25-4DCA-A157-DB87F1F06BEC}"/>
                </a:ext>
              </a:extLst>
            </p:cNvPr>
            <p:cNvSpPr/>
            <p:nvPr/>
          </p:nvSpPr>
          <p:spPr>
            <a:xfrm>
              <a:off x="1900772" y="386842"/>
              <a:ext cx="89457" cy="134835"/>
            </a:xfrm>
            <a:custGeom>
              <a:avLst/>
              <a:gdLst>
                <a:gd name="connsiteX0" fmla="*/ 3485 w 89457"/>
                <a:gd name="connsiteY0" fmla="*/ 104101 h 134835"/>
                <a:gd name="connsiteX1" fmla="*/ 1835 w 89457"/>
                <a:gd name="connsiteY1" fmla="*/ 98250 h 134835"/>
                <a:gd name="connsiteX2" fmla="*/ 779 w 89457"/>
                <a:gd name="connsiteY2" fmla="*/ 91145 h 134835"/>
                <a:gd name="connsiteX3" fmla="*/ 178 w 89457"/>
                <a:gd name="connsiteY3" fmla="*/ 81246 h 134835"/>
                <a:gd name="connsiteX4" fmla="*/ 0 w 89457"/>
                <a:gd name="connsiteY4" fmla="*/ 67424 h 134835"/>
                <a:gd name="connsiteX5" fmla="*/ 178 w 89457"/>
                <a:gd name="connsiteY5" fmla="*/ 53589 h 134835"/>
                <a:gd name="connsiteX6" fmla="*/ 779 w 89457"/>
                <a:gd name="connsiteY6" fmla="*/ 43690 h 134835"/>
                <a:gd name="connsiteX7" fmla="*/ 1835 w 89457"/>
                <a:gd name="connsiteY7" fmla="*/ 36579 h 134835"/>
                <a:gd name="connsiteX8" fmla="*/ 3485 w 89457"/>
                <a:gd name="connsiteY8" fmla="*/ 30734 h 134835"/>
                <a:gd name="connsiteX9" fmla="*/ 19717 w 89457"/>
                <a:gd name="connsiteY9" fmla="*/ 7583 h 134835"/>
                <a:gd name="connsiteX10" fmla="*/ 47143 w 89457"/>
                <a:gd name="connsiteY10" fmla="*/ 0 h 134835"/>
                <a:gd name="connsiteX11" fmla="*/ 72760 w 89457"/>
                <a:gd name="connsiteY11" fmla="*/ 6829 h 134835"/>
                <a:gd name="connsiteX12" fmla="*/ 89289 w 89457"/>
                <a:gd name="connsiteY12" fmla="*/ 26306 h 134835"/>
                <a:gd name="connsiteX13" fmla="*/ 88516 w 89457"/>
                <a:gd name="connsiteY13" fmla="*/ 28805 h 134835"/>
                <a:gd name="connsiteX14" fmla="*/ 76912 w 89457"/>
                <a:gd name="connsiteY14" fmla="*/ 34381 h 134835"/>
                <a:gd name="connsiteX15" fmla="*/ 74206 w 89457"/>
                <a:gd name="connsiteY15" fmla="*/ 33410 h 134835"/>
                <a:gd name="connsiteX16" fmla="*/ 63988 w 89457"/>
                <a:gd name="connsiteY16" fmla="*/ 20841 h 134835"/>
                <a:gd name="connsiteX17" fmla="*/ 47143 w 89457"/>
                <a:gd name="connsiteY17" fmla="*/ 15947 h 134835"/>
                <a:gd name="connsiteX18" fmla="*/ 29769 w 89457"/>
                <a:gd name="connsiteY18" fmla="*/ 20946 h 134835"/>
                <a:gd name="connsiteX19" fmla="*/ 19915 w 89457"/>
                <a:gd name="connsiteY19" fmla="*/ 35142 h 134835"/>
                <a:gd name="connsiteX20" fmla="*/ 18852 w 89457"/>
                <a:gd name="connsiteY20" fmla="*/ 39662 h 134835"/>
                <a:gd name="connsiteX21" fmla="*/ 18066 w 89457"/>
                <a:gd name="connsiteY21" fmla="*/ 45619 h 134835"/>
                <a:gd name="connsiteX22" fmla="*/ 17591 w 89457"/>
                <a:gd name="connsiteY22" fmla="*/ 54455 h 134835"/>
                <a:gd name="connsiteX23" fmla="*/ 17400 w 89457"/>
                <a:gd name="connsiteY23" fmla="*/ 67424 h 134835"/>
                <a:gd name="connsiteX24" fmla="*/ 17591 w 89457"/>
                <a:gd name="connsiteY24" fmla="*/ 80380 h 134835"/>
                <a:gd name="connsiteX25" fmla="*/ 18066 w 89457"/>
                <a:gd name="connsiteY25" fmla="*/ 89217 h 134835"/>
                <a:gd name="connsiteX26" fmla="*/ 18852 w 89457"/>
                <a:gd name="connsiteY26" fmla="*/ 95272 h 134835"/>
                <a:gd name="connsiteX27" fmla="*/ 19915 w 89457"/>
                <a:gd name="connsiteY27" fmla="*/ 99693 h 134835"/>
                <a:gd name="connsiteX28" fmla="*/ 29769 w 89457"/>
                <a:gd name="connsiteY28" fmla="*/ 113902 h 134835"/>
                <a:gd name="connsiteX29" fmla="*/ 47143 w 89457"/>
                <a:gd name="connsiteY29" fmla="*/ 118901 h 134835"/>
                <a:gd name="connsiteX30" fmla="*/ 63988 w 89457"/>
                <a:gd name="connsiteY30" fmla="*/ 114001 h 134835"/>
                <a:gd name="connsiteX31" fmla="*/ 74206 w 89457"/>
                <a:gd name="connsiteY31" fmla="*/ 101412 h 134835"/>
                <a:gd name="connsiteX32" fmla="*/ 76912 w 89457"/>
                <a:gd name="connsiteY32" fmla="*/ 100461 h 134835"/>
                <a:gd name="connsiteX33" fmla="*/ 88516 w 89457"/>
                <a:gd name="connsiteY33" fmla="*/ 106030 h 134835"/>
                <a:gd name="connsiteX34" fmla="*/ 89289 w 89457"/>
                <a:gd name="connsiteY34" fmla="*/ 108529 h 134835"/>
                <a:gd name="connsiteX35" fmla="*/ 72760 w 89457"/>
                <a:gd name="connsiteY35" fmla="*/ 128013 h 134835"/>
                <a:gd name="connsiteX36" fmla="*/ 47143 w 89457"/>
                <a:gd name="connsiteY36" fmla="*/ 134835 h 134835"/>
                <a:gd name="connsiteX37" fmla="*/ 19717 w 89457"/>
                <a:gd name="connsiteY37" fmla="*/ 127245 h 134835"/>
                <a:gd name="connsiteX38" fmla="*/ 3485 w 89457"/>
                <a:gd name="connsiteY38" fmla="*/ 104101 h 134835"/>
                <a:gd name="connsiteX39" fmla="*/ 3485 w 89457"/>
                <a:gd name="connsiteY39" fmla="*/ 104101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9457" h="134835">
                  <a:moveTo>
                    <a:pt x="3485" y="104101"/>
                  </a:moveTo>
                  <a:cubicBezTo>
                    <a:pt x="2825" y="102179"/>
                    <a:pt x="2284" y="100238"/>
                    <a:pt x="1835" y="98250"/>
                  </a:cubicBezTo>
                  <a:cubicBezTo>
                    <a:pt x="1373" y="96275"/>
                    <a:pt x="1036" y="93894"/>
                    <a:pt x="779" y="91145"/>
                  </a:cubicBezTo>
                  <a:cubicBezTo>
                    <a:pt x="521" y="88390"/>
                    <a:pt x="323" y="85090"/>
                    <a:pt x="178" y="81246"/>
                  </a:cubicBezTo>
                  <a:cubicBezTo>
                    <a:pt x="59" y="77415"/>
                    <a:pt x="0" y="72803"/>
                    <a:pt x="0" y="67424"/>
                  </a:cubicBezTo>
                  <a:cubicBezTo>
                    <a:pt x="0" y="62038"/>
                    <a:pt x="59" y="57427"/>
                    <a:pt x="178" y="53589"/>
                  </a:cubicBezTo>
                  <a:cubicBezTo>
                    <a:pt x="323" y="49745"/>
                    <a:pt x="515" y="46452"/>
                    <a:pt x="779" y="43690"/>
                  </a:cubicBezTo>
                  <a:cubicBezTo>
                    <a:pt x="1036" y="40941"/>
                    <a:pt x="1373" y="38580"/>
                    <a:pt x="1835" y="36579"/>
                  </a:cubicBezTo>
                  <a:cubicBezTo>
                    <a:pt x="2284" y="34598"/>
                    <a:pt x="2825" y="32643"/>
                    <a:pt x="3485" y="30734"/>
                  </a:cubicBezTo>
                  <a:cubicBezTo>
                    <a:pt x="6819" y="20362"/>
                    <a:pt x="12244" y="12641"/>
                    <a:pt x="19717" y="7583"/>
                  </a:cubicBezTo>
                  <a:cubicBezTo>
                    <a:pt x="27189" y="2532"/>
                    <a:pt x="36344" y="0"/>
                    <a:pt x="47143" y="0"/>
                  </a:cubicBezTo>
                  <a:cubicBezTo>
                    <a:pt x="56945" y="0"/>
                    <a:pt x="65493" y="2270"/>
                    <a:pt x="72760" y="6829"/>
                  </a:cubicBezTo>
                  <a:cubicBezTo>
                    <a:pt x="80054" y="11362"/>
                    <a:pt x="85553" y="17856"/>
                    <a:pt x="89289" y="26306"/>
                  </a:cubicBezTo>
                  <a:cubicBezTo>
                    <a:pt x="89665" y="27460"/>
                    <a:pt x="89414" y="28307"/>
                    <a:pt x="88516" y="28805"/>
                  </a:cubicBezTo>
                  <a:lnTo>
                    <a:pt x="76912" y="34381"/>
                  </a:lnTo>
                  <a:cubicBezTo>
                    <a:pt x="75638" y="35024"/>
                    <a:pt x="74727" y="34696"/>
                    <a:pt x="74206" y="33410"/>
                  </a:cubicBezTo>
                  <a:cubicBezTo>
                    <a:pt x="71625" y="28307"/>
                    <a:pt x="68232" y="24115"/>
                    <a:pt x="63988" y="20841"/>
                  </a:cubicBezTo>
                  <a:cubicBezTo>
                    <a:pt x="59730" y="17574"/>
                    <a:pt x="54120" y="15947"/>
                    <a:pt x="47143" y="15947"/>
                  </a:cubicBezTo>
                  <a:cubicBezTo>
                    <a:pt x="39941" y="15947"/>
                    <a:pt x="34146" y="17607"/>
                    <a:pt x="29769" y="20946"/>
                  </a:cubicBezTo>
                  <a:cubicBezTo>
                    <a:pt x="25380" y="24272"/>
                    <a:pt x="22106" y="29002"/>
                    <a:pt x="19915" y="35142"/>
                  </a:cubicBezTo>
                  <a:cubicBezTo>
                    <a:pt x="19518" y="36553"/>
                    <a:pt x="19169" y="38068"/>
                    <a:pt x="18852" y="39662"/>
                  </a:cubicBezTo>
                  <a:cubicBezTo>
                    <a:pt x="18528" y="41263"/>
                    <a:pt x="18271" y="43250"/>
                    <a:pt x="18066" y="45619"/>
                  </a:cubicBezTo>
                  <a:cubicBezTo>
                    <a:pt x="17895" y="47987"/>
                    <a:pt x="17710" y="50932"/>
                    <a:pt x="17591" y="54455"/>
                  </a:cubicBezTo>
                  <a:cubicBezTo>
                    <a:pt x="17452" y="57978"/>
                    <a:pt x="17400" y="62288"/>
                    <a:pt x="17400" y="67424"/>
                  </a:cubicBezTo>
                  <a:cubicBezTo>
                    <a:pt x="17400" y="72541"/>
                    <a:pt x="17452" y="76864"/>
                    <a:pt x="17591" y="80380"/>
                  </a:cubicBezTo>
                  <a:cubicBezTo>
                    <a:pt x="17710" y="83910"/>
                    <a:pt x="17895" y="86849"/>
                    <a:pt x="18066" y="89217"/>
                  </a:cubicBezTo>
                  <a:cubicBezTo>
                    <a:pt x="18271" y="91585"/>
                    <a:pt x="18528" y="93612"/>
                    <a:pt x="18852" y="95272"/>
                  </a:cubicBezTo>
                  <a:cubicBezTo>
                    <a:pt x="19169" y="96938"/>
                    <a:pt x="19518" y="98407"/>
                    <a:pt x="19915" y="99693"/>
                  </a:cubicBezTo>
                  <a:cubicBezTo>
                    <a:pt x="22106" y="105833"/>
                    <a:pt x="25373" y="110576"/>
                    <a:pt x="29769" y="113902"/>
                  </a:cubicBezTo>
                  <a:cubicBezTo>
                    <a:pt x="34146" y="117241"/>
                    <a:pt x="39941" y="118901"/>
                    <a:pt x="47143" y="118901"/>
                  </a:cubicBezTo>
                  <a:cubicBezTo>
                    <a:pt x="54120" y="118901"/>
                    <a:pt x="59730" y="117267"/>
                    <a:pt x="63988" y="114001"/>
                  </a:cubicBezTo>
                  <a:cubicBezTo>
                    <a:pt x="68232" y="110734"/>
                    <a:pt x="71625" y="106542"/>
                    <a:pt x="74206" y="101412"/>
                  </a:cubicBezTo>
                  <a:cubicBezTo>
                    <a:pt x="74727" y="100146"/>
                    <a:pt x="75638" y="99824"/>
                    <a:pt x="76912" y="100461"/>
                  </a:cubicBezTo>
                  <a:lnTo>
                    <a:pt x="88516" y="106030"/>
                  </a:lnTo>
                  <a:cubicBezTo>
                    <a:pt x="89414" y="106542"/>
                    <a:pt x="89665" y="107368"/>
                    <a:pt x="89289" y="108529"/>
                  </a:cubicBezTo>
                  <a:cubicBezTo>
                    <a:pt x="85553" y="116979"/>
                    <a:pt x="80048" y="123480"/>
                    <a:pt x="72760" y="128013"/>
                  </a:cubicBezTo>
                  <a:cubicBezTo>
                    <a:pt x="65493" y="132566"/>
                    <a:pt x="56945" y="134835"/>
                    <a:pt x="47143" y="134835"/>
                  </a:cubicBezTo>
                  <a:cubicBezTo>
                    <a:pt x="36344" y="134835"/>
                    <a:pt x="27189" y="132303"/>
                    <a:pt x="19717" y="127245"/>
                  </a:cubicBezTo>
                  <a:cubicBezTo>
                    <a:pt x="12244" y="122194"/>
                    <a:pt x="6819" y="114486"/>
                    <a:pt x="3485" y="104101"/>
                  </a:cubicBezTo>
                  <a:lnTo>
                    <a:pt x="3485" y="104101"/>
                  </a:lnTo>
                  <a:close/>
                </a:path>
              </a:pathLst>
            </a:custGeom>
            <a:solidFill>
              <a:srgbClr val="FFFFFF"/>
            </a:solidFill>
            <a:ln w="7" cap="flat">
              <a:noFill/>
              <a:prstDash val="solid"/>
              <a:miter/>
            </a:ln>
          </p:spPr>
          <p:txBody>
            <a:bodyPr rtlCol="0" anchor="ctr"/>
            <a:lstStyle/>
            <a:p>
              <a:endParaRPr lang="de-DE"/>
            </a:p>
          </p:txBody>
        </p:sp>
        <p:sp>
          <p:nvSpPr>
            <p:cNvPr id="14" name="Freeform: Shape 13">
              <a:extLst>
                <a:ext uri="{FF2B5EF4-FFF2-40B4-BE49-F238E27FC236}">
                  <a16:creationId xmlns:a16="http://schemas.microsoft.com/office/drawing/2014/main" id="{4CA5F04F-A041-4919-B724-DA2F3AAF7DE8}"/>
                </a:ext>
              </a:extLst>
            </p:cNvPr>
            <p:cNvSpPr/>
            <p:nvPr/>
          </p:nvSpPr>
          <p:spPr>
            <a:xfrm>
              <a:off x="2016728" y="388961"/>
              <a:ext cx="97302" cy="130604"/>
            </a:xfrm>
            <a:custGeom>
              <a:avLst/>
              <a:gdLst>
                <a:gd name="connsiteX0" fmla="*/ 0 w 97302"/>
                <a:gd name="connsiteY0" fmla="*/ 1909 h 130604"/>
                <a:gd name="connsiteX1" fmla="*/ 1947 w 97302"/>
                <a:gd name="connsiteY1" fmla="*/ 0 h 130604"/>
                <a:gd name="connsiteX2" fmla="*/ 15439 w 97302"/>
                <a:gd name="connsiteY2" fmla="*/ 0 h 130604"/>
                <a:gd name="connsiteX3" fmla="*/ 17413 w 97302"/>
                <a:gd name="connsiteY3" fmla="*/ 1909 h 130604"/>
                <a:gd name="connsiteX4" fmla="*/ 17413 w 97302"/>
                <a:gd name="connsiteY4" fmla="*/ 69910 h 130604"/>
                <a:gd name="connsiteX5" fmla="*/ 73051 w 97302"/>
                <a:gd name="connsiteY5" fmla="*/ 1725 h 130604"/>
                <a:gd name="connsiteX6" fmla="*/ 76153 w 97302"/>
                <a:gd name="connsiteY6" fmla="*/ 0 h 130604"/>
                <a:gd name="connsiteX7" fmla="*/ 92002 w 97302"/>
                <a:gd name="connsiteY7" fmla="*/ 0 h 130604"/>
                <a:gd name="connsiteX8" fmla="*/ 93256 w 97302"/>
                <a:gd name="connsiteY8" fmla="*/ 669 h 130604"/>
                <a:gd name="connsiteX9" fmla="*/ 92774 w 97302"/>
                <a:gd name="connsiteY9" fmla="*/ 2296 h 130604"/>
                <a:gd name="connsiteX10" fmla="*/ 51796 w 97302"/>
                <a:gd name="connsiteY10" fmla="*/ 51280 h 130604"/>
                <a:gd name="connsiteX11" fmla="*/ 96833 w 97302"/>
                <a:gd name="connsiteY11" fmla="*/ 128485 h 130604"/>
                <a:gd name="connsiteX12" fmla="*/ 95678 w 97302"/>
                <a:gd name="connsiteY12" fmla="*/ 130604 h 130604"/>
                <a:gd name="connsiteX13" fmla="*/ 80206 w 97302"/>
                <a:gd name="connsiteY13" fmla="*/ 130604 h 130604"/>
                <a:gd name="connsiteX14" fmla="*/ 77500 w 97302"/>
                <a:gd name="connsiteY14" fmla="*/ 128872 h 130604"/>
                <a:gd name="connsiteX15" fmla="*/ 40714 w 97302"/>
                <a:gd name="connsiteY15" fmla="*/ 64531 h 130604"/>
                <a:gd name="connsiteX16" fmla="*/ 17413 w 97302"/>
                <a:gd name="connsiteY16" fmla="*/ 92582 h 130604"/>
                <a:gd name="connsiteX17" fmla="*/ 17413 w 97302"/>
                <a:gd name="connsiteY17" fmla="*/ 128682 h 130604"/>
                <a:gd name="connsiteX18" fmla="*/ 15439 w 97302"/>
                <a:gd name="connsiteY18" fmla="*/ 130604 h 130604"/>
                <a:gd name="connsiteX19" fmla="*/ 1947 w 97302"/>
                <a:gd name="connsiteY19" fmla="*/ 130604 h 130604"/>
                <a:gd name="connsiteX20" fmla="*/ 0 w 97302"/>
                <a:gd name="connsiteY20" fmla="*/ 128682 h 130604"/>
                <a:gd name="connsiteX21" fmla="*/ 0 w 97302"/>
                <a:gd name="connsiteY21"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302" h="130604">
                  <a:moveTo>
                    <a:pt x="0" y="1909"/>
                  </a:moveTo>
                  <a:cubicBezTo>
                    <a:pt x="0" y="636"/>
                    <a:pt x="653" y="0"/>
                    <a:pt x="1947" y="0"/>
                  </a:cubicBezTo>
                  <a:lnTo>
                    <a:pt x="15439" y="0"/>
                  </a:lnTo>
                  <a:cubicBezTo>
                    <a:pt x="16753" y="0"/>
                    <a:pt x="17413" y="636"/>
                    <a:pt x="17413" y="1909"/>
                  </a:cubicBezTo>
                  <a:lnTo>
                    <a:pt x="17413" y="69910"/>
                  </a:lnTo>
                  <a:lnTo>
                    <a:pt x="73051" y="1725"/>
                  </a:lnTo>
                  <a:cubicBezTo>
                    <a:pt x="73823" y="571"/>
                    <a:pt x="74859" y="0"/>
                    <a:pt x="76153" y="0"/>
                  </a:cubicBezTo>
                  <a:lnTo>
                    <a:pt x="92002" y="0"/>
                  </a:lnTo>
                  <a:cubicBezTo>
                    <a:pt x="92642" y="0"/>
                    <a:pt x="93058" y="223"/>
                    <a:pt x="93256" y="669"/>
                  </a:cubicBezTo>
                  <a:cubicBezTo>
                    <a:pt x="93454" y="1122"/>
                    <a:pt x="93276" y="1666"/>
                    <a:pt x="92774" y="2296"/>
                  </a:cubicBezTo>
                  <a:lnTo>
                    <a:pt x="51796" y="51280"/>
                  </a:lnTo>
                  <a:lnTo>
                    <a:pt x="96833" y="128485"/>
                  </a:lnTo>
                  <a:cubicBezTo>
                    <a:pt x="97724" y="129909"/>
                    <a:pt x="97348" y="130604"/>
                    <a:pt x="95678" y="130604"/>
                  </a:cubicBezTo>
                  <a:lnTo>
                    <a:pt x="80206" y="130604"/>
                  </a:lnTo>
                  <a:cubicBezTo>
                    <a:pt x="79057" y="130604"/>
                    <a:pt x="78140" y="130033"/>
                    <a:pt x="77500" y="128872"/>
                  </a:cubicBezTo>
                  <a:lnTo>
                    <a:pt x="40714" y="64531"/>
                  </a:lnTo>
                  <a:lnTo>
                    <a:pt x="17413" y="92582"/>
                  </a:lnTo>
                  <a:lnTo>
                    <a:pt x="17413" y="128682"/>
                  </a:lnTo>
                  <a:cubicBezTo>
                    <a:pt x="17413" y="129961"/>
                    <a:pt x="16753" y="130604"/>
                    <a:pt x="15439" y="130604"/>
                  </a:cubicBezTo>
                  <a:lnTo>
                    <a:pt x="1947" y="130604"/>
                  </a:lnTo>
                  <a:cubicBezTo>
                    <a:pt x="653" y="130604"/>
                    <a:pt x="0" y="129961"/>
                    <a:pt x="0" y="128682"/>
                  </a:cubicBezTo>
                  <a:lnTo>
                    <a:pt x="0" y="1909"/>
                  </a:lnTo>
                  <a:close/>
                </a:path>
              </a:pathLst>
            </a:custGeom>
            <a:solidFill>
              <a:srgbClr val="FFFFFF"/>
            </a:solidFill>
            <a:ln w="7" cap="flat">
              <a:noFill/>
              <a:prstDash val="solid"/>
              <a:miter/>
            </a:ln>
          </p:spPr>
          <p:txBody>
            <a:bodyPr rtlCol="0" anchor="ctr"/>
            <a:lstStyle/>
            <a:p>
              <a:endParaRPr lang="de-DE"/>
            </a:p>
          </p:txBody>
        </p:sp>
        <p:sp>
          <p:nvSpPr>
            <p:cNvPr id="15" name="Freeform: Shape 14">
              <a:extLst>
                <a:ext uri="{FF2B5EF4-FFF2-40B4-BE49-F238E27FC236}">
                  <a16:creationId xmlns:a16="http://schemas.microsoft.com/office/drawing/2014/main" id="{B64BE1C2-CE6C-46F2-B672-A0DED2FC7300}"/>
                </a:ext>
              </a:extLst>
            </p:cNvPr>
            <p:cNvSpPr/>
            <p:nvPr/>
          </p:nvSpPr>
          <p:spPr>
            <a:xfrm>
              <a:off x="2137714" y="388961"/>
              <a:ext cx="83123" cy="130604"/>
            </a:xfrm>
            <a:custGeom>
              <a:avLst/>
              <a:gdLst>
                <a:gd name="connsiteX0" fmla="*/ 0 w 83123"/>
                <a:gd name="connsiteY0" fmla="*/ 1909 h 130604"/>
                <a:gd name="connsiteX1" fmla="*/ 1947 w 83123"/>
                <a:gd name="connsiteY1" fmla="*/ 0 h 130604"/>
                <a:gd name="connsiteX2" fmla="*/ 81190 w 83123"/>
                <a:gd name="connsiteY2" fmla="*/ 0 h 130604"/>
                <a:gd name="connsiteX3" fmla="*/ 83124 w 83123"/>
                <a:gd name="connsiteY3" fmla="*/ 1909 h 130604"/>
                <a:gd name="connsiteX4" fmla="*/ 83124 w 83123"/>
                <a:gd name="connsiteY4" fmla="*/ 14012 h 130604"/>
                <a:gd name="connsiteX5" fmla="*/ 81190 w 83123"/>
                <a:gd name="connsiteY5" fmla="*/ 15941 h 130604"/>
                <a:gd name="connsiteX6" fmla="*/ 18555 w 83123"/>
                <a:gd name="connsiteY6" fmla="*/ 15941 h 130604"/>
                <a:gd name="connsiteX7" fmla="*/ 17406 w 83123"/>
                <a:gd name="connsiteY7" fmla="*/ 17095 h 130604"/>
                <a:gd name="connsiteX8" fmla="*/ 17406 w 83123"/>
                <a:gd name="connsiteY8" fmla="*/ 55505 h 130604"/>
                <a:gd name="connsiteX9" fmla="*/ 18555 w 83123"/>
                <a:gd name="connsiteY9" fmla="*/ 56646 h 130604"/>
                <a:gd name="connsiteX10" fmla="*/ 71704 w 83123"/>
                <a:gd name="connsiteY10" fmla="*/ 56646 h 130604"/>
                <a:gd name="connsiteX11" fmla="*/ 73658 w 83123"/>
                <a:gd name="connsiteY11" fmla="*/ 58575 h 130604"/>
                <a:gd name="connsiteX12" fmla="*/ 73658 w 83123"/>
                <a:gd name="connsiteY12" fmla="*/ 70678 h 130604"/>
                <a:gd name="connsiteX13" fmla="*/ 71704 w 83123"/>
                <a:gd name="connsiteY13" fmla="*/ 72600 h 130604"/>
                <a:gd name="connsiteX14" fmla="*/ 18555 w 83123"/>
                <a:gd name="connsiteY14" fmla="*/ 72600 h 130604"/>
                <a:gd name="connsiteX15" fmla="*/ 17406 w 83123"/>
                <a:gd name="connsiteY15" fmla="*/ 73748 h 130604"/>
                <a:gd name="connsiteX16" fmla="*/ 17406 w 83123"/>
                <a:gd name="connsiteY16" fmla="*/ 113509 h 130604"/>
                <a:gd name="connsiteX17" fmla="*/ 18555 w 83123"/>
                <a:gd name="connsiteY17" fmla="*/ 114670 h 130604"/>
                <a:gd name="connsiteX18" fmla="*/ 81190 w 83123"/>
                <a:gd name="connsiteY18" fmla="*/ 114670 h 130604"/>
                <a:gd name="connsiteX19" fmla="*/ 83124 w 83123"/>
                <a:gd name="connsiteY19" fmla="*/ 116598 h 130604"/>
                <a:gd name="connsiteX20" fmla="*/ 83124 w 83123"/>
                <a:gd name="connsiteY20" fmla="*/ 128682 h 130604"/>
                <a:gd name="connsiteX21" fmla="*/ 81190 w 83123"/>
                <a:gd name="connsiteY21" fmla="*/ 130604 h 130604"/>
                <a:gd name="connsiteX22" fmla="*/ 1954 w 83123"/>
                <a:gd name="connsiteY22" fmla="*/ 130604 h 130604"/>
                <a:gd name="connsiteX23" fmla="*/ 0 w 83123"/>
                <a:gd name="connsiteY23" fmla="*/ 128682 h 130604"/>
                <a:gd name="connsiteX24" fmla="*/ 0 w 83123"/>
                <a:gd name="connsiteY24"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23" h="130604">
                  <a:moveTo>
                    <a:pt x="0" y="1909"/>
                  </a:moveTo>
                  <a:cubicBezTo>
                    <a:pt x="0" y="636"/>
                    <a:pt x="660" y="0"/>
                    <a:pt x="1947" y="0"/>
                  </a:cubicBezTo>
                  <a:lnTo>
                    <a:pt x="81190" y="0"/>
                  </a:lnTo>
                  <a:cubicBezTo>
                    <a:pt x="82483" y="0"/>
                    <a:pt x="83124" y="636"/>
                    <a:pt x="83124" y="1909"/>
                  </a:cubicBezTo>
                  <a:lnTo>
                    <a:pt x="83124" y="14012"/>
                  </a:lnTo>
                  <a:cubicBezTo>
                    <a:pt x="83124" y="15298"/>
                    <a:pt x="82483" y="15941"/>
                    <a:pt x="81190" y="15941"/>
                  </a:cubicBezTo>
                  <a:lnTo>
                    <a:pt x="18555" y="15941"/>
                  </a:lnTo>
                  <a:cubicBezTo>
                    <a:pt x="17782" y="15941"/>
                    <a:pt x="17406" y="16328"/>
                    <a:pt x="17406" y="17095"/>
                  </a:cubicBezTo>
                  <a:lnTo>
                    <a:pt x="17406" y="55505"/>
                  </a:lnTo>
                  <a:cubicBezTo>
                    <a:pt x="17406" y="56272"/>
                    <a:pt x="17782" y="56646"/>
                    <a:pt x="18555" y="56646"/>
                  </a:cubicBezTo>
                  <a:lnTo>
                    <a:pt x="71704" y="56646"/>
                  </a:lnTo>
                  <a:cubicBezTo>
                    <a:pt x="73005" y="56646"/>
                    <a:pt x="73658" y="57289"/>
                    <a:pt x="73658" y="58575"/>
                  </a:cubicBezTo>
                  <a:lnTo>
                    <a:pt x="73658" y="70678"/>
                  </a:lnTo>
                  <a:cubicBezTo>
                    <a:pt x="73658" y="71964"/>
                    <a:pt x="72998" y="72600"/>
                    <a:pt x="71704" y="72600"/>
                  </a:cubicBezTo>
                  <a:lnTo>
                    <a:pt x="18555" y="72600"/>
                  </a:lnTo>
                  <a:cubicBezTo>
                    <a:pt x="17782" y="72600"/>
                    <a:pt x="17406" y="72981"/>
                    <a:pt x="17406" y="73748"/>
                  </a:cubicBezTo>
                  <a:lnTo>
                    <a:pt x="17406" y="113509"/>
                  </a:lnTo>
                  <a:cubicBezTo>
                    <a:pt x="17406" y="114283"/>
                    <a:pt x="17782" y="114670"/>
                    <a:pt x="18555" y="114670"/>
                  </a:cubicBezTo>
                  <a:lnTo>
                    <a:pt x="81190" y="114670"/>
                  </a:lnTo>
                  <a:cubicBezTo>
                    <a:pt x="82483" y="114670"/>
                    <a:pt x="83124" y="115313"/>
                    <a:pt x="83124" y="116598"/>
                  </a:cubicBezTo>
                  <a:lnTo>
                    <a:pt x="83124" y="128682"/>
                  </a:lnTo>
                  <a:cubicBezTo>
                    <a:pt x="83124" y="129961"/>
                    <a:pt x="82483" y="130604"/>
                    <a:pt x="81190" y="130604"/>
                  </a:cubicBezTo>
                  <a:lnTo>
                    <a:pt x="1954" y="130604"/>
                  </a:lnTo>
                  <a:cubicBezTo>
                    <a:pt x="660" y="130604"/>
                    <a:pt x="0" y="129961"/>
                    <a:pt x="0" y="128682"/>
                  </a:cubicBezTo>
                  <a:lnTo>
                    <a:pt x="0" y="1909"/>
                  </a:lnTo>
                  <a:close/>
                </a:path>
              </a:pathLst>
            </a:custGeom>
            <a:solidFill>
              <a:srgbClr val="FFFFFF"/>
            </a:solidFill>
            <a:ln w="7" cap="flat">
              <a:noFill/>
              <a:prstDash val="solid"/>
              <a:miter/>
            </a:ln>
          </p:spPr>
          <p:txBody>
            <a:bodyPr rtlCol="0" anchor="ctr"/>
            <a:lstStyle/>
            <a:p>
              <a:endParaRPr lang="de-DE"/>
            </a:p>
          </p:txBody>
        </p:sp>
        <p:sp>
          <p:nvSpPr>
            <p:cNvPr id="17" name="Freeform: Shape 16">
              <a:extLst>
                <a:ext uri="{FF2B5EF4-FFF2-40B4-BE49-F238E27FC236}">
                  <a16:creationId xmlns:a16="http://schemas.microsoft.com/office/drawing/2014/main" id="{3CA1E02B-EAE6-4810-8FCD-280AA984F13D}"/>
                </a:ext>
              </a:extLst>
            </p:cNvPr>
            <p:cNvSpPr/>
            <p:nvPr/>
          </p:nvSpPr>
          <p:spPr>
            <a:xfrm>
              <a:off x="1418786" y="593083"/>
              <a:ext cx="94851" cy="134835"/>
            </a:xfrm>
            <a:custGeom>
              <a:avLst/>
              <a:gdLst>
                <a:gd name="connsiteX0" fmla="*/ 46917 w 94851"/>
                <a:gd name="connsiteY0" fmla="*/ 134835 h 134835"/>
                <a:gd name="connsiteX1" fmla="*/ 33194 w 94851"/>
                <a:gd name="connsiteY1" fmla="*/ 133484 h 134835"/>
                <a:gd name="connsiteX2" fmla="*/ 20434 w 94851"/>
                <a:gd name="connsiteY2" fmla="*/ 129928 h 134835"/>
                <a:gd name="connsiteX3" fmla="*/ 9437 w 94851"/>
                <a:gd name="connsiteY3" fmla="*/ 124753 h 134835"/>
                <a:gd name="connsiteX4" fmla="*/ 724 w 94851"/>
                <a:gd name="connsiteY4" fmla="*/ 118507 h 134835"/>
                <a:gd name="connsiteX5" fmla="*/ 539 w 94851"/>
                <a:gd name="connsiteY5" fmla="*/ 115627 h 134835"/>
                <a:gd name="connsiteX6" fmla="*/ 9048 w 94851"/>
                <a:gd name="connsiteY6" fmla="*/ 105643 h 134835"/>
                <a:gd name="connsiteX7" fmla="*/ 11748 w 94851"/>
                <a:gd name="connsiteY7" fmla="*/ 105446 h 134835"/>
                <a:gd name="connsiteX8" fmla="*/ 27596 w 94851"/>
                <a:gd name="connsiteY8" fmla="*/ 114670 h 134835"/>
                <a:gd name="connsiteX9" fmla="*/ 48468 w 94851"/>
                <a:gd name="connsiteY9" fmla="*/ 118888 h 134835"/>
                <a:gd name="connsiteX10" fmla="*/ 69828 w 94851"/>
                <a:gd name="connsiteY10" fmla="*/ 112748 h 134835"/>
                <a:gd name="connsiteX11" fmla="*/ 77458 w 94851"/>
                <a:gd name="connsiteY11" fmla="*/ 96610 h 134835"/>
                <a:gd name="connsiteX12" fmla="*/ 76105 w 94851"/>
                <a:gd name="connsiteY12" fmla="*/ 88928 h 134835"/>
                <a:gd name="connsiteX13" fmla="*/ 71564 w 94851"/>
                <a:gd name="connsiteY13" fmla="*/ 82781 h 134835"/>
                <a:gd name="connsiteX14" fmla="*/ 63168 w 94851"/>
                <a:gd name="connsiteY14" fmla="*/ 78163 h 134835"/>
                <a:gd name="connsiteX15" fmla="*/ 50012 w 94851"/>
                <a:gd name="connsiteY15" fmla="*/ 75303 h 134835"/>
                <a:gd name="connsiteX16" fmla="*/ 43438 w 94851"/>
                <a:gd name="connsiteY16" fmla="*/ 74325 h 134835"/>
                <a:gd name="connsiteX17" fmla="*/ 4790 w 94851"/>
                <a:gd name="connsiteY17" fmla="*/ 38219 h 134835"/>
                <a:gd name="connsiteX18" fmla="*/ 7781 w 94851"/>
                <a:gd name="connsiteY18" fmla="*/ 22462 h 134835"/>
                <a:gd name="connsiteX19" fmla="*/ 16388 w 94851"/>
                <a:gd name="connsiteY19" fmla="*/ 10371 h 134835"/>
                <a:gd name="connsiteX20" fmla="*/ 29906 w 94851"/>
                <a:gd name="connsiteY20" fmla="*/ 2683 h 134835"/>
                <a:gd name="connsiteX21" fmla="*/ 47689 w 94851"/>
                <a:gd name="connsiteY21" fmla="*/ 0 h 134835"/>
                <a:gd name="connsiteX22" fmla="*/ 69828 w 94851"/>
                <a:gd name="connsiteY22" fmla="*/ 3352 h 134835"/>
                <a:gd name="connsiteX23" fmla="*/ 87703 w 94851"/>
                <a:gd name="connsiteY23" fmla="*/ 12097 h 134835"/>
                <a:gd name="connsiteX24" fmla="*/ 88086 w 94851"/>
                <a:gd name="connsiteY24" fmla="*/ 14786 h 134835"/>
                <a:gd name="connsiteX25" fmla="*/ 81518 w 94851"/>
                <a:gd name="connsiteY25" fmla="*/ 25348 h 134835"/>
                <a:gd name="connsiteX26" fmla="*/ 78811 w 94851"/>
                <a:gd name="connsiteY26" fmla="*/ 25729 h 134835"/>
                <a:gd name="connsiteX27" fmla="*/ 63168 w 94851"/>
                <a:gd name="connsiteY27" fmla="*/ 18329 h 134835"/>
                <a:gd name="connsiteX28" fmla="*/ 47115 w 94851"/>
                <a:gd name="connsiteY28" fmla="*/ 15941 h 134835"/>
                <a:gd name="connsiteX29" fmla="*/ 28553 w 94851"/>
                <a:gd name="connsiteY29" fmla="*/ 21792 h 134835"/>
                <a:gd name="connsiteX30" fmla="*/ 22177 w 94851"/>
                <a:gd name="connsiteY30" fmla="*/ 37064 h 134835"/>
                <a:gd name="connsiteX31" fmla="*/ 28362 w 94851"/>
                <a:gd name="connsiteY31" fmla="*/ 50611 h 134835"/>
                <a:gd name="connsiteX32" fmla="*/ 49821 w 94851"/>
                <a:gd name="connsiteY32" fmla="*/ 58004 h 134835"/>
                <a:gd name="connsiteX33" fmla="*/ 56197 w 94851"/>
                <a:gd name="connsiteY33" fmla="*/ 58968 h 134835"/>
                <a:gd name="connsiteX34" fmla="*/ 85201 w 94851"/>
                <a:gd name="connsiteY34" fmla="*/ 70488 h 134835"/>
                <a:gd name="connsiteX35" fmla="*/ 94851 w 94851"/>
                <a:gd name="connsiteY35" fmla="*/ 95468 h 134835"/>
                <a:gd name="connsiteX36" fmla="*/ 91855 w 94851"/>
                <a:gd name="connsiteY36" fmla="*/ 111311 h 134835"/>
                <a:gd name="connsiteX37" fmla="*/ 82772 w 94851"/>
                <a:gd name="connsiteY37" fmla="*/ 123696 h 134835"/>
                <a:gd name="connsiteX38" fmla="*/ 67702 w 94851"/>
                <a:gd name="connsiteY38" fmla="*/ 131850 h 134835"/>
                <a:gd name="connsiteX39" fmla="*/ 46917 w 94851"/>
                <a:gd name="connsiteY39" fmla="*/ 134835 h 134835"/>
                <a:gd name="connsiteX40" fmla="*/ 46917 w 94851"/>
                <a:gd name="connsiteY40" fmla="*/ 134835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4851" h="134835">
                  <a:moveTo>
                    <a:pt x="46917" y="134835"/>
                  </a:moveTo>
                  <a:cubicBezTo>
                    <a:pt x="42283" y="134835"/>
                    <a:pt x="37715" y="134376"/>
                    <a:pt x="33194" y="133484"/>
                  </a:cubicBezTo>
                  <a:cubicBezTo>
                    <a:pt x="28692" y="132592"/>
                    <a:pt x="24434" y="131404"/>
                    <a:pt x="20434" y="129928"/>
                  </a:cubicBezTo>
                  <a:cubicBezTo>
                    <a:pt x="16461" y="128465"/>
                    <a:pt x="12777" y="126734"/>
                    <a:pt x="9437" y="124753"/>
                  </a:cubicBezTo>
                  <a:cubicBezTo>
                    <a:pt x="6071" y="122771"/>
                    <a:pt x="3173" y="120685"/>
                    <a:pt x="724" y="118507"/>
                  </a:cubicBezTo>
                  <a:cubicBezTo>
                    <a:pt x="-180" y="117615"/>
                    <a:pt x="-233" y="116644"/>
                    <a:pt x="539" y="115627"/>
                  </a:cubicBezTo>
                  <a:lnTo>
                    <a:pt x="9048" y="105643"/>
                  </a:lnTo>
                  <a:cubicBezTo>
                    <a:pt x="9820" y="104738"/>
                    <a:pt x="10711" y="104672"/>
                    <a:pt x="11748" y="105446"/>
                  </a:cubicBezTo>
                  <a:cubicBezTo>
                    <a:pt x="15998" y="108785"/>
                    <a:pt x="21279" y="111855"/>
                    <a:pt x="27596" y="114670"/>
                  </a:cubicBezTo>
                  <a:cubicBezTo>
                    <a:pt x="33900" y="117491"/>
                    <a:pt x="40864" y="118888"/>
                    <a:pt x="48468" y="118888"/>
                  </a:cubicBezTo>
                  <a:cubicBezTo>
                    <a:pt x="57616" y="118888"/>
                    <a:pt x="64732" y="116848"/>
                    <a:pt x="69828" y="112748"/>
                  </a:cubicBezTo>
                  <a:cubicBezTo>
                    <a:pt x="74917" y="108654"/>
                    <a:pt x="77458" y="103275"/>
                    <a:pt x="77458" y="96610"/>
                  </a:cubicBezTo>
                  <a:cubicBezTo>
                    <a:pt x="77458" y="93796"/>
                    <a:pt x="77016" y="91237"/>
                    <a:pt x="76105" y="88928"/>
                  </a:cubicBezTo>
                  <a:cubicBezTo>
                    <a:pt x="75201" y="86625"/>
                    <a:pt x="73689" y="84572"/>
                    <a:pt x="71564" y="82781"/>
                  </a:cubicBezTo>
                  <a:cubicBezTo>
                    <a:pt x="69432" y="80984"/>
                    <a:pt x="66640" y="79449"/>
                    <a:pt x="63168" y="78163"/>
                  </a:cubicBezTo>
                  <a:cubicBezTo>
                    <a:pt x="59676" y="76897"/>
                    <a:pt x="55293" y="75933"/>
                    <a:pt x="50012" y="75303"/>
                  </a:cubicBezTo>
                  <a:lnTo>
                    <a:pt x="43438" y="74325"/>
                  </a:lnTo>
                  <a:cubicBezTo>
                    <a:pt x="17682" y="70868"/>
                    <a:pt x="4790" y="58831"/>
                    <a:pt x="4790" y="38219"/>
                  </a:cubicBezTo>
                  <a:cubicBezTo>
                    <a:pt x="4790" y="32446"/>
                    <a:pt x="5787" y="27198"/>
                    <a:pt x="7781" y="22462"/>
                  </a:cubicBezTo>
                  <a:cubicBezTo>
                    <a:pt x="9781" y="17732"/>
                    <a:pt x="12652" y="13697"/>
                    <a:pt x="16388" y="10371"/>
                  </a:cubicBezTo>
                  <a:cubicBezTo>
                    <a:pt x="20111" y="7039"/>
                    <a:pt x="24626" y="4487"/>
                    <a:pt x="29906" y="2683"/>
                  </a:cubicBezTo>
                  <a:cubicBezTo>
                    <a:pt x="35194" y="899"/>
                    <a:pt x="41128" y="0"/>
                    <a:pt x="47689" y="0"/>
                  </a:cubicBezTo>
                  <a:cubicBezTo>
                    <a:pt x="55418" y="0"/>
                    <a:pt x="62805" y="1122"/>
                    <a:pt x="69828" y="3352"/>
                  </a:cubicBezTo>
                  <a:cubicBezTo>
                    <a:pt x="76851" y="5596"/>
                    <a:pt x="82805" y="8522"/>
                    <a:pt x="87703" y="12097"/>
                  </a:cubicBezTo>
                  <a:cubicBezTo>
                    <a:pt x="88732" y="12858"/>
                    <a:pt x="88864" y="13756"/>
                    <a:pt x="88086" y="14786"/>
                  </a:cubicBezTo>
                  <a:lnTo>
                    <a:pt x="81518" y="25348"/>
                  </a:lnTo>
                  <a:cubicBezTo>
                    <a:pt x="80752" y="26247"/>
                    <a:pt x="79841" y="26371"/>
                    <a:pt x="78811" y="25729"/>
                  </a:cubicBezTo>
                  <a:cubicBezTo>
                    <a:pt x="73405" y="22403"/>
                    <a:pt x="68171" y="19936"/>
                    <a:pt x="63168" y="18329"/>
                  </a:cubicBezTo>
                  <a:cubicBezTo>
                    <a:pt x="58138" y="16741"/>
                    <a:pt x="52785" y="15941"/>
                    <a:pt x="47115" y="15941"/>
                  </a:cubicBezTo>
                  <a:cubicBezTo>
                    <a:pt x="39002" y="15941"/>
                    <a:pt x="32811" y="17889"/>
                    <a:pt x="28553" y="21792"/>
                  </a:cubicBezTo>
                  <a:cubicBezTo>
                    <a:pt x="24309" y="25702"/>
                    <a:pt x="22177" y="30806"/>
                    <a:pt x="22177" y="37064"/>
                  </a:cubicBezTo>
                  <a:cubicBezTo>
                    <a:pt x="22177" y="42568"/>
                    <a:pt x="24230" y="47081"/>
                    <a:pt x="28362" y="50611"/>
                  </a:cubicBezTo>
                  <a:cubicBezTo>
                    <a:pt x="32481" y="54134"/>
                    <a:pt x="39636" y="56587"/>
                    <a:pt x="49821" y="58004"/>
                  </a:cubicBezTo>
                  <a:lnTo>
                    <a:pt x="56197" y="58968"/>
                  </a:lnTo>
                  <a:cubicBezTo>
                    <a:pt x="69082" y="60759"/>
                    <a:pt x="78752" y="64597"/>
                    <a:pt x="85201" y="70488"/>
                  </a:cubicBezTo>
                  <a:cubicBezTo>
                    <a:pt x="91630" y="76385"/>
                    <a:pt x="94851" y="84703"/>
                    <a:pt x="94851" y="95468"/>
                  </a:cubicBezTo>
                  <a:cubicBezTo>
                    <a:pt x="94851" y="101215"/>
                    <a:pt x="93855" y="106502"/>
                    <a:pt x="91855" y="111311"/>
                  </a:cubicBezTo>
                  <a:cubicBezTo>
                    <a:pt x="89861" y="116113"/>
                    <a:pt x="86838" y="120233"/>
                    <a:pt x="82772" y="123696"/>
                  </a:cubicBezTo>
                  <a:cubicBezTo>
                    <a:pt x="78719" y="127147"/>
                    <a:pt x="73689" y="129876"/>
                    <a:pt x="67702" y="131850"/>
                  </a:cubicBezTo>
                  <a:cubicBezTo>
                    <a:pt x="61715" y="133838"/>
                    <a:pt x="54771" y="134835"/>
                    <a:pt x="46917" y="134835"/>
                  </a:cubicBezTo>
                  <a:lnTo>
                    <a:pt x="46917" y="134835"/>
                  </a:lnTo>
                  <a:close/>
                </a:path>
              </a:pathLst>
            </a:custGeom>
            <a:solidFill>
              <a:srgbClr val="FFFFFF"/>
            </a:solidFill>
            <a:ln w="7" cap="flat">
              <a:noFill/>
              <a:prstDash val="solid"/>
              <a:miter/>
            </a:ln>
          </p:spPr>
          <p:txBody>
            <a:bodyPr rtlCol="0" anchor="ctr"/>
            <a:lstStyle/>
            <a:p>
              <a:endParaRPr lang="de-DE"/>
            </a:p>
          </p:txBody>
        </p:sp>
        <p:sp>
          <p:nvSpPr>
            <p:cNvPr id="19" name="Freeform: Shape 18">
              <a:extLst>
                <a:ext uri="{FF2B5EF4-FFF2-40B4-BE49-F238E27FC236}">
                  <a16:creationId xmlns:a16="http://schemas.microsoft.com/office/drawing/2014/main" id="{4947F811-16E7-40A1-8A5F-4840617B52B6}"/>
                </a:ext>
              </a:extLst>
            </p:cNvPr>
            <p:cNvSpPr/>
            <p:nvPr/>
          </p:nvSpPr>
          <p:spPr>
            <a:xfrm>
              <a:off x="1542047" y="595196"/>
              <a:ext cx="17386" cy="130604"/>
            </a:xfrm>
            <a:custGeom>
              <a:avLst/>
              <a:gdLst>
                <a:gd name="connsiteX0" fmla="*/ 0 w 17386"/>
                <a:gd name="connsiteY0" fmla="*/ 1916 h 130604"/>
                <a:gd name="connsiteX1" fmla="*/ 1954 w 17386"/>
                <a:gd name="connsiteY1" fmla="*/ 0 h 130604"/>
                <a:gd name="connsiteX2" fmla="*/ 15439 w 17386"/>
                <a:gd name="connsiteY2" fmla="*/ 0 h 130604"/>
                <a:gd name="connsiteX3" fmla="*/ 17386 w 17386"/>
                <a:gd name="connsiteY3" fmla="*/ 1916 h 130604"/>
                <a:gd name="connsiteX4" fmla="*/ 17386 w 17386"/>
                <a:gd name="connsiteY4" fmla="*/ 128682 h 130604"/>
                <a:gd name="connsiteX5" fmla="*/ 15439 w 17386"/>
                <a:gd name="connsiteY5" fmla="*/ 130604 h 130604"/>
                <a:gd name="connsiteX6" fmla="*/ 1954 w 17386"/>
                <a:gd name="connsiteY6" fmla="*/ 130604 h 130604"/>
                <a:gd name="connsiteX7" fmla="*/ 0 w 17386"/>
                <a:gd name="connsiteY7" fmla="*/ 128682 h 130604"/>
                <a:gd name="connsiteX8" fmla="*/ 0 w 17386"/>
                <a:gd name="connsiteY8"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6" h="130604">
                  <a:moveTo>
                    <a:pt x="0" y="1916"/>
                  </a:moveTo>
                  <a:cubicBezTo>
                    <a:pt x="0" y="636"/>
                    <a:pt x="653" y="0"/>
                    <a:pt x="1954" y="0"/>
                  </a:cubicBezTo>
                  <a:lnTo>
                    <a:pt x="15439" y="0"/>
                  </a:lnTo>
                  <a:cubicBezTo>
                    <a:pt x="16740" y="0"/>
                    <a:pt x="17386" y="636"/>
                    <a:pt x="17386" y="1916"/>
                  </a:cubicBezTo>
                  <a:lnTo>
                    <a:pt x="17386" y="128682"/>
                  </a:lnTo>
                  <a:cubicBezTo>
                    <a:pt x="17386" y="129961"/>
                    <a:pt x="16740" y="130604"/>
                    <a:pt x="15439" y="130604"/>
                  </a:cubicBezTo>
                  <a:lnTo>
                    <a:pt x="1954"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20" name="Freeform: Shape 19">
              <a:extLst>
                <a:ext uri="{FF2B5EF4-FFF2-40B4-BE49-F238E27FC236}">
                  <a16:creationId xmlns:a16="http://schemas.microsoft.com/office/drawing/2014/main" id="{15FA2FB5-1B28-47C1-B54A-A1664A1639BF}"/>
                </a:ext>
              </a:extLst>
            </p:cNvPr>
            <p:cNvSpPr/>
            <p:nvPr/>
          </p:nvSpPr>
          <p:spPr>
            <a:xfrm>
              <a:off x="1593645" y="595196"/>
              <a:ext cx="90641" cy="130604"/>
            </a:xfrm>
            <a:custGeom>
              <a:avLst/>
              <a:gdLst>
                <a:gd name="connsiteX0" fmla="*/ 0 w 90641"/>
                <a:gd name="connsiteY0" fmla="*/ 1916 h 130604"/>
                <a:gd name="connsiteX1" fmla="*/ 1941 w 90641"/>
                <a:gd name="connsiteY1" fmla="*/ 0 h 130604"/>
                <a:gd name="connsiteX2" fmla="*/ 48516 w 90641"/>
                <a:gd name="connsiteY2" fmla="*/ 0 h 130604"/>
                <a:gd name="connsiteX3" fmla="*/ 78272 w 90641"/>
                <a:gd name="connsiteY3" fmla="*/ 9315 h 130604"/>
                <a:gd name="connsiteX4" fmla="*/ 88134 w 90641"/>
                <a:gd name="connsiteY4" fmla="*/ 34375 h 130604"/>
                <a:gd name="connsiteX5" fmla="*/ 83203 w 90641"/>
                <a:gd name="connsiteY5" fmla="*/ 52815 h 130604"/>
                <a:gd name="connsiteX6" fmla="*/ 70549 w 90641"/>
                <a:gd name="connsiteY6" fmla="*/ 62806 h 130604"/>
                <a:gd name="connsiteX7" fmla="*/ 70549 w 90641"/>
                <a:gd name="connsiteY7" fmla="*/ 63193 h 130604"/>
                <a:gd name="connsiteX8" fmla="*/ 77401 w 90641"/>
                <a:gd name="connsiteY8" fmla="*/ 66552 h 130604"/>
                <a:gd name="connsiteX9" fmla="*/ 83876 w 90641"/>
                <a:gd name="connsiteY9" fmla="*/ 72698 h 130604"/>
                <a:gd name="connsiteX10" fmla="*/ 88721 w 90641"/>
                <a:gd name="connsiteY10" fmla="*/ 81633 h 130604"/>
                <a:gd name="connsiteX11" fmla="*/ 90642 w 90641"/>
                <a:gd name="connsiteY11" fmla="*/ 93356 h 130604"/>
                <a:gd name="connsiteX12" fmla="*/ 79500 w 90641"/>
                <a:gd name="connsiteY12" fmla="*/ 121204 h 130604"/>
                <a:gd name="connsiteX13" fmla="*/ 47644 w 90641"/>
                <a:gd name="connsiteY13" fmla="*/ 130604 h 130604"/>
                <a:gd name="connsiteX14" fmla="*/ 1941 w 90641"/>
                <a:gd name="connsiteY14" fmla="*/ 130604 h 130604"/>
                <a:gd name="connsiteX15" fmla="*/ 0 w 90641"/>
                <a:gd name="connsiteY15" fmla="*/ 128682 h 130604"/>
                <a:gd name="connsiteX16" fmla="*/ 0 w 90641"/>
                <a:gd name="connsiteY16" fmla="*/ 1916 h 130604"/>
                <a:gd name="connsiteX17" fmla="*/ 48212 w 90641"/>
                <a:gd name="connsiteY17" fmla="*/ 56462 h 130604"/>
                <a:gd name="connsiteX18" fmla="*/ 65150 w 90641"/>
                <a:gd name="connsiteY18" fmla="*/ 50899 h 130604"/>
                <a:gd name="connsiteX19" fmla="*/ 71130 w 90641"/>
                <a:gd name="connsiteY19" fmla="*/ 36113 h 130604"/>
                <a:gd name="connsiteX20" fmla="*/ 65150 w 90641"/>
                <a:gd name="connsiteY20" fmla="*/ 21123 h 130604"/>
                <a:gd name="connsiteX21" fmla="*/ 48212 w 90641"/>
                <a:gd name="connsiteY21" fmla="*/ 15554 h 130604"/>
                <a:gd name="connsiteX22" fmla="*/ 18555 w 90641"/>
                <a:gd name="connsiteY22" fmla="*/ 15554 h 130604"/>
                <a:gd name="connsiteX23" fmla="*/ 17393 w 90641"/>
                <a:gd name="connsiteY23" fmla="*/ 16708 h 130604"/>
                <a:gd name="connsiteX24" fmla="*/ 17393 w 90641"/>
                <a:gd name="connsiteY24" fmla="*/ 55308 h 130604"/>
                <a:gd name="connsiteX25" fmla="*/ 18555 w 90641"/>
                <a:gd name="connsiteY25" fmla="*/ 56462 h 130604"/>
                <a:gd name="connsiteX26" fmla="*/ 48212 w 90641"/>
                <a:gd name="connsiteY26" fmla="*/ 56462 h 130604"/>
                <a:gd name="connsiteX27" fmla="*/ 17393 w 90641"/>
                <a:gd name="connsiteY27" fmla="*/ 113902 h 130604"/>
                <a:gd name="connsiteX28" fmla="*/ 18555 w 90641"/>
                <a:gd name="connsiteY28" fmla="*/ 115050 h 130604"/>
                <a:gd name="connsiteX29" fmla="*/ 49182 w 90641"/>
                <a:gd name="connsiteY29" fmla="*/ 115050 h 130604"/>
                <a:gd name="connsiteX30" fmla="*/ 67090 w 90641"/>
                <a:gd name="connsiteY30" fmla="*/ 109199 h 130604"/>
                <a:gd name="connsiteX31" fmla="*/ 73255 w 90641"/>
                <a:gd name="connsiteY31" fmla="*/ 93540 h 130604"/>
                <a:gd name="connsiteX32" fmla="*/ 67090 w 90641"/>
                <a:gd name="connsiteY32" fmla="*/ 77881 h 130604"/>
                <a:gd name="connsiteX33" fmla="*/ 49182 w 90641"/>
                <a:gd name="connsiteY33" fmla="*/ 72029 h 130604"/>
                <a:gd name="connsiteX34" fmla="*/ 18555 w 90641"/>
                <a:gd name="connsiteY34" fmla="*/ 72029 h 130604"/>
                <a:gd name="connsiteX35" fmla="*/ 17393 w 90641"/>
                <a:gd name="connsiteY35" fmla="*/ 73190 h 130604"/>
                <a:gd name="connsiteX36" fmla="*/ 17393 w 90641"/>
                <a:gd name="connsiteY36" fmla="*/ 113902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0641" h="130604">
                  <a:moveTo>
                    <a:pt x="0" y="1916"/>
                  </a:moveTo>
                  <a:cubicBezTo>
                    <a:pt x="0" y="636"/>
                    <a:pt x="647" y="0"/>
                    <a:pt x="1941" y="0"/>
                  </a:cubicBezTo>
                  <a:lnTo>
                    <a:pt x="48516" y="0"/>
                  </a:lnTo>
                  <a:cubicBezTo>
                    <a:pt x="61783" y="0"/>
                    <a:pt x="71704" y="3109"/>
                    <a:pt x="78272" y="9315"/>
                  </a:cubicBezTo>
                  <a:cubicBezTo>
                    <a:pt x="84840" y="15528"/>
                    <a:pt x="88134" y="23879"/>
                    <a:pt x="88134" y="34375"/>
                  </a:cubicBezTo>
                  <a:cubicBezTo>
                    <a:pt x="88134" y="42056"/>
                    <a:pt x="86497" y="48210"/>
                    <a:pt x="83203" y="52815"/>
                  </a:cubicBezTo>
                  <a:cubicBezTo>
                    <a:pt x="79916" y="57420"/>
                    <a:pt x="75691" y="60759"/>
                    <a:pt x="70549" y="62806"/>
                  </a:cubicBezTo>
                  <a:lnTo>
                    <a:pt x="70549" y="63193"/>
                  </a:lnTo>
                  <a:cubicBezTo>
                    <a:pt x="72734" y="63829"/>
                    <a:pt x="75024" y="64945"/>
                    <a:pt x="77401" y="66552"/>
                  </a:cubicBezTo>
                  <a:cubicBezTo>
                    <a:pt x="79784" y="68159"/>
                    <a:pt x="81955" y="70199"/>
                    <a:pt x="83876" y="72698"/>
                  </a:cubicBezTo>
                  <a:cubicBezTo>
                    <a:pt x="85817" y="75198"/>
                    <a:pt x="87427" y="78183"/>
                    <a:pt x="88721" y="81633"/>
                  </a:cubicBezTo>
                  <a:cubicBezTo>
                    <a:pt x="90002" y="85090"/>
                    <a:pt x="90642" y="89000"/>
                    <a:pt x="90642" y="93356"/>
                  </a:cubicBezTo>
                  <a:cubicBezTo>
                    <a:pt x="90648" y="105650"/>
                    <a:pt x="86932" y="114919"/>
                    <a:pt x="79500" y="121204"/>
                  </a:cubicBezTo>
                  <a:cubicBezTo>
                    <a:pt x="72080" y="127468"/>
                    <a:pt x="61460" y="130604"/>
                    <a:pt x="47644" y="130604"/>
                  </a:cubicBezTo>
                  <a:lnTo>
                    <a:pt x="1941" y="130604"/>
                  </a:lnTo>
                  <a:cubicBezTo>
                    <a:pt x="647" y="130604"/>
                    <a:pt x="0" y="129961"/>
                    <a:pt x="0" y="128682"/>
                  </a:cubicBezTo>
                  <a:lnTo>
                    <a:pt x="0" y="1916"/>
                  </a:lnTo>
                  <a:close/>
                  <a:moveTo>
                    <a:pt x="48212" y="56462"/>
                  </a:moveTo>
                  <a:cubicBezTo>
                    <a:pt x="55526" y="56462"/>
                    <a:pt x="61163" y="54606"/>
                    <a:pt x="65150" y="50899"/>
                  </a:cubicBezTo>
                  <a:cubicBezTo>
                    <a:pt x="69143" y="47186"/>
                    <a:pt x="71130" y="42253"/>
                    <a:pt x="71130" y="36113"/>
                  </a:cubicBezTo>
                  <a:cubicBezTo>
                    <a:pt x="71130" y="29829"/>
                    <a:pt x="69143" y="24836"/>
                    <a:pt x="65150" y="21123"/>
                  </a:cubicBezTo>
                  <a:cubicBezTo>
                    <a:pt x="61163" y="17404"/>
                    <a:pt x="55526" y="15554"/>
                    <a:pt x="48212" y="15554"/>
                  </a:cubicBezTo>
                  <a:lnTo>
                    <a:pt x="18555" y="15554"/>
                  </a:lnTo>
                  <a:cubicBezTo>
                    <a:pt x="17782" y="15554"/>
                    <a:pt x="17393" y="15934"/>
                    <a:pt x="17393" y="16708"/>
                  </a:cubicBezTo>
                  <a:lnTo>
                    <a:pt x="17393" y="55308"/>
                  </a:lnTo>
                  <a:cubicBezTo>
                    <a:pt x="17393" y="56075"/>
                    <a:pt x="17782" y="56462"/>
                    <a:pt x="18555" y="56462"/>
                  </a:cubicBezTo>
                  <a:lnTo>
                    <a:pt x="48212" y="56462"/>
                  </a:lnTo>
                  <a:close/>
                  <a:moveTo>
                    <a:pt x="17393" y="113902"/>
                  </a:moveTo>
                  <a:cubicBezTo>
                    <a:pt x="17393" y="114670"/>
                    <a:pt x="17782" y="115050"/>
                    <a:pt x="18555" y="115050"/>
                  </a:cubicBezTo>
                  <a:lnTo>
                    <a:pt x="49182" y="115050"/>
                  </a:lnTo>
                  <a:cubicBezTo>
                    <a:pt x="57011" y="115050"/>
                    <a:pt x="62978" y="113102"/>
                    <a:pt x="67090" y="109199"/>
                  </a:cubicBezTo>
                  <a:cubicBezTo>
                    <a:pt x="71196" y="105289"/>
                    <a:pt x="73255" y="100067"/>
                    <a:pt x="73255" y="93540"/>
                  </a:cubicBezTo>
                  <a:cubicBezTo>
                    <a:pt x="73255" y="87006"/>
                    <a:pt x="71196" y="81784"/>
                    <a:pt x="67090" y="77881"/>
                  </a:cubicBezTo>
                  <a:cubicBezTo>
                    <a:pt x="62978" y="73984"/>
                    <a:pt x="57011" y="72029"/>
                    <a:pt x="49182" y="72029"/>
                  </a:cubicBezTo>
                  <a:lnTo>
                    <a:pt x="18555" y="72029"/>
                  </a:lnTo>
                  <a:cubicBezTo>
                    <a:pt x="17782" y="72029"/>
                    <a:pt x="17393" y="72416"/>
                    <a:pt x="17393" y="73190"/>
                  </a:cubicBezTo>
                  <a:lnTo>
                    <a:pt x="17393" y="113902"/>
                  </a:lnTo>
                  <a:close/>
                </a:path>
              </a:pathLst>
            </a:custGeom>
            <a:solidFill>
              <a:srgbClr val="FFFFFF"/>
            </a:solidFill>
            <a:ln w="7" cap="flat">
              <a:noFill/>
              <a:prstDash val="solid"/>
              <a:miter/>
            </a:ln>
          </p:spPr>
          <p:txBody>
            <a:bodyPr rtlCol="0" anchor="ctr"/>
            <a:lstStyle/>
            <a:p>
              <a:endParaRPr lang="de-DE"/>
            </a:p>
          </p:txBody>
        </p:sp>
        <p:sp>
          <p:nvSpPr>
            <p:cNvPr id="22" name="Freeform: Shape 21">
              <a:extLst>
                <a:ext uri="{FF2B5EF4-FFF2-40B4-BE49-F238E27FC236}">
                  <a16:creationId xmlns:a16="http://schemas.microsoft.com/office/drawing/2014/main" id="{474DC618-2977-479A-97A6-65E48C50382A}"/>
                </a:ext>
              </a:extLst>
            </p:cNvPr>
            <p:cNvSpPr/>
            <p:nvPr/>
          </p:nvSpPr>
          <p:spPr>
            <a:xfrm>
              <a:off x="1712320" y="595196"/>
              <a:ext cx="83103" cy="130604"/>
            </a:xfrm>
            <a:custGeom>
              <a:avLst/>
              <a:gdLst>
                <a:gd name="connsiteX0" fmla="*/ 0 w 83103"/>
                <a:gd name="connsiteY0" fmla="*/ 1916 h 130604"/>
                <a:gd name="connsiteX1" fmla="*/ 1941 w 83103"/>
                <a:gd name="connsiteY1" fmla="*/ 0 h 130604"/>
                <a:gd name="connsiteX2" fmla="*/ 81170 w 83103"/>
                <a:gd name="connsiteY2" fmla="*/ 0 h 130604"/>
                <a:gd name="connsiteX3" fmla="*/ 83104 w 83103"/>
                <a:gd name="connsiteY3" fmla="*/ 1916 h 130604"/>
                <a:gd name="connsiteX4" fmla="*/ 83104 w 83103"/>
                <a:gd name="connsiteY4" fmla="*/ 14012 h 130604"/>
                <a:gd name="connsiteX5" fmla="*/ 81170 w 83103"/>
                <a:gd name="connsiteY5" fmla="*/ 15934 h 130604"/>
                <a:gd name="connsiteX6" fmla="*/ 18555 w 83103"/>
                <a:gd name="connsiteY6" fmla="*/ 15934 h 130604"/>
                <a:gd name="connsiteX7" fmla="*/ 17400 w 83103"/>
                <a:gd name="connsiteY7" fmla="*/ 17089 h 130604"/>
                <a:gd name="connsiteX8" fmla="*/ 17400 w 83103"/>
                <a:gd name="connsiteY8" fmla="*/ 55511 h 130604"/>
                <a:gd name="connsiteX9" fmla="*/ 18555 w 83103"/>
                <a:gd name="connsiteY9" fmla="*/ 56653 h 130604"/>
                <a:gd name="connsiteX10" fmla="*/ 71704 w 83103"/>
                <a:gd name="connsiteY10" fmla="*/ 56653 h 130604"/>
                <a:gd name="connsiteX11" fmla="*/ 73645 w 83103"/>
                <a:gd name="connsiteY11" fmla="*/ 58575 h 130604"/>
                <a:gd name="connsiteX12" fmla="*/ 73645 w 83103"/>
                <a:gd name="connsiteY12" fmla="*/ 70685 h 130604"/>
                <a:gd name="connsiteX13" fmla="*/ 71704 w 83103"/>
                <a:gd name="connsiteY13" fmla="*/ 72607 h 130604"/>
                <a:gd name="connsiteX14" fmla="*/ 18555 w 83103"/>
                <a:gd name="connsiteY14" fmla="*/ 72607 h 130604"/>
                <a:gd name="connsiteX15" fmla="*/ 17400 w 83103"/>
                <a:gd name="connsiteY15" fmla="*/ 73755 h 130604"/>
                <a:gd name="connsiteX16" fmla="*/ 17400 w 83103"/>
                <a:gd name="connsiteY16" fmla="*/ 113515 h 130604"/>
                <a:gd name="connsiteX17" fmla="*/ 18555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7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41" y="0"/>
                  </a:cubicBezTo>
                  <a:lnTo>
                    <a:pt x="81170" y="0"/>
                  </a:lnTo>
                  <a:cubicBezTo>
                    <a:pt x="82463" y="0"/>
                    <a:pt x="83104" y="636"/>
                    <a:pt x="83104" y="1916"/>
                  </a:cubicBezTo>
                  <a:lnTo>
                    <a:pt x="83104" y="14012"/>
                  </a:lnTo>
                  <a:cubicBezTo>
                    <a:pt x="83104" y="15291"/>
                    <a:pt x="82463" y="15934"/>
                    <a:pt x="81170" y="15934"/>
                  </a:cubicBezTo>
                  <a:lnTo>
                    <a:pt x="18555" y="15934"/>
                  </a:lnTo>
                  <a:cubicBezTo>
                    <a:pt x="17776" y="15934"/>
                    <a:pt x="17400" y="16321"/>
                    <a:pt x="17400" y="17089"/>
                  </a:cubicBezTo>
                  <a:lnTo>
                    <a:pt x="17400" y="55511"/>
                  </a:lnTo>
                  <a:cubicBezTo>
                    <a:pt x="17400" y="56279"/>
                    <a:pt x="17776" y="56653"/>
                    <a:pt x="18555" y="56653"/>
                  </a:cubicBezTo>
                  <a:lnTo>
                    <a:pt x="71704" y="56653"/>
                  </a:lnTo>
                  <a:cubicBezTo>
                    <a:pt x="72985" y="56653"/>
                    <a:pt x="73645" y="57295"/>
                    <a:pt x="73645" y="58575"/>
                  </a:cubicBezTo>
                  <a:lnTo>
                    <a:pt x="73645" y="70685"/>
                  </a:lnTo>
                  <a:cubicBezTo>
                    <a:pt x="73645" y="71970"/>
                    <a:pt x="72985" y="72607"/>
                    <a:pt x="71704" y="72607"/>
                  </a:cubicBezTo>
                  <a:lnTo>
                    <a:pt x="18555" y="72607"/>
                  </a:lnTo>
                  <a:cubicBezTo>
                    <a:pt x="17776" y="72607"/>
                    <a:pt x="17400" y="72987"/>
                    <a:pt x="17400" y="73755"/>
                  </a:cubicBezTo>
                  <a:lnTo>
                    <a:pt x="17400" y="113515"/>
                  </a:lnTo>
                  <a:cubicBezTo>
                    <a:pt x="17400" y="114283"/>
                    <a:pt x="17776" y="114670"/>
                    <a:pt x="18555" y="114670"/>
                  </a:cubicBezTo>
                  <a:lnTo>
                    <a:pt x="81170" y="114670"/>
                  </a:lnTo>
                  <a:cubicBezTo>
                    <a:pt x="82463" y="114670"/>
                    <a:pt x="83104" y="115306"/>
                    <a:pt x="83104" y="116592"/>
                  </a:cubicBezTo>
                  <a:lnTo>
                    <a:pt x="83104" y="128682"/>
                  </a:lnTo>
                  <a:cubicBezTo>
                    <a:pt x="83104" y="129961"/>
                    <a:pt x="82463" y="130604"/>
                    <a:pt x="81170" y="130604"/>
                  </a:cubicBezTo>
                  <a:lnTo>
                    <a:pt x="1947"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23" name="Freeform: Shape 22">
              <a:extLst>
                <a:ext uri="{FF2B5EF4-FFF2-40B4-BE49-F238E27FC236}">
                  <a16:creationId xmlns:a16="http://schemas.microsoft.com/office/drawing/2014/main" id="{CE795496-2A85-474B-91E5-07591466FB14}"/>
                </a:ext>
              </a:extLst>
            </p:cNvPr>
            <p:cNvSpPr/>
            <p:nvPr/>
          </p:nvSpPr>
          <p:spPr>
            <a:xfrm>
              <a:off x="1811074" y="595189"/>
              <a:ext cx="95486" cy="130617"/>
            </a:xfrm>
            <a:custGeom>
              <a:avLst/>
              <a:gdLst>
                <a:gd name="connsiteX0" fmla="*/ 40991 w 95486"/>
                <a:gd name="connsiteY0" fmla="*/ 130617 h 130617"/>
                <a:gd name="connsiteX1" fmla="*/ 39044 w 95486"/>
                <a:gd name="connsiteY1" fmla="*/ 128689 h 130617"/>
                <a:gd name="connsiteX2" fmla="*/ 39044 w 95486"/>
                <a:gd name="connsiteY2" fmla="*/ 17102 h 130617"/>
                <a:gd name="connsiteX3" fmla="*/ 37882 w 95486"/>
                <a:gd name="connsiteY3" fmla="*/ 15941 h 130617"/>
                <a:gd name="connsiteX4" fmla="*/ 1927 w 95486"/>
                <a:gd name="connsiteY4" fmla="*/ 15941 h 130617"/>
                <a:gd name="connsiteX5" fmla="*/ 0 w 95486"/>
                <a:gd name="connsiteY5" fmla="*/ 14025 h 130617"/>
                <a:gd name="connsiteX6" fmla="*/ 0 w 95486"/>
                <a:gd name="connsiteY6" fmla="*/ 1922 h 130617"/>
                <a:gd name="connsiteX7" fmla="*/ 1927 w 95486"/>
                <a:gd name="connsiteY7" fmla="*/ 0 h 130617"/>
                <a:gd name="connsiteX8" fmla="*/ 93540 w 95486"/>
                <a:gd name="connsiteY8" fmla="*/ 0 h 130617"/>
                <a:gd name="connsiteX9" fmla="*/ 95487 w 95486"/>
                <a:gd name="connsiteY9" fmla="*/ 1922 h 130617"/>
                <a:gd name="connsiteX10" fmla="*/ 95487 w 95486"/>
                <a:gd name="connsiteY10" fmla="*/ 14025 h 130617"/>
                <a:gd name="connsiteX11" fmla="*/ 93540 w 95486"/>
                <a:gd name="connsiteY11" fmla="*/ 15941 h 130617"/>
                <a:gd name="connsiteX12" fmla="*/ 57598 w 95486"/>
                <a:gd name="connsiteY12" fmla="*/ 15941 h 130617"/>
                <a:gd name="connsiteX13" fmla="*/ 56450 w 95486"/>
                <a:gd name="connsiteY13" fmla="*/ 17102 h 130617"/>
                <a:gd name="connsiteX14" fmla="*/ 56450 w 95486"/>
                <a:gd name="connsiteY14" fmla="*/ 128689 h 130617"/>
                <a:gd name="connsiteX15" fmla="*/ 54476 w 95486"/>
                <a:gd name="connsiteY15" fmla="*/ 130617 h 130617"/>
                <a:gd name="connsiteX16" fmla="*/ 40991 w 95486"/>
                <a:gd name="connsiteY16" fmla="*/ 130617 h 130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486" h="130617">
                  <a:moveTo>
                    <a:pt x="40991" y="130617"/>
                  </a:moveTo>
                  <a:cubicBezTo>
                    <a:pt x="39697" y="130617"/>
                    <a:pt x="39044" y="129968"/>
                    <a:pt x="39044" y="128689"/>
                  </a:cubicBezTo>
                  <a:lnTo>
                    <a:pt x="39044" y="17102"/>
                  </a:lnTo>
                  <a:cubicBezTo>
                    <a:pt x="39044" y="16335"/>
                    <a:pt x="38667" y="15941"/>
                    <a:pt x="37882" y="15941"/>
                  </a:cubicBezTo>
                  <a:lnTo>
                    <a:pt x="1927" y="15941"/>
                  </a:lnTo>
                  <a:cubicBezTo>
                    <a:pt x="640" y="15941"/>
                    <a:pt x="0" y="15298"/>
                    <a:pt x="0" y="14025"/>
                  </a:cubicBezTo>
                  <a:lnTo>
                    <a:pt x="0" y="1922"/>
                  </a:lnTo>
                  <a:cubicBezTo>
                    <a:pt x="0" y="643"/>
                    <a:pt x="640" y="0"/>
                    <a:pt x="1927" y="0"/>
                  </a:cubicBezTo>
                  <a:lnTo>
                    <a:pt x="93540" y="0"/>
                  </a:lnTo>
                  <a:cubicBezTo>
                    <a:pt x="94833" y="0"/>
                    <a:pt x="95487" y="643"/>
                    <a:pt x="95487" y="1922"/>
                  </a:cubicBezTo>
                  <a:lnTo>
                    <a:pt x="95487" y="14025"/>
                  </a:lnTo>
                  <a:cubicBezTo>
                    <a:pt x="95487" y="15298"/>
                    <a:pt x="94833" y="15941"/>
                    <a:pt x="93540" y="15941"/>
                  </a:cubicBezTo>
                  <a:lnTo>
                    <a:pt x="57598" y="15941"/>
                  </a:lnTo>
                  <a:cubicBezTo>
                    <a:pt x="56826" y="15941"/>
                    <a:pt x="56450" y="16335"/>
                    <a:pt x="56450" y="17102"/>
                  </a:cubicBezTo>
                  <a:lnTo>
                    <a:pt x="56450" y="128689"/>
                  </a:lnTo>
                  <a:cubicBezTo>
                    <a:pt x="56450" y="129968"/>
                    <a:pt x="55790" y="130617"/>
                    <a:pt x="54476" y="130617"/>
                  </a:cubicBezTo>
                  <a:lnTo>
                    <a:pt x="40991" y="130617"/>
                  </a:lnTo>
                  <a:close/>
                </a:path>
              </a:pathLst>
            </a:custGeom>
            <a:solidFill>
              <a:srgbClr val="FFFFFF"/>
            </a:solidFill>
            <a:ln w="7" cap="flat">
              <a:noFill/>
              <a:prstDash val="solid"/>
              <a:miter/>
            </a:ln>
          </p:spPr>
          <p:txBody>
            <a:bodyPr rtlCol="0" anchor="ctr"/>
            <a:lstStyle/>
            <a:p>
              <a:endParaRPr lang="de-DE"/>
            </a:p>
          </p:txBody>
        </p:sp>
        <p:sp>
          <p:nvSpPr>
            <p:cNvPr id="25" name="Freeform: Shape 24">
              <a:extLst>
                <a:ext uri="{FF2B5EF4-FFF2-40B4-BE49-F238E27FC236}">
                  <a16:creationId xmlns:a16="http://schemas.microsoft.com/office/drawing/2014/main" id="{6D62DF9E-1FC4-46D6-96CD-4D3CCB575E3E}"/>
                </a:ext>
              </a:extLst>
            </p:cNvPr>
            <p:cNvSpPr/>
            <p:nvPr/>
          </p:nvSpPr>
          <p:spPr>
            <a:xfrm>
              <a:off x="1928773" y="595196"/>
              <a:ext cx="93929" cy="130604"/>
            </a:xfrm>
            <a:custGeom>
              <a:avLst/>
              <a:gdLst>
                <a:gd name="connsiteX0" fmla="*/ 0 w 93929"/>
                <a:gd name="connsiteY0" fmla="*/ 1916 h 130604"/>
                <a:gd name="connsiteX1" fmla="*/ 1947 w 93929"/>
                <a:gd name="connsiteY1" fmla="*/ 0 h 130604"/>
                <a:gd name="connsiteX2" fmla="*/ 15439 w 93929"/>
                <a:gd name="connsiteY2" fmla="*/ 0 h 130604"/>
                <a:gd name="connsiteX3" fmla="*/ 17406 w 93929"/>
                <a:gd name="connsiteY3" fmla="*/ 1916 h 130604"/>
                <a:gd name="connsiteX4" fmla="*/ 17406 w 93929"/>
                <a:gd name="connsiteY4" fmla="*/ 55511 h 130604"/>
                <a:gd name="connsiteX5" fmla="*/ 18548 w 93929"/>
                <a:gd name="connsiteY5" fmla="*/ 56653 h 130604"/>
                <a:gd name="connsiteX6" fmla="*/ 75381 w 93929"/>
                <a:gd name="connsiteY6" fmla="*/ 56653 h 130604"/>
                <a:gd name="connsiteX7" fmla="*/ 76536 w 93929"/>
                <a:gd name="connsiteY7" fmla="*/ 55511 h 130604"/>
                <a:gd name="connsiteX8" fmla="*/ 76536 w 93929"/>
                <a:gd name="connsiteY8" fmla="*/ 1916 h 130604"/>
                <a:gd name="connsiteX9" fmla="*/ 78496 w 93929"/>
                <a:gd name="connsiteY9" fmla="*/ 0 h 130604"/>
                <a:gd name="connsiteX10" fmla="*/ 91982 w 93929"/>
                <a:gd name="connsiteY10" fmla="*/ 0 h 130604"/>
                <a:gd name="connsiteX11" fmla="*/ 93929 w 93929"/>
                <a:gd name="connsiteY11" fmla="*/ 1916 h 130604"/>
                <a:gd name="connsiteX12" fmla="*/ 93929 w 93929"/>
                <a:gd name="connsiteY12" fmla="*/ 128682 h 130604"/>
                <a:gd name="connsiteX13" fmla="*/ 91982 w 93929"/>
                <a:gd name="connsiteY13" fmla="*/ 130604 h 130604"/>
                <a:gd name="connsiteX14" fmla="*/ 78496 w 93929"/>
                <a:gd name="connsiteY14" fmla="*/ 130604 h 130604"/>
                <a:gd name="connsiteX15" fmla="*/ 76536 w 93929"/>
                <a:gd name="connsiteY15" fmla="*/ 128682 h 130604"/>
                <a:gd name="connsiteX16" fmla="*/ 76536 w 93929"/>
                <a:gd name="connsiteY16" fmla="*/ 73755 h 130604"/>
                <a:gd name="connsiteX17" fmla="*/ 75381 w 93929"/>
                <a:gd name="connsiteY17" fmla="*/ 72607 h 130604"/>
                <a:gd name="connsiteX18" fmla="*/ 18548 w 93929"/>
                <a:gd name="connsiteY18" fmla="*/ 72607 h 130604"/>
                <a:gd name="connsiteX19" fmla="*/ 17406 w 93929"/>
                <a:gd name="connsiteY19" fmla="*/ 73755 h 130604"/>
                <a:gd name="connsiteX20" fmla="*/ 17406 w 93929"/>
                <a:gd name="connsiteY20" fmla="*/ 128682 h 130604"/>
                <a:gd name="connsiteX21" fmla="*/ 15439 w 93929"/>
                <a:gd name="connsiteY21" fmla="*/ 130604 h 130604"/>
                <a:gd name="connsiteX22" fmla="*/ 1947 w 93929"/>
                <a:gd name="connsiteY22" fmla="*/ 130604 h 130604"/>
                <a:gd name="connsiteX23" fmla="*/ 0 w 93929"/>
                <a:gd name="connsiteY23" fmla="*/ 128682 h 130604"/>
                <a:gd name="connsiteX24" fmla="*/ 0 w 93929"/>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3929" h="130604">
                  <a:moveTo>
                    <a:pt x="0" y="1916"/>
                  </a:moveTo>
                  <a:cubicBezTo>
                    <a:pt x="0" y="636"/>
                    <a:pt x="653" y="0"/>
                    <a:pt x="1947" y="0"/>
                  </a:cubicBezTo>
                  <a:lnTo>
                    <a:pt x="15439" y="0"/>
                  </a:lnTo>
                  <a:cubicBezTo>
                    <a:pt x="16746" y="0"/>
                    <a:pt x="17406" y="636"/>
                    <a:pt x="17406" y="1916"/>
                  </a:cubicBezTo>
                  <a:lnTo>
                    <a:pt x="17406" y="55511"/>
                  </a:lnTo>
                  <a:cubicBezTo>
                    <a:pt x="17406" y="56279"/>
                    <a:pt x="17776" y="56653"/>
                    <a:pt x="18548" y="56653"/>
                  </a:cubicBezTo>
                  <a:lnTo>
                    <a:pt x="75381" y="56653"/>
                  </a:lnTo>
                  <a:cubicBezTo>
                    <a:pt x="76160" y="56653"/>
                    <a:pt x="76536" y="56279"/>
                    <a:pt x="76536" y="55511"/>
                  </a:cubicBezTo>
                  <a:lnTo>
                    <a:pt x="76536" y="1916"/>
                  </a:lnTo>
                  <a:cubicBezTo>
                    <a:pt x="76536" y="636"/>
                    <a:pt x="77189" y="0"/>
                    <a:pt x="78496" y="0"/>
                  </a:cubicBezTo>
                  <a:lnTo>
                    <a:pt x="91982" y="0"/>
                  </a:lnTo>
                  <a:cubicBezTo>
                    <a:pt x="93276" y="0"/>
                    <a:pt x="93929" y="636"/>
                    <a:pt x="93929" y="1916"/>
                  </a:cubicBezTo>
                  <a:lnTo>
                    <a:pt x="93929" y="128682"/>
                  </a:lnTo>
                  <a:cubicBezTo>
                    <a:pt x="93929" y="129961"/>
                    <a:pt x="93276" y="130604"/>
                    <a:pt x="91982" y="130604"/>
                  </a:cubicBezTo>
                  <a:lnTo>
                    <a:pt x="78496" y="130604"/>
                  </a:lnTo>
                  <a:cubicBezTo>
                    <a:pt x="77189" y="130604"/>
                    <a:pt x="76536" y="129961"/>
                    <a:pt x="76536" y="128682"/>
                  </a:cubicBezTo>
                  <a:lnTo>
                    <a:pt x="76536" y="73755"/>
                  </a:lnTo>
                  <a:cubicBezTo>
                    <a:pt x="76536" y="72987"/>
                    <a:pt x="76160" y="72607"/>
                    <a:pt x="75381" y="72607"/>
                  </a:cubicBezTo>
                  <a:lnTo>
                    <a:pt x="18548" y="72607"/>
                  </a:lnTo>
                  <a:cubicBezTo>
                    <a:pt x="17776" y="72607"/>
                    <a:pt x="17406" y="72987"/>
                    <a:pt x="17406" y="73755"/>
                  </a:cubicBezTo>
                  <a:lnTo>
                    <a:pt x="17406" y="128682"/>
                  </a:lnTo>
                  <a:cubicBezTo>
                    <a:pt x="17406" y="129961"/>
                    <a:pt x="16746" y="130604"/>
                    <a:pt x="15439" y="130604"/>
                  </a:cubicBezTo>
                  <a:lnTo>
                    <a:pt x="1947"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26" name="Freeform: Shape 25">
              <a:extLst>
                <a:ext uri="{FF2B5EF4-FFF2-40B4-BE49-F238E27FC236}">
                  <a16:creationId xmlns:a16="http://schemas.microsoft.com/office/drawing/2014/main" id="{E028EFE3-3D62-468F-831F-933871060A53}"/>
                </a:ext>
              </a:extLst>
            </p:cNvPr>
            <p:cNvSpPr/>
            <p:nvPr/>
          </p:nvSpPr>
          <p:spPr>
            <a:xfrm>
              <a:off x="1425893" y="801424"/>
              <a:ext cx="92582" cy="130604"/>
            </a:xfrm>
            <a:custGeom>
              <a:avLst/>
              <a:gdLst>
                <a:gd name="connsiteX0" fmla="*/ 0 w 92582"/>
                <a:gd name="connsiteY0" fmla="*/ 1916 h 130604"/>
                <a:gd name="connsiteX1" fmla="*/ 1941 w 92582"/>
                <a:gd name="connsiteY1" fmla="*/ 0 h 130604"/>
                <a:gd name="connsiteX2" fmla="*/ 46186 w 92582"/>
                <a:gd name="connsiteY2" fmla="*/ 0 h 130604"/>
                <a:gd name="connsiteX3" fmla="*/ 89104 w 92582"/>
                <a:gd name="connsiteY3" fmla="*/ 27841 h 130604"/>
                <a:gd name="connsiteX4" fmla="*/ 90549 w 92582"/>
                <a:gd name="connsiteY4" fmla="*/ 33410 h 130604"/>
                <a:gd name="connsiteX5" fmla="*/ 91705 w 92582"/>
                <a:gd name="connsiteY5" fmla="*/ 40515 h 130604"/>
                <a:gd name="connsiteX6" fmla="*/ 92378 w 92582"/>
                <a:gd name="connsiteY6" fmla="*/ 50703 h 130604"/>
                <a:gd name="connsiteX7" fmla="*/ 92582 w 92582"/>
                <a:gd name="connsiteY7" fmla="*/ 65305 h 130604"/>
                <a:gd name="connsiteX8" fmla="*/ 92378 w 92582"/>
                <a:gd name="connsiteY8" fmla="*/ 79908 h 130604"/>
                <a:gd name="connsiteX9" fmla="*/ 91705 w 92582"/>
                <a:gd name="connsiteY9" fmla="*/ 90083 h 130604"/>
                <a:gd name="connsiteX10" fmla="*/ 90549 w 92582"/>
                <a:gd name="connsiteY10" fmla="*/ 97194 h 130604"/>
                <a:gd name="connsiteX11" fmla="*/ 89104 w 92582"/>
                <a:gd name="connsiteY11" fmla="*/ 102763 h 130604"/>
                <a:gd name="connsiteX12" fmla="*/ 46186 w 92582"/>
                <a:gd name="connsiteY12" fmla="*/ 130604 h 130604"/>
                <a:gd name="connsiteX13" fmla="*/ 1941 w 92582"/>
                <a:gd name="connsiteY13" fmla="*/ 130604 h 130604"/>
                <a:gd name="connsiteX14" fmla="*/ 0 w 92582"/>
                <a:gd name="connsiteY14" fmla="*/ 128682 h 130604"/>
                <a:gd name="connsiteX15" fmla="*/ 0 w 92582"/>
                <a:gd name="connsiteY15" fmla="*/ 1916 h 130604"/>
                <a:gd name="connsiteX16" fmla="*/ 17380 w 92582"/>
                <a:gd name="connsiteY16" fmla="*/ 113509 h 130604"/>
                <a:gd name="connsiteX17" fmla="*/ 18548 w 92582"/>
                <a:gd name="connsiteY17" fmla="*/ 114670 h 130604"/>
                <a:gd name="connsiteX18" fmla="*/ 42634 w 92582"/>
                <a:gd name="connsiteY18" fmla="*/ 114670 h 130604"/>
                <a:gd name="connsiteX19" fmla="*/ 61895 w 92582"/>
                <a:gd name="connsiteY19" fmla="*/ 110530 h 130604"/>
                <a:gd name="connsiteX20" fmla="*/ 72490 w 92582"/>
                <a:gd name="connsiteY20" fmla="*/ 96813 h 130604"/>
                <a:gd name="connsiteX21" fmla="*/ 73638 w 92582"/>
                <a:gd name="connsiteY21" fmla="*/ 92772 h 130604"/>
                <a:gd name="connsiteX22" fmla="*/ 74510 w 92582"/>
                <a:gd name="connsiteY22" fmla="*/ 86914 h 130604"/>
                <a:gd name="connsiteX23" fmla="*/ 74991 w 92582"/>
                <a:gd name="connsiteY23" fmla="*/ 78183 h 130604"/>
                <a:gd name="connsiteX24" fmla="*/ 75183 w 92582"/>
                <a:gd name="connsiteY24" fmla="*/ 65305 h 130604"/>
                <a:gd name="connsiteX25" fmla="*/ 74991 w 92582"/>
                <a:gd name="connsiteY25" fmla="*/ 52428 h 130604"/>
                <a:gd name="connsiteX26" fmla="*/ 74510 w 92582"/>
                <a:gd name="connsiteY26" fmla="*/ 43690 h 130604"/>
                <a:gd name="connsiteX27" fmla="*/ 73638 w 92582"/>
                <a:gd name="connsiteY27" fmla="*/ 37832 h 130604"/>
                <a:gd name="connsiteX28" fmla="*/ 72490 w 92582"/>
                <a:gd name="connsiteY28" fmla="*/ 33791 h 130604"/>
                <a:gd name="connsiteX29" fmla="*/ 61895 w 92582"/>
                <a:gd name="connsiteY29" fmla="*/ 20067 h 130604"/>
                <a:gd name="connsiteX30" fmla="*/ 42634 w 92582"/>
                <a:gd name="connsiteY30" fmla="*/ 15934 h 130604"/>
                <a:gd name="connsiteX31" fmla="*/ 18548 w 92582"/>
                <a:gd name="connsiteY31" fmla="*/ 15934 h 130604"/>
                <a:gd name="connsiteX32" fmla="*/ 17380 w 92582"/>
                <a:gd name="connsiteY32" fmla="*/ 17089 h 130604"/>
                <a:gd name="connsiteX33" fmla="*/ 17380 w 92582"/>
                <a:gd name="connsiteY33" fmla="*/ 1135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2582" h="130604">
                  <a:moveTo>
                    <a:pt x="0" y="1916"/>
                  </a:moveTo>
                  <a:cubicBezTo>
                    <a:pt x="0" y="636"/>
                    <a:pt x="647" y="0"/>
                    <a:pt x="1941" y="0"/>
                  </a:cubicBezTo>
                  <a:lnTo>
                    <a:pt x="46186" y="0"/>
                  </a:lnTo>
                  <a:cubicBezTo>
                    <a:pt x="68734" y="0"/>
                    <a:pt x="83044" y="9269"/>
                    <a:pt x="89104" y="27841"/>
                  </a:cubicBezTo>
                  <a:cubicBezTo>
                    <a:pt x="89606" y="29645"/>
                    <a:pt x="90094" y="31488"/>
                    <a:pt x="90549" y="33410"/>
                  </a:cubicBezTo>
                  <a:cubicBezTo>
                    <a:pt x="91005" y="35332"/>
                    <a:pt x="91388" y="37707"/>
                    <a:pt x="91705" y="40515"/>
                  </a:cubicBezTo>
                  <a:cubicBezTo>
                    <a:pt x="92028" y="43342"/>
                    <a:pt x="92252" y="46734"/>
                    <a:pt x="92378" y="50703"/>
                  </a:cubicBezTo>
                  <a:cubicBezTo>
                    <a:pt x="92516" y="54665"/>
                    <a:pt x="92582" y="59539"/>
                    <a:pt x="92582" y="65305"/>
                  </a:cubicBezTo>
                  <a:cubicBezTo>
                    <a:pt x="92582" y="71072"/>
                    <a:pt x="92516" y="75939"/>
                    <a:pt x="92378" y="79908"/>
                  </a:cubicBezTo>
                  <a:cubicBezTo>
                    <a:pt x="92252" y="83870"/>
                    <a:pt x="92028" y="87268"/>
                    <a:pt x="91705" y="90083"/>
                  </a:cubicBezTo>
                  <a:cubicBezTo>
                    <a:pt x="91388" y="92897"/>
                    <a:pt x="91005" y="95265"/>
                    <a:pt x="90549" y="97194"/>
                  </a:cubicBezTo>
                  <a:cubicBezTo>
                    <a:pt x="90094" y="99116"/>
                    <a:pt x="89606" y="100959"/>
                    <a:pt x="89104" y="102763"/>
                  </a:cubicBezTo>
                  <a:cubicBezTo>
                    <a:pt x="83044" y="121335"/>
                    <a:pt x="68734" y="130604"/>
                    <a:pt x="46186" y="130604"/>
                  </a:cubicBezTo>
                  <a:lnTo>
                    <a:pt x="1941" y="130604"/>
                  </a:lnTo>
                  <a:cubicBezTo>
                    <a:pt x="647" y="130604"/>
                    <a:pt x="0" y="129961"/>
                    <a:pt x="0" y="128682"/>
                  </a:cubicBezTo>
                  <a:lnTo>
                    <a:pt x="0" y="1916"/>
                  </a:lnTo>
                  <a:close/>
                  <a:moveTo>
                    <a:pt x="17380" y="113509"/>
                  </a:moveTo>
                  <a:cubicBezTo>
                    <a:pt x="17380" y="114276"/>
                    <a:pt x="17776" y="114670"/>
                    <a:pt x="18548" y="114670"/>
                  </a:cubicBezTo>
                  <a:lnTo>
                    <a:pt x="42634" y="114670"/>
                  </a:lnTo>
                  <a:cubicBezTo>
                    <a:pt x="50595" y="114670"/>
                    <a:pt x="57024" y="113292"/>
                    <a:pt x="61895" y="110530"/>
                  </a:cubicBezTo>
                  <a:cubicBezTo>
                    <a:pt x="66773" y="107775"/>
                    <a:pt x="70298" y="103203"/>
                    <a:pt x="72490" y="96813"/>
                  </a:cubicBezTo>
                  <a:cubicBezTo>
                    <a:pt x="72879" y="95652"/>
                    <a:pt x="73255" y="94307"/>
                    <a:pt x="73638" y="92772"/>
                  </a:cubicBezTo>
                  <a:cubicBezTo>
                    <a:pt x="74028" y="91237"/>
                    <a:pt x="74312" y="89282"/>
                    <a:pt x="74510" y="86914"/>
                  </a:cubicBezTo>
                  <a:cubicBezTo>
                    <a:pt x="74701" y="84546"/>
                    <a:pt x="74866" y="81633"/>
                    <a:pt x="74991" y="78183"/>
                  </a:cubicBezTo>
                  <a:cubicBezTo>
                    <a:pt x="75117" y="74719"/>
                    <a:pt x="75183" y="70429"/>
                    <a:pt x="75183" y="65305"/>
                  </a:cubicBezTo>
                  <a:cubicBezTo>
                    <a:pt x="75183" y="60175"/>
                    <a:pt x="75117" y="55892"/>
                    <a:pt x="74991" y="52428"/>
                  </a:cubicBezTo>
                  <a:cubicBezTo>
                    <a:pt x="74866" y="48977"/>
                    <a:pt x="74701" y="46065"/>
                    <a:pt x="74510" y="43690"/>
                  </a:cubicBezTo>
                  <a:cubicBezTo>
                    <a:pt x="74312" y="41315"/>
                    <a:pt x="74028" y="39367"/>
                    <a:pt x="73638" y="37832"/>
                  </a:cubicBezTo>
                  <a:cubicBezTo>
                    <a:pt x="73255" y="36297"/>
                    <a:pt x="72879" y="34952"/>
                    <a:pt x="72490" y="33791"/>
                  </a:cubicBezTo>
                  <a:cubicBezTo>
                    <a:pt x="70298" y="27401"/>
                    <a:pt x="66773" y="22822"/>
                    <a:pt x="61895" y="20067"/>
                  </a:cubicBezTo>
                  <a:cubicBezTo>
                    <a:pt x="57024" y="17312"/>
                    <a:pt x="50595" y="15934"/>
                    <a:pt x="42634" y="15934"/>
                  </a:cubicBezTo>
                  <a:lnTo>
                    <a:pt x="18548" y="15934"/>
                  </a:lnTo>
                  <a:cubicBezTo>
                    <a:pt x="17776" y="15934"/>
                    <a:pt x="17380" y="16321"/>
                    <a:pt x="17380" y="17089"/>
                  </a:cubicBezTo>
                  <a:lnTo>
                    <a:pt x="17380" y="113509"/>
                  </a:lnTo>
                  <a:close/>
                </a:path>
              </a:pathLst>
            </a:custGeom>
            <a:solidFill>
              <a:srgbClr val="FFFFFF"/>
            </a:solidFill>
            <a:ln w="7" cap="flat">
              <a:noFill/>
              <a:prstDash val="solid"/>
              <a:miter/>
            </a:ln>
          </p:spPr>
          <p:txBody>
            <a:bodyPr rtlCol="0" anchor="ctr"/>
            <a:lstStyle/>
            <a:p>
              <a:endParaRPr lang="de-DE"/>
            </a:p>
          </p:txBody>
        </p:sp>
        <p:sp>
          <p:nvSpPr>
            <p:cNvPr id="29" name="Freeform: Shape 28">
              <a:extLst>
                <a:ext uri="{FF2B5EF4-FFF2-40B4-BE49-F238E27FC236}">
                  <a16:creationId xmlns:a16="http://schemas.microsoft.com/office/drawing/2014/main" id="{AAD9ACAA-993A-49FD-ADEC-2A0B67762233}"/>
                </a:ext>
              </a:extLst>
            </p:cNvPr>
            <p:cNvSpPr/>
            <p:nvPr/>
          </p:nvSpPr>
          <p:spPr>
            <a:xfrm>
              <a:off x="1533422" y="801424"/>
              <a:ext cx="108302" cy="130604"/>
            </a:xfrm>
            <a:custGeom>
              <a:avLst/>
              <a:gdLst>
                <a:gd name="connsiteX0" fmla="*/ 45740 w 108302"/>
                <a:gd name="connsiteY0" fmla="*/ 1916 h 130604"/>
                <a:gd name="connsiteX1" fmla="*/ 48057 w 108302"/>
                <a:gd name="connsiteY1" fmla="*/ 0 h 130604"/>
                <a:gd name="connsiteX2" fmla="*/ 60632 w 108302"/>
                <a:gd name="connsiteY2" fmla="*/ 0 h 130604"/>
                <a:gd name="connsiteX3" fmla="*/ 63140 w 108302"/>
                <a:gd name="connsiteY3" fmla="*/ 1916 h 130604"/>
                <a:gd name="connsiteX4" fmla="*/ 108171 w 108302"/>
                <a:gd name="connsiteY4" fmla="*/ 128682 h 130604"/>
                <a:gd name="connsiteX5" fmla="*/ 106817 w 108302"/>
                <a:gd name="connsiteY5" fmla="*/ 130604 h 130604"/>
                <a:gd name="connsiteX6" fmla="*/ 93292 w 108302"/>
                <a:gd name="connsiteY6" fmla="*/ 130604 h 130604"/>
                <a:gd name="connsiteX7" fmla="*/ 90784 w 108302"/>
                <a:gd name="connsiteY7" fmla="*/ 128682 h 130604"/>
                <a:gd name="connsiteX8" fmla="*/ 80731 w 108302"/>
                <a:gd name="connsiteY8" fmla="*/ 100257 h 130604"/>
                <a:gd name="connsiteX9" fmla="*/ 27575 w 108302"/>
                <a:gd name="connsiteY9" fmla="*/ 100257 h 130604"/>
                <a:gd name="connsiteX10" fmla="*/ 17522 w 108302"/>
                <a:gd name="connsiteY10" fmla="*/ 128682 h 130604"/>
                <a:gd name="connsiteX11" fmla="*/ 15014 w 108302"/>
                <a:gd name="connsiteY11" fmla="*/ 130604 h 130604"/>
                <a:gd name="connsiteX12" fmla="*/ 1482 w 108302"/>
                <a:gd name="connsiteY12" fmla="*/ 130604 h 130604"/>
                <a:gd name="connsiteX13" fmla="*/ 136 w 108302"/>
                <a:gd name="connsiteY13" fmla="*/ 128682 h 130604"/>
                <a:gd name="connsiteX14" fmla="*/ 45740 w 108302"/>
                <a:gd name="connsiteY14" fmla="*/ 1916 h 130604"/>
                <a:gd name="connsiteX15" fmla="*/ 75127 w 108302"/>
                <a:gd name="connsiteY15" fmla="*/ 84513 h 130604"/>
                <a:gd name="connsiteX16" fmla="*/ 54440 w 108302"/>
                <a:gd name="connsiteY16" fmla="*/ 25164 h 130604"/>
                <a:gd name="connsiteX17" fmla="*/ 54051 w 108302"/>
                <a:gd name="connsiteY17" fmla="*/ 25164 h 130604"/>
                <a:gd name="connsiteX18" fmla="*/ 33179 w 108302"/>
                <a:gd name="connsiteY18" fmla="*/ 84513 h 130604"/>
                <a:gd name="connsiteX19" fmla="*/ 75127 w 108302"/>
                <a:gd name="connsiteY19" fmla="*/ 84513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302" h="130604">
                  <a:moveTo>
                    <a:pt x="45740" y="1916"/>
                  </a:moveTo>
                  <a:cubicBezTo>
                    <a:pt x="46117" y="636"/>
                    <a:pt x="46896" y="0"/>
                    <a:pt x="48057" y="0"/>
                  </a:cubicBezTo>
                  <a:lnTo>
                    <a:pt x="60632" y="0"/>
                  </a:lnTo>
                  <a:cubicBezTo>
                    <a:pt x="61906" y="0"/>
                    <a:pt x="62757" y="636"/>
                    <a:pt x="63140" y="1916"/>
                  </a:cubicBezTo>
                  <a:lnTo>
                    <a:pt x="108171" y="128682"/>
                  </a:lnTo>
                  <a:cubicBezTo>
                    <a:pt x="108553" y="129961"/>
                    <a:pt x="108105" y="130604"/>
                    <a:pt x="106817" y="130604"/>
                  </a:cubicBezTo>
                  <a:lnTo>
                    <a:pt x="93292" y="130604"/>
                  </a:lnTo>
                  <a:cubicBezTo>
                    <a:pt x="91999" y="130604"/>
                    <a:pt x="91160" y="129961"/>
                    <a:pt x="90784" y="128682"/>
                  </a:cubicBezTo>
                  <a:lnTo>
                    <a:pt x="80731" y="100257"/>
                  </a:lnTo>
                  <a:lnTo>
                    <a:pt x="27575" y="100257"/>
                  </a:lnTo>
                  <a:lnTo>
                    <a:pt x="17522" y="128682"/>
                  </a:lnTo>
                  <a:cubicBezTo>
                    <a:pt x="17007" y="129961"/>
                    <a:pt x="16169" y="130604"/>
                    <a:pt x="15014" y="130604"/>
                  </a:cubicBezTo>
                  <a:lnTo>
                    <a:pt x="1482" y="130604"/>
                  </a:lnTo>
                  <a:cubicBezTo>
                    <a:pt x="195" y="130604"/>
                    <a:pt x="-254" y="129961"/>
                    <a:pt x="136" y="128682"/>
                  </a:cubicBezTo>
                  <a:lnTo>
                    <a:pt x="45740" y="1916"/>
                  </a:lnTo>
                  <a:close/>
                  <a:moveTo>
                    <a:pt x="75127" y="84513"/>
                  </a:moveTo>
                  <a:lnTo>
                    <a:pt x="54440" y="25164"/>
                  </a:lnTo>
                  <a:lnTo>
                    <a:pt x="54051" y="25164"/>
                  </a:lnTo>
                  <a:lnTo>
                    <a:pt x="33179" y="84513"/>
                  </a:lnTo>
                  <a:lnTo>
                    <a:pt x="75127" y="84513"/>
                  </a:lnTo>
                  <a:close/>
                </a:path>
              </a:pathLst>
            </a:custGeom>
            <a:solidFill>
              <a:srgbClr val="FFFFFF"/>
            </a:solidFill>
            <a:ln w="7" cap="flat">
              <a:noFill/>
              <a:prstDash val="solid"/>
              <a:miter/>
            </a:ln>
          </p:spPr>
          <p:txBody>
            <a:bodyPr rtlCol="0" anchor="ctr"/>
            <a:lstStyle/>
            <a:p>
              <a:endParaRPr lang="de-DE"/>
            </a:p>
          </p:txBody>
        </p:sp>
        <p:sp>
          <p:nvSpPr>
            <p:cNvPr id="30" name="Freeform: Shape 29">
              <a:extLst>
                <a:ext uri="{FF2B5EF4-FFF2-40B4-BE49-F238E27FC236}">
                  <a16:creationId xmlns:a16="http://schemas.microsoft.com/office/drawing/2014/main" id="{D66CA569-FE89-4B56-8BF1-8F0C5DAA21CD}"/>
                </a:ext>
              </a:extLst>
            </p:cNvPr>
            <p:cNvSpPr/>
            <p:nvPr/>
          </p:nvSpPr>
          <p:spPr>
            <a:xfrm>
              <a:off x="1664392" y="801424"/>
              <a:ext cx="90655" cy="130604"/>
            </a:xfrm>
            <a:custGeom>
              <a:avLst/>
              <a:gdLst>
                <a:gd name="connsiteX0" fmla="*/ 0 w 90655"/>
                <a:gd name="connsiteY0" fmla="*/ 1916 h 130604"/>
                <a:gd name="connsiteX1" fmla="*/ 1941 w 90655"/>
                <a:gd name="connsiteY1" fmla="*/ 0 h 130604"/>
                <a:gd name="connsiteX2" fmla="*/ 48522 w 90655"/>
                <a:gd name="connsiteY2" fmla="*/ 0 h 130604"/>
                <a:gd name="connsiteX3" fmla="*/ 78272 w 90655"/>
                <a:gd name="connsiteY3" fmla="*/ 9309 h 130604"/>
                <a:gd name="connsiteX4" fmla="*/ 88127 w 90655"/>
                <a:gd name="connsiteY4" fmla="*/ 34375 h 130604"/>
                <a:gd name="connsiteX5" fmla="*/ 83203 w 90655"/>
                <a:gd name="connsiteY5" fmla="*/ 52815 h 130604"/>
                <a:gd name="connsiteX6" fmla="*/ 70556 w 90655"/>
                <a:gd name="connsiteY6" fmla="*/ 62806 h 130604"/>
                <a:gd name="connsiteX7" fmla="*/ 70556 w 90655"/>
                <a:gd name="connsiteY7" fmla="*/ 63193 h 130604"/>
                <a:gd name="connsiteX8" fmla="*/ 77401 w 90655"/>
                <a:gd name="connsiteY8" fmla="*/ 66552 h 130604"/>
                <a:gd name="connsiteX9" fmla="*/ 83883 w 90655"/>
                <a:gd name="connsiteY9" fmla="*/ 72698 h 130604"/>
                <a:gd name="connsiteX10" fmla="*/ 88708 w 90655"/>
                <a:gd name="connsiteY10" fmla="*/ 81633 h 130604"/>
                <a:gd name="connsiteX11" fmla="*/ 90655 w 90655"/>
                <a:gd name="connsiteY11" fmla="*/ 93356 h 130604"/>
                <a:gd name="connsiteX12" fmla="*/ 79506 w 90655"/>
                <a:gd name="connsiteY12" fmla="*/ 121204 h 130604"/>
                <a:gd name="connsiteX13" fmla="*/ 47644 w 90655"/>
                <a:gd name="connsiteY13" fmla="*/ 130604 h 130604"/>
                <a:gd name="connsiteX14" fmla="*/ 1941 w 90655"/>
                <a:gd name="connsiteY14" fmla="*/ 130604 h 130604"/>
                <a:gd name="connsiteX15" fmla="*/ 0 w 90655"/>
                <a:gd name="connsiteY15" fmla="*/ 128682 h 130604"/>
                <a:gd name="connsiteX16" fmla="*/ 0 w 90655"/>
                <a:gd name="connsiteY16" fmla="*/ 1916 h 130604"/>
                <a:gd name="connsiteX17" fmla="*/ 48205 w 90655"/>
                <a:gd name="connsiteY17" fmla="*/ 56462 h 130604"/>
                <a:gd name="connsiteX18" fmla="*/ 65176 w 90655"/>
                <a:gd name="connsiteY18" fmla="*/ 50906 h 130604"/>
                <a:gd name="connsiteX19" fmla="*/ 71137 w 90655"/>
                <a:gd name="connsiteY19" fmla="*/ 36113 h 130604"/>
                <a:gd name="connsiteX20" fmla="*/ 65176 w 90655"/>
                <a:gd name="connsiteY20" fmla="*/ 21123 h 130604"/>
                <a:gd name="connsiteX21" fmla="*/ 48205 w 90655"/>
                <a:gd name="connsiteY21" fmla="*/ 15554 h 130604"/>
                <a:gd name="connsiteX22" fmla="*/ 18555 w 90655"/>
                <a:gd name="connsiteY22" fmla="*/ 15554 h 130604"/>
                <a:gd name="connsiteX23" fmla="*/ 17393 w 90655"/>
                <a:gd name="connsiteY23" fmla="*/ 16702 h 130604"/>
                <a:gd name="connsiteX24" fmla="*/ 17393 w 90655"/>
                <a:gd name="connsiteY24" fmla="*/ 55308 h 130604"/>
                <a:gd name="connsiteX25" fmla="*/ 18555 w 90655"/>
                <a:gd name="connsiteY25" fmla="*/ 56462 h 130604"/>
                <a:gd name="connsiteX26" fmla="*/ 48205 w 90655"/>
                <a:gd name="connsiteY26" fmla="*/ 56462 h 130604"/>
                <a:gd name="connsiteX27" fmla="*/ 17393 w 90655"/>
                <a:gd name="connsiteY27" fmla="*/ 113896 h 130604"/>
                <a:gd name="connsiteX28" fmla="*/ 18555 w 90655"/>
                <a:gd name="connsiteY28" fmla="*/ 115044 h 130604"/>
                <a:gd name="connsiteX29" fmla="*/ 49196 w 90655"/>
                <a:gd name="connsiteY29" fmla="*/ 115044 h 130604"/>
                <a:gd name="connsiteX30" fmla="*/ 67097 w 90655"/>
                <a:gd name="connsiteY30" fmla="*/ 109199 h 130604"/>
                <a:gd name="connsiteX31" fmla="*/ 73262 w 90655"/>
                <a:gd name="connsiteY31" fmla="*/ 93540 h 130604"/>
                <a:gd name="connsiteX32" fmla="*/ 67097 w 90655"/>
                <a:gd name="connsiteY32" fmla="*/ 77881 h 130604"/>
                <a:gd name="connsiteX33" fmla="*/ 49196 w 90655"/>
                <a:gd name="connsiteY33" fmla="*/ 72029 h 130604"/>
                <a:gd name="connsiteX34" fmla="*/ 18555 w 90655"/>
                <a:gd name="connsiteY34" fmla="*/ 72029 h 130604"/>
                <a:gd name="connsiteX35" fmla="*/ 17393 w 90655"/>
                <a:gd name="connsiteY35" fmla="*/ 73190 h 130604"/>
                <a:gd name="connsiteX36" fmla="*/ 17393 w 90655"/>
                <a:gd name="connsiteY36" fmla="*/ 11389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0655" h="130604">
                  <a:moveTo>
                    <a:pt x="0" y="1916"/>
                  </a:moveTo>
                  <a:cubicBezTo>
                    <a:pt x="0" y="636"/>
                    <a:pt x="647" y="0"/>
                    <a:pt x="1941" y="0"/>
                  </a:cubicBezTo>
                  <a:lnTo>
                    <a:pt x="48522" y="0"/>
                  </a:lnTo>
                  <a:cubicBezTo>
                    <a:pt x="61790" y="0"/>
                    <a:pt x="71704" y="3109"/>
                    <a:pt x="78272" y="9309"/>
                  </a:cubicBezTo>
                  <a:cubicBezTo>
                    <a:pt x="84853" y="15521"/>
                    <a:pt x="88127" y="23879"/>
                    <a:pt x="88127" y="34375"/>
                  </a:cubicBezTo>
                  <a:cubicBezTo>
                    <a:pt x="88127" y="42056"/>
                    <a:pt x="86483" y="48210"/>
                    <a:pt x="83203" y="52815"/>
                  </a:cubicBezTo>
                  <a:cubicBezTo>
                    <a:pt x="79929" y="57420"/>
                    <a:pt x="75691" y="60759"/>
                    <a:pt x="70556" y="62806"/>
                  </a:cubicBezTo>
                  <a:lnTo>
                    <a:pt x="70556" y="63193"/>
                  </a:lnTo>
                  <a:cubicBezTo>
                    <a:pt x="72747" y="63829"/>
                    <a:pt x="75018" y="64945"/>
                    <a:pt x="77401" y="66552"/>
                  </a:cubicBezTo>
                  <a:cubicBezTo>
                    <a:pt x="79784" y="68159"/>
                    <a:pt x="81949" y="70199"/>
                    <a:pt x="83883" y="72698"/>
                  </a:cubicBezTo>
                  <a:cubicBezTo>
                    <a:pt x="85803" y="75198"/>
                    <a:pt x="87414" y="78183"/>
                    <a:pt x="88708" y="81633"/>
                  </a:cubicBezTo>
                  <a:cubicBezTo>
                    <a:pt x="90002" y="85090"/>
                    <a:pt x="90655" y="88994"/>
                    <a:pt x="90655" y="93356"/>
                  </a:cubicBezTo>
                  <a:cubicBezTo>
                    <a:pt x="90655" y="105650"/>
                    <a:pt x="86939" y="114919"/>
                    <a:pt x="79506" y="121204"/>
                  </a:cubicBezTo>
                  <a:cubicBezTo>
                    <a:pt x="72080" y="127462"/>
                    <a:pt x="61473" y="130604"/>
                    <a:pt x="47644" y="130604"/>
                  </a:cubicBezTo>
                  <a:lnTo>
                    <a:pt x="1941" y="130604"/>
                  </a:lnTo>
                  <a:cubicBezTo>
                    <a:pt x="647" y="130604"/>
                    <a:pt x="0" y="129961"/>
                    <a:pt x="0" y="128682"/>
                  </a:cubicBezTo>
                  <a:lnTo>
                    <a:pt x="0" y="1916"/>
                  </a:lnTo>
                  <a:close/>
                  <a:moveTo>
                    <a:pt x="48205" y="56462"/>
                  </a:moveTo>
                  <a:cubicBezTo>
                    <a:pt x="55539" y="56462"/>
                    <a:pt x="61176" y="54606"/>
                    <a:pt x="65176" y="50906"/>
                  </a:cubicBezTo>
                  <a:cubicBezTo>
                    <a:pt x="69143" y="47193"/>
                    <a:pt x="71137" y="42253"/>
                    <a:pt x="71137" y="36113"/>
                  </a:cubicBezTo>
                  <a:cubicBezTo>
                    <a:pt x="71137" y="29829"/>
                    <a:pt x="69143" y="24830"/>
                    <a:pt x="65176" y="21123"/>
                  </a:cubicBezTo>
                  <a:cubicBezTo>
                    <a:pt x="61176" y="17404"/>
                    <a:pt x="55539" y="15554"/>
                    <a:pt x="48205" y="15554"/>
                  </a:cubicBezTo>
                  <a:lnTo>
                    <a:pt x="18555" y="15554"/>
                  </a:lnTo>
                  <a:cubicBezTo>
                    <a:pt x="17782" y="15554"/>
                    <a:pt x="17393" y="15934"/>
                    <a:pt x="17393" y="16702"/>
                  </a:cubicBezTo>
                  <a:lnTo>
                    <a:pt x="17393" y="55308"/>
                  </a:lnTo>
                  <a:cubicBezTo>
                    <a:pt x="17393" y="56075"/>
                    <a:pt x="17782" y="56462"/>
                    <a:pt x="18555" y="56462"/>
                  </a:cubicBezTo>
                  <a:lnTo>
                    <a:pt x="48205" y="56462"/>
                  </a:lnTo>
                  <a:close/>
                  <a:moveTo>
                    <a:pt x="17393" y="113896"/>
                  </a:moveTo>
                  <a:cubicBezTo>
                    <a:pt x="17393" y="114670"/>
                    <a:pt x="17782" y="115044"/>
                    <a:pt x="18555" y="115044"/>
                  </a:cubicBezTo>
                  <a:lnTo>
                    <a:pt x="49196" y="115044"/>
                  </a:lnTo>
                  <a:cubicBezTo>
                    <a:pt x="57024" y="115044"/>
                    <a:pt x="62985" y="113089"/>
                    <a:pt x="67097" y="109199"/>
                  </a:cubicBezTo>
                  <a:cubicBezTo>
                    <a:pt x="71209" y="105289"/>
                    <a:pt x="73262" y="100067"/>
                    <a:pt x="73262" y="93540"/>
                  </a:cubicBezTo>
                  <a:cubicBezTo>
                    <a:pt x="73262" y="86999"/>
                    <a:pt x="71209" y="81791"/>
                    <a:pt x="67097" y="77881"/>
                  </a:cubicBezTo>
                  <a:cubicBezTo>
                    <a:pt x="62985" y="73984"/>
                    <a:pt x="57024" y="72029"/>
                    <a:pt x="49196" y="72029"/>
                  </a:cubicBezTo>
                  <a:lnTo>
                    <a:pt x="18555" y="72029"/>
                  </a:lnTo>
                  <a:cubicBezTo>
                    <a:pt x="17782" y="72029"/>
                    <a:pt x="17393" y="72416"/>
                    <a:pt x="17393" y="73190"/>
                  </a:cubicBezTo>
                  <a:lnTo>
                    <a:pt x="17393" y="113896"/>
                  </a:lnTo>
                  <a:close/>
                </a:path>
              </a:pathLst>
            </a:custGeom>
            <a:solidFill>
              <a:srgbClr val="FFFFFF"/>
            </a:solidFill>
            <a:ln w="7" cap="flat">
              <a:noFill/>
              <a:prstDash val="solid"/>
              <a:miter/>
            </a:ln>
          </p:spPr>
          <p:txBody>
            <a:bodyPr rtlCol="0" anchor="ctr"/>
            <a:lstStyle/>
            <a:p>
              <a:endParaRPr lang="de-DE"/>
            </a:p>
          </p:txBody>
        </p:sp>
        <p:sp>
          <p:nvSpPr>
            <p:cNvPr id="31" name="Freeform: Shape 30">
              <a:extLst>
                <a:ext uri="{FF2B5EF4-FFF2-40B4-BE49-F238E27FC236}">
                  <a16:creationId xmlns:a16="http://schemas.microsoft.com/office/drawing/2014/main" id="{775D9640-BF99-4E00-A786-3CE0C799BC7D}"/>
                </a:ext>
              </a:extLst>
            </p:cNvPr>
            <p:cNvSpPr/>
            <p:nvPr/>
          </p:nvSpPr>
          <p:spPr>
            <a:xfrm>
              <a:off x="1783067" y="801424"/>
              <a:ext cx="83103" cy="130604"/>
            </a:xfrm>
            <a:custGeom>
              <a:avLst/>
              <a:gdLst>
                <a:gd name="connsiteX0" fmla="*/ 0 w 83103"/>
                <a:gd name="connsiteY0" fmla="*/ 1916 h 130604"/>
                <a:gd name="connsiteX1" fmla="*/ 1934 w 83103"/>
                <a:gd name="connsiteY1" fmla="*/ 0 h 130604"/>
                <a:gd name="connsiteX2" fmla="*/ 81170 w 83103"/>
                <a:gd name="connsiteY2" fmla="*/ 0 h 130604"/>
                <a:gd name="connsiteX3" fmla="*/ 83104 w 83103"/>
                <a:gd name="connsiteY3" fmla="*/ 1916 h 130604"/>
                <a:gd name="connsiteX4" fmla="*/ 83104 w 83103"/>
                <a:gd name="connsiteY4" fmla="*/ 14006 h 130604"/>
                <a:gd name="connsiteX5" fmla="*/ 81170 w 83103"/>
                <a:gd name="connsiteY5" fmla="*/ 15934 h 130604"/>
                <a:gd name="connsiteX6" fmla="*/ 18555 w 83103"/>
                <a:gd name="connsiteY6" fmla="*/ 15934 h 130604"/>
                <a:gd name="connsiteX7" fmla="*/ 17406 w 83103"/>
                <a:gd name="connsiteY7" fmla="*/ 17089 h 130604"/>
                <a:gd name="connsiteX8" fmla="*/ 17406 w 83103"/>
                <a:gd name="connsiteY8" fmla="*/ 55505 h 130604"/>
                <a:gd name="connsiteX9" fmla="*/ 18555 w 83103"/>
                <a:gd name="connsiteY9" fmla="*/ 56653 h 130604"/>
                <a:gd name="connsiteX10" fmla="*/ 71691 w 83103"/>
                <a:gd name="connsiteY10" fmla="*/ 56653 h 130604"/>
                <a:gd name="connsiteX11" fmla="*/ 73638 w 83103"/>
                <a:gd name="connsiteY11" fmla="*/ 58575 h 130604"/>
                <a:gd name="connsiteX12" fmla="*/ 73638 w 83103"/>
                <a:gd name="connsiteY12" fmla="*/ 70678 h 130604"/>
                <a:gd name="connsiteX13" fmla="*/ 71691 w 83103"/>
                <a:gd name="connsiteY13" fmla="*/ 72607 h 130604"/>
                <a:gd name="connsiteX14" fmla="*/ 18555 w 83103"/>
                <a:gd name="connsiteY14" fmla="*/ 72607 h 130604"/>
                <a:gd name="connsiteX15" fmla="*/ 17406 w 83103"/>
                <a:gd name="connsiteY15" fmla="*/ 73755 h 130604"/>
                <a:gd name="connsiteX16" fmla="*/ 17406 w 83103"/>
                <a:gd name="connsiteY16" fmla="*/ 113509 h 130604"/>
                <a:gd name="connsiteX17" fmla="*/ 18555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1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34" y="0"/>
                  </a:cubicBezTo>
                  <a:lnTo>
                    <a:pt x="81170" y="0"/>
                  </a:lnTo>
                  <a:cubicBezTo>
                    <a:pt x="82463" y="0"/>
                    <a:pt x="83104" y="636"/>
                    <a:pt x="83104" y="1916"/>
                  </a:cubicBezTo>
                  <a:lnTo>
                    <a:pt x="83104" y="14006"/>
                  </a:lnTo>
                  <a:cubicBezTo>
                    <a:pt x="83104" y="15291"/>
                    <a:pt x="82463" y="15934"/>
                    <a:pt x="81170" y="15934"/>
                  </a:cubicBezTo>
                  <a:lnTo>
                    <a:pt x="18555" y="15934"/>
                  </a:lnTo>
                  <a:cubicBezTo>
                    <a:pt x="17782" y="15934"/>
                    <a:pt x="17406" y="16321"/>
                    <a:pt x="17406" y="17089"/>
                  </a:cubicBezTo>
                  <a:lnTo>
                    <a:pt x="17406" y="55505"/>
                  </a:lnTo>
                  <a:cubicBezTo>
                    <a:pt x="17406" y="56279"/>
                    <a:pt x="17782" y="56653"/>
                    <a:pt x="18555" y="56653"/>
                  </a:cubicBezTo>
                  <a:lnTo>
                    <a:pt x="71691" y="56653"/>
                  </a:lnTo>
                  <a:cubicBezTo>
                    <a:pt x="72985" y="56653"/>
                    <a:pt x="73638" y="57295"/>
                    <a:pt x="73638" y="58575"/>
                  </a:cubicBezTo>
                  <a:lnTo>
                    <a:pt x="73638" y="70678"/>
                  </a:lnTo>
                  <a:cubicBezTo>
                    <a:pt x="73638" y="71970"/>
                    <a:pt x="72985" y="72607"/>
                    <a:pt x="71691" y="72607"/>
                  </a:cubicBezTo>
                  <a:lnTo>
                    <a:pt x="18555" y="72607"/>
                  </a:lnTo>
                  <a:cubicBezTo>
                    <a:pt x="17782" y="72607"/>
                    <a:pt x="17406" y="72987"/>
                    <a:pt x="17406" y="73755"/>
                  </a:cubicBezTo>
                  <a:lnTo>
                    <a:pt x="17406" y="113509"/>
                  </a:lnTo>
                  <a:cubicBezTo>
                    <a:pt x="17406" y="114276"/>
                    <a:pt x="17782" y="114670"/>
                    <a:pt x="18555" y="114670"/>
                  </a:cubicBezTo>
                  <a:lnTo>
                    <a:pt x="81170" y="114670"/>
                  </a:lnTo>
                  <a:cubicBezTo>
                    <a:pt x="82463" y="114670"/>
                    <a:pt x="83104" y="115306"/>
                    <a:pt x="83104" y="116592"/>
                  </a:cubicBezTo>
                  <a:lnTo>
                    <a:pt x="83104" y="128682"/>
                  </a:lnTo>
                  <a:cubicBezTo>
                    <a:pt x="83104" y="129961"/>
                    <a:pt x="82463" y="130604"/>
                    <a:pt x="81170" y="130604"/>
                  </a:cubicBezTo>
                  <a:lnTo>
                    <a:pt x="1941"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32" name="Freeform: Shape 31">
              <a:extLst>
                <a:ext uri="{FF2B5EF4-FFF2-40B4-BE49-F238E27FC236}">
                  <a16:creationId xmlns:a16="http://schemas.microsoft.com/office/drawing/2014/main" id="{7A4017BB-6C57-4293-978D-8A0878E13824}"/>
                </a:ext>
              </a:extLst>
            </p:cNvPr>
            <p:cNvSpPr/>
            <p:nvPr/>
          </p:nvSpPr>
          <p:spPr>
            <a:xfrm>
              <a:off x="1893808" y="801424"/>
              <a:ext cx="83103" cy="130604"/>
            </a:xfrm>
            <a:custGeom>
              <a:avLst/>
              <a:gdLst>
                <a:gd name="connsiteX0" fmla="*/ 0 w 83103"/>
                <a:gd name="connsiteY0" fmla="*/ 1916 h 130604"/>
                <a:gd name="connsiteX1" fmla="*/ 1947 w 83103"/>
                <a:gd name="connsiteY1" fmla="*/ 0 h 130604"/>
                <a:gd name="connsiteX2" fmla="*/ 15433 w 83103"/>
                <a:gd name="connsiteY2" fmla="*/ 0 h 130604"/>
                <a:gd name="connsiteX3" fmla="*/ 17406 w 83103"/>
                <a:gd name="connsiteY3" fmla="*/ 1916 h 130604"/>
                <a:gd name="connsiteX4" fmla="*/ 17406 w 83103"/>
                <a:gd name="connsiteY4" fmla="*/ 113509 h 130604"/>
                <a:gd name="connsiteX5" fmla="*/ 18555 w 83103"/>
                <a:gd name="connsiteY5" fmla="*/ 114670 h 130604"/>
                <a:gd name="connsiteX6" fmla="*/ 81176 w 83103"/>
                <a:gd name="connsiteY6" fmla="*/ 114670 h 130604"/>
                <a:gd name="connsiteX7" fmla="*/ 83097 w 83103"/>
                <a:gd name="connsiteY7" fmla="*/ 116592 h 130604"/>
                <a:gd name="connsiteX8" fmla="*/ 83104 w 83103"/>
                <a:gd name="connsiteY8" fmla="*/ 128682 h 130604"/>
                <a:gd name="connsiteX9" fmla="*/ 81176 w 83103"/>
                <a:gd name="connsiteY9" fmla="*/ 130604 h 130604"/>
                <a:gd name="connsiteX10" fmla="*/ 1947 w 83103"/>
                <a:gd name="connsiteY10" fmla="*/ 130604 h 130604"/>
                <a:gd name="connsiteX11" fmla="*/ 0 w 83103"/>
                <a:gd name="connsiteY11" fmla="*/ 128682 h 130604"/>
                <a:gd name="connsiteX12" fmla="*/ 0 w 83103"/>
                <a:gd name="connsiteY12"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03" h="130604">
                  <a:moveTo>
                    <a:pt x="0" y="1916"/>
                  </a:moveTo>
                  <a:cubicBezTo>
                    <a:pt x="0" y="636"/>
                    <a:pt x="653" y="0"/>
                    <a:pt x="1947" y="0"/>
                  </a:cubicBezTo>
                  <a:lnTo>
                    <a:pt x="15433" y="0"/>
                  </a:lnTo>
                  <a:cubicBezTo>
                    <a:pt x="16753" y="0"/>
                    <a:pt x="17406" y="636"/>
                    <a:pt x="17406" y="1916"/>
                  </a:cubicBezTo>
                  <a:lnTo>
                    <a:pt x="17406" y="113509"/>
                  </a:lnTo>
                  <a:cubicBezTo>
                    <a:pt x="17406" y="114276"/>
                    <a:pt x="17776" y="114670"/>
                    <a:pt x="18555" y="114670"/>
                  </a:cubicBezTo>
                  <a:lnTo>
                    <a:pt x="81176" y="114670"/>
                  </a:lnTo>
                  <a:cubicBezTo>
                    <a:pt x="82463" y="114670"/>
                    <a:pt x="83097" y="115306"/>
                    <a:pt x="83097" y="116592"/>
                  </a:cubicBezTo>
                  <a:lnTo>
                    <a:pt x="83104" y="128682"/>
                  </a:lnTo>
                  <a:cubicBezTo>
                    <a:pt x="83104" y="129961"/>
                    <a:pt x="82463" y="130604"/>
                    <a:pt x="81176" y="130604"/>
                  </a:cubicBezTo>
                  <a:lnTo>
                    <a:pt x="1947"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33" name="Freeform: Shape 32">
              <a:extLst>
                <a:ext uri="{FF2B5EF4-FFF2-40B4-BE49-F238E27FC236}">
                  <a16:creationId xmlns:a16="http://schemas.microsoft.com/office/drawing/2014/main" id="{404A34B2-4BCF-4705-860C-8EEAB25ED0C8}"/>
                </a:ext>
              </a:extLst>
            </p:cNvPr>
            <p:cNvSpPr/>
            <p:nvPr/>
          </p:nvSpPr>
          <p:spPr>
            <a:xfrm>
              <a:off x="1992617" y="799312"/>
              <a:ext cx="94858" cy="134835"/>
            </a:xfrm>
            <a:custGeom>
              <a:avLst/>
              <a:gdLst>
                <a:gd name="connsiteX0" fmla="*/ 46910 w 94858"/>
                <a:gd name="connsiteY0" fmla="*/ 134835 h 134835"/>
                <a:gd name="connsiteX1" fmla="*/ 33187 w 94858"/>
                <a:gd name="connsiteY1" fmla="*/ 133490 h 134835"/>
                <a:gd name="connsiteX2" fmla="*/ 20434 w 94858"/>
                <a:gd name="connsiteY2" fmla="*/ 129928 h 134835"/>
                <a:gd name="connsiteX3" fmla="*/ 9431 w 94858"/>
                <a:gd name="connsiteY3" fmla="*/ 124753 h 134835"/>
                <a:gd name="connsiteX4" fmla="*/ 724 w 94858"/>
                <a:gd name="connsiteY4" fmla="*/ 118507 h 134835"/>
                <a:gd name="connsiteX5" fmla="*/ 526 w 94858"/>
                <a:gd name="connsiteY5" fmla="*/ 115621 h 134835"/>
                <a:gd name="connsiteX6" fmla="*/ 9028 w 94858"/>
                <a:gd name="connsiteY6" fmla="*/ 105643 h 134835"/>
                <a:gd name="connsiteX7" fmla="*/ 11748 w 94858"/>
                <a:gd name="connsiteY7" fmla="*/ 105446 h 134835"/>
                <a:gd name="connsiteX8" fmla="*/ 27583 w 94858"/>
                <a:gd name="connsiteY8" fmla="*/ 114663 h 134835"/>
                <a:gd name="connsiteX9" fmla="*/ 48461 w 94858"/>
                <a:gd name="connsiteY9" fmla="*/ 118894 h 134835"/>
                <a:gd name="connsiteX10" fmla="*/ 69821 w 94858"/>
                <a:gd name="connsiteY10" fmla="*/ 112748 h 134835"/>
                <a:gd name="connsiteX11" fmla="*/ 77452 w 94858"/>
                <a:gd name="connsiteY11" fmla="*/ 96610 h 134835"/>
                <a:gd name="connsiteX12" fmla="*/ 76099 w 94858"/>
                <a:gd name="connsiteY12" fmla="*/ 88928 h 134835"/>
                <a:gd name="connsiteX13" fmla="*/ 71551 w 94858"/>
                <a:gd name="connsiteY13" fmla="*/ 82781 h 134835"/>
                <a:gd name="connsiteX14" fmla="*/ 63148 w 94858"/>
                <a:gd name="connsiteY14" fmla="*/ 78170 h 134835"/>
                <a:gd name="connsiteX15" fmla="*/ 50019 w 94858"/>
                <a:gd name="connsiteY15" fmla="*/ 75303 h 134835"/>
                <a:gd name="connsiteX16" fmla="*/ 43445 w 94858"/>
                <a:gd name="connsiteY16" fmla="*/ 74332 h 134835"/>
                <a:gd name="connsiteX17" fmla="*/ 4777 w 94858"/>
                <a:gd name="connsiteY17" fmla="*/ 38219 h 134835"/>
                <a:gd name="connsiteX18" fmla="*/ 7774 w 94858"/>
                <a:gd name="connsiteY18" fmla="*/ 22468 h 134835"/>
                <a:gd name="connsiteX19" fmla="*/ 16388 w 94858"/>
                <a:gd name="connsiteY19" fmla="*/ 10365 h 134835"/>
                <a:gd name="connsiteX20" fmla="*/ 29913 w 94858"/>
                <a:gd name="connsiteY20" fmla="*/ 2683 h 134835"/>
                <a:gd name="connsiteX21" fmla="*/ 47682 w 94858"/>
                <a:gd name="connsiteY21" fmla="*/ 0 h 134835"/>
                <a:gd name="connsiteX22" fmla="*/ 69821 w 94858"/>
                <a:gd name="connsiteY22" fmla="*/ 3359 h 134835"/>
                <a:gd name="connsiteX23" fmla="*/ 87703 w 94858"/>
                <a:gd name="connsiteY23" fmla="*/ 12090 h 134835"/>
                <a:gd name="connsiteX24" fmla="*/ 88086 w 94858"/>
                <a:gd name="connsiteY24" fmla="*/ 14780 h 134835"/>
                <a:gd name="connsiteX25" fmla="*/ 81505 w 94858"/>
                <a:gd name="connsiteY25" fmla="*/ 25348 h 134835"/>
                <a:gd name="connsiteX26" fmla="*/ 78805 w 94858"/>
                <a:gd name="connsiteY26" fmla="*/ 25729 h 134835"/>
                <a:gd name="connsiteX27" fmla="*/ 63148 w 94858"/>
                <a:gd name="connsiteY27" fmla="*/ 18329 h 134835"/>
                <a:gd name="connsiteX28" fmla="*/ 47115 w 94858"/>
                <a:gd name="connsiteY28" fmla="*/ 15934 h 134835"/>
                <a:gd name="connsiteX29" fmla="*/ 28560 w 94858"/>
                <a:gd name="connsiteY29" fmla="*/ 21792 h 134835"/>
                <a:gd name="connsiteX30" fmla="*/ 22190 w 94858"/>
                <a:gd name="connsiteY30" fmla="*/ 37064 h 134835"/>
                <a:gd name="connsiteX31" fmla="*/ 28362 w 94858"/>
                <a:gd name="connsiteY31" fmla="*/ 50611 h 134835"/>
                <a:gd name="connsiteX32" fmla="*/ 49814 w 94858"/>
                <a:gd name="connsiteY32" fmla="*/ 58004 h 134835"/>
                <a:gd name="connsiteX33" fmla="*/ 56197 w 94858"/>
                <a:gd name="connsiteY33" fmla="*/ 58962 h 134835"/>
                <a:gd name="connsiteX34" fmla="*/ 85175 w 94858"/>
                <a:gd name="connsiteY34" fmla="*/ 70488 h 134835"/>
                <a:gd name="connsiteX35" fmla="*/ 94858 w 94858"/>
                <a:gd name="connsiteY35" fmla="*/ 95468 h 134835"/>
                <a:gd name="connsiteX36" fmla="*/ 91861 w 94858"/>
                <a:gd name="connsiteY36" fmla="*/ 111311 h 134835"/>
                <a:gd name="connsiteX37" fmla="*/ 82785 w 94858"/>
                <a:gd name="connsiteY37" fmla="*/ 123696 h 134835"/>
                <a:gd name="connsiteX38" fmla="*/ 67703 w 94858"/>
                <a:gd name="connsiteY38" fmla="*/ 131850 h 134835"/>
                <a:gd name="connsiteX39" fmla="*/ 46910 w 94858"/>
                <a:gd name="connsiteY39" fmla="*/ 134835 h 134835"/>
                <a:gd name="connsiteX40" fmla="*/ 46910 w 94858"/>
                <a:gd name="connsiteY40" fmla="*/ 134835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4858" h="134835">
                  <a:moveTo>
                    <a:pt x="46910" y="134835"/>
                  </a:moveTo>
                  <a:cubicBezTo>
                    <a:pt x="42296" y="134835"/>
                    <a:pt x="37709" y="134376"/>
                    <a:pt x="33187" y="133490"/>
                  </a:cubicBezTo>
                  <a:cubicBezTo>
                    <a:pt x="28679" y="132592"/>
                    <a:pt x="24428" y="131398"/>
                    <a:pt x="20434" y="129928"/>
                  </a:cubicBezTo>
                  <a:cubicBezTo>
                    <a:pt x="16441" y="128465"/>
                    <a:pt x="12764" y="126734"/>
                    <a:pt x="9431" y="124753"/>
                  </a:cubicBezTo>
                  <a:cubicBezTo>
                    <a:pt x="6071" y="122771"/>
                    <a:pt x="3167" y="120685"/>
                    <a:pt x="724" y="118507"/>
                  </a:cubicBezTo>
                  <a:cubicBezTo>
                    <a:pt x="-167" y="117615"/>
                    <a:pt x="-239" y="116644"/>
                    <a:pt x="526" y="115621"/>
                  </a:cubicBezTo>
                  <a:lnTo>
                    <a:pt x="9028" y="105643"/>
                  </a:lnTo>
                  <a:cubicBezTo>
                    <a:pt x="9807" y="104738"/>
                    <a:pt x="10725" y="104672"/>
                    <a:pt x="11748" y="105446"/>
                  </a:cubicBezTo>
                  <a:cubicBezTo>
                    <a:pt x="16005" y="108785"/>
                    <a:pt x="21273" y="111849"/>
                    <a:pt x="27583" y="114663"/>
                  </a:cubicBezTo>
                  <a:cubicBezTo>
                    <a:pt x="33913" y="117491"/>
                    <a:pt x="40864" y="118894"/>
                    <a:pt x="48461" y="118894"/>
                  </a:cubicBezTo>
                  <a:cubicBezTo>
                    <a:pt x="57603" y="118894"/>
                    <a:pt x="64739" y="116848"/>
                    <a:pt x="69821" y="112748"/>
                  </a:cubicBezTo>
                  <a:cubicBezTo>
                    <a:pt x="74911" y="108654"/>
                    <a:pt x="77452" y="103268"/>
                    <a:pt x="77452" y="96610"/>
                  </a:cubicBezTo>
                  <a:cubicBezTo>
                    <a:pt x="77452" y="93802"/>
                    <a:pt x="76990" y="91237"/>
                    <a:pt x="76099" y="88928"/>
                  </a:cubicBezTo>
                  <a:cubicBezTo>
                    <a:pt x="75214" y="86625"/>
                    <a:pt x="73676" y="84572"/>
                    <a:pt x="71551" y="82781"/>
                  </a:cubicBezTo>
                  <a:cubicBezTo>
                    <a:pt x="69425" y="80984"/>
                    <a:pt x="66627" y="79449"/>
                    <a:pt x="63148" y="78170"/>
                  </a:cubicBezTo>
                  <a:cubicBezTo>
                    <a:pt x="59669" y="76897"/>
                    <a:pt x="55300" y="75933"/>
                    <a:pt x="50019" y="75303"/>
                  </a:cubicBezTo>
                  <a:lnTo>
                    <a:pt x="43445" y="74332"/>
                  </a:lnTo>
                  <a:cubicBezTo>
                    <a:pt x="17675" y="70875"/>
                    <a:pt x="4777" y="58831"/>
                    <a:pt x="4777" y="38219"/>
                  </a:cubicBezTo>
                  <a:cubicBezTo>
                    <a:pt x="4777" y="32453"/>
                    <a:pt x="5787" y="27198"/>
                    <a:pt x="7774" y="22468"/>
                  </a:cubicBezTo>
                  <a:cubicBezTo>
                    <a:pt x="9781" y="17732"/>
                    <a:pt x="12645" y="13691"/>
                    <a:pt x="16388" y="10365"/>
                  </a:cubicBezTo>
                  <a:cubicBezTo>
                    <a:pt x="20118" y="7039"/>
                    <a:pt x="24626" y="4487"/>
                    <a:pt x="29913" y="2683"/>
                  </a:cubicBezTo>
                  <a:cubicBezTo>
                    <a:pt x="35200" y="899"/>
                    <a:pt x="41121" y="0"/>
                    <a:pt x="47682" y="0"/>
                  </a:cubicBezTo>
                  <a:cubicBezTo>
                    <a:pt x="55418" y="0"/>
                    <a:pt x="62792" y="1122"/>
                    <a:pt x="69821" y="3359"/>
                  </a:cubicBezTo>
                  <a:cubicBezTo>
                    <a:pt x="76838" y="5596"/>
                    <a:pt x="82798" y="8522"/>
                    <a:pt x="87703" y="12090"/>
                  </a:cubicBezTo>
                  <a:cubicBezTo>
                    <a:pt x="88746" y="12851"/>
                    <a:pt x="88865" y="13750"/>
                    <a:pt x="88086" y="14780"/>
                  </a:cubicBezTo>
                  <a:lnTo>
                    <a:pt x="81505" y="25348"/>
                  </a:lnTo>
                  <a:cubicBezTo>
                    <a:pt x="80752" y="26247"/>
                    <a:pt x="79835" y="26371"/>
                    <a:pt x="78805" y="25729"/>
                  </a:cubicBezTo>
                  <a:cubicBezTo>
                    <a:pt x="73399" y="22403"/>
                    <a:pt x="68184" y="19936"/>
                    <a:pt x="63148" y="18329"/>
                  </a:cubicBezTo>
                  <a:cubicBezTo>
                    <a:pt x="58118" y="16735"/>
                    <a:pt x="52778" y="15934"/>
                    <a:pt x="47115" y="15934"/>
                  </a:cubicBezTo>
                  <a:cubicBezTo>
                    <a:pt x="38996" y="15934"/>
                    <a:pt x="32811" y="17889"/>
                    <a:pt x="28560" y="21792"/>
                  </a:cubicBezTo>
                  <a:cubicBezTo>
                    <a:pt x="24309" y="25702"/>
                    <a:pt x="22190" y="30806"/>
                    <a:pt x="22190" y="37064"/>
                  </a:cubicBezTo>
                  <a:cubicBezTo>
                    <a:pt x="22190" y="42568"/>
                    <a:pt x="24250" y="47081"/>
                    <a:pt x="28362" y="50611"/>
                  </a:cubicBezTo>
                  <a:cubicBezTo>
                    <a:pt x="32501" y="54134"/>
                    <a:pt x="39656" y="56587"/>
                    <a:pt x="49814" y="58004"/>
                  </a:cubicBezTo>
                  <a:lnTo>
                    <a:pt x="56197" y="58962"/>
                  </a:lnTo>
                  <a:cubicBezTo>
                    <a:pt x="69075" y="60759"/>
                    <a:pt x="78746" y="64597"/>
                    <a:pt x="85175" y="70488"/>
                  </a:cubicBezTo>
                  <a:cubicBezTo>
                    <a:pt x="91624" y="76385"/>
                    <a:pt x="94858" y="84703"/>
                    <a:pt x="94858" y="95468"/>
                  </a:cubicBezTo>
                  <a:cubicBezTo>
                    <a:pt x="94858" y="101222"/>
                    <a:pt x="93842" y="106509"/>
                    <a:pt x="91861" y="111311"/>
                  </a:cubicBezTo>
                  <a:cubicBezTo>
                    <a:pt x="89855" y="116106"/>
                    <a:pt x="86832" y="120233"/>
                    <a:pt x="82785" y="123696"/>
                  </a:cubicBezTo>
                  <a:cubicBezTo>
                    <a:pt x="78706" y="127153"/>
                    <a:pt x="73676" y="129876"/>
                    <a:pt x="67703" y="131850"/>
                  </a:cubicBezTo>
                  <a:cubicBezTo>
                    <a:pt x="61696" y="133838"/>
                    <a:pt x="54785" y="134835"/>
                    <a:pt x="46910" y="134835"/>
                  </a:cubicBezTo>
                  <a:lnTo>
                    <a:pt x="46910" y="134835"/>
                  </a:lnTo>
                  <a:close/>
                </a:path>
              </a:pathLst>
            </a:custGeom>
            <a:solidFill>
              <a:srgbClr val="FFFFFF"/>
            </a:solidFill>
            <a:ln w="7" cap="flat">
              <a:noFill/>
              <a:prstDash val="solid"/>
              <a:miter/>
            </a:ln>
          </p:spPr>
          <p:txBody>
            <a:bodyPr rtlCol="0" anchor="ctr"/>
            <a:lstStyle/>
            <a:p>
              <a:endParaRPr lang="de-DE"/>
            </a:p>
          </p:txBody>
        </p:sp>
        <p:sp>
          <p:nvSpPr>
            <p:cNvPr id="34" name="Freeform: Shape 33">
              <a:extLst>
                <a:ext uri="{FF2B5EF4-FFF2-40B4-BE49-F238E27FC236}">
                  <a16:creationId xmlns:a16="http://schemas.microsoft.com/office/drawing/2014/main" id="{E19353C4-42DB-4A19-AD4F-D99225BFCAD1}"/>
                </a:ext>
              </a:extLst>
            </p:cNvPr>
            <p:cNvSpPr/>
            <p:nvPr/>
          </p:nvSpPr>
          <p:spPr>
            <a:xfrm>
              <a:off x="2101601" y="801424"/>
              <a:ext cx="95486" cy="130610"/>
            </a:xfrm>
            <a:custGeom>
              <a:avLst/>
              <a:gdLst>
                <a:gd name="connsiteX0" fmla="*/ 40984 w 95486"/>
                <a:gd name="connsiteY0" fmla="*/ 130611 h 130610"/>
                <a:gd name="connsiteX1" fmla="*/ 39037 w 95486"/>
                <a:gd name="connsiteY1" fmla="*/ 128682 h 130610"/>
                <a:gd name="connsiteX2" fmla="*/ 39037 w 95486"/>
                <a:gd name="connsiteY2" fmla="*/ 17095 h 130610"/>
                <a:gd name="connsiteX3" fmla="*/ 37882 w 95486"/>
                <a:gd name="connsiteY3" fmla="*/ 15934 h 130610"/>
                <a:gd name="connsiteX4" fmla="*/ 1934 w 95486"/>
                <a:gd name="connsiteY4" fmla="*/ 15934 h 130610"/>
                <a:gd name="connsiteX5" fmla="*/ 0 w 95486"/>
                <a:gd name="connsiteY5" fmla="*/ 14012 h 130610"/>
                <a:gd name="connsiteX6" fmla="*/ 0 w 95486"/>
                <a:gd name="connsiteY6" fmla="*/ 1916 h 130610"/>
                <a:gd name="connsiteX7" fmla="*/ 1934 w 95486"/>
                <a:gd name="connsiteY7" fmla="*/ 0 h 130610"/>
                <a:gd name="connsiteX8" fmla="*/ 93546 w 95486"/>
                <a:gd name="connsiteY8" fmla="*/ 0 h 130610"/>
                <a:gd name="connsiteX9" fmla="*/ 95487 w 95486"/>
                <a:gd name="connsiteY9" fmla="*/ 1916 h 130610"/>
                <a:gd name="connsiteX10" fmla="*/ 95487 w 95486"/>
                <a:gd name="connsiteY10" fmla="*/ 14012 h 130610"/>
                <a:gd name="connsiteX11" fmla="*/ 93540 w 95486"/>
                <a:gd name="connsiteY11" fmla="*/ 15934 h 130610"/>
                <a:gd name="connsiteX12" fmla="*/ 57598 w 95486"/>
                <a:gd name="connsiteY12" fmla="*/ 15934 h 130610"/>
                <a:gd name="connsiteX13" fmla="*/ 56437 w 95486"/>
                <a:gd name="connsiteY13" fmla="*/ 17095 h 130610"/>
                <a:gd name="connsiteX14" fmla="*/ 56437 w 95486"/>
                <a:gd name="connsiteY14" fmla="*/ 128682 h 130610"/>
                <a:gd name="connsiteX15" fmla="*/ 54476 w 95486"/>
                <a:gd name="connsiteY15" fmla="*/ 130611 h 130610"/>
                <a:gd name="connsiteX16" fmla="*/ 40984 w 95486"/>
                <a:gd name="connsiteY16" fmla="*/ 130611 h 13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486" h="130610">
                  <a:moveTo>
                    <a:pt x="40984" y="130611"/>
                  </a:moveTo>
                  <a:cubicBezTo>
                    <a:pt x="39690" y="130611"/>
                    <a:pt x="39037" y="129961"/>
                    <a:pt x="39037" y="128682"/>
                  </a:cubicBezTo>
                  <a:lnTo>
                    <a:pt x="39037" y="17095"/>
                  </a:lnTo>
                  <a:cubicBezTo>
                    <a:pt x="39037" y="16328"/>
                    <a:pt x="38661" y="15934"/>
                    <a:pt x="37882" y="15934"/>
                  </a:cubicBezTo>
                  <a:lnTo>
                    <a:pt x="1934" y="15934"/>
                  </a:lnTo>
                  <a:cubicBezTo>
                    <a:pt x="640" y="15934"/>
                    <a:pt x="0" y="15291"/>
                    <a:pt x="0" y="14012"/>
                  </a:cubicBezTo>
                  <a:lnTo>
                    <a:pt x="0" y="1916"/>
                  </a:lnTo>
                  <a:cubicBezTo>
                    <a:pt x="0" y="636"/>
                    <a:pt x="640" y="0"/>
                    <a:pt x="1934" y="0"/>
                  </a:cubicBezTo>
                  <a:lnTo>
                    <a:pt x="93546" y="0"/>
                  </a:lnTo>
                  <a:cubicBezTo>
                    <a:pt x="94833" y="0"/>
                    <a:pt x="95487" y="636"/>
                    <a:pt x="95487" y="1916"/>
                  </a:cubicBezTo>
                  <a:lnTo>
                    <a:pt x="95487" y="14012"/>
                  </a:lnTo>
                  <a:cubicBezTo>
                    <a:pt x="95487" y="15291"/>
                    <a:pt x="94833" y="15934"/>
                    <a:pt x="93540" y="15934"/>
                  </a:cubicBezTo>
                  <a:lnTo>
                    <a:pt x="57598" y="15934"/>
                  </a:lnTo>
                  <a:cubicBezTo>
                    <a:pt x="56819" y="15934"/>
                    <a:pt x="56437" y="16328"/>
                    <a:pt x="56437" y="17095"/>
                  </a:cubicBezTo>
                  <a:lnTo>
                    <a:pt x="56437" y="128682"/>
                  </a:lnTo>
                  <a:cubicBezTo>
                    <a:pt x="56437" y="129961"/>
                    <a:pt x="55783" y="130611"/>
                    <a:pt x="54476" y="130611"/>
                  </a:cubicBezTo>
                  <a:lnTo>
                    <a:pt x="40984" y="130611"/>
                  </a:lnTo>
                  <a:close/>
                </a:path>
              </a:pathLst>
            </a:custGeom>
            <a:solidFill>
              <a:srgbClr val="FFFFFF"/>
            </a:solidFill>
            <a:ln w="7" cap="flat">
              <a:noFill/>
              <a:prstDash val="solid"/>
              <a:miter/>
            </a:ln>
          </p:spPr>
          <p:txBody>
            <a:bodyPr rtlCol="0" anchor="ctr"/>
            <a:lstStyle/>
            <a:p>
              <a:endParaRPr lang="de-DE"/>
            </a:p>
          </p:txBody>
        </p:sp>
        <p:sp>
          <p:nvSpPr>
            <p:cNvPr id="35" name="Freeform: Shape 34">
              <a:extLst>
                <a:ext uri="{FF2B5EF4-FFF2-40B4-BE49-F238E27FC236}">
                  <a16:creationId xmlns:a16="http://schemas.microsoft.com/office/drawing/2014/main" id="{A5E1213F-84F9-4F4C-A340-8FAE25118AC6}"/>
                </a:ext>
              </a:extLst>
            </p:cNvPr>
            <p:cNvSpPr/>
            <p:nvPr/>
          </p:nvSpPr>
          <p:spPr>
            <a:xfrm>
              <a:off x="2219306" y="801424"/>
              <a:ext cx="83103" cy="130604"/>
            </a:xfrm>
            <a:custGeom>
              <a:avLst/>
              <a:gdLst>
                <a:gd name="connsiteX0" fmla="*/ 0 w 83103"/>
                <a:gd name="connsiteY0" fmla="*/ 1916 h 130604"/>
                <a:gd name="connsiteX1" fmla="*/ 1941 w 83103"/>
                <a:gd name="connsiteY1" fmla="*/ 0 h 130604"/>
                <a:gd name="connsiteX2" fmla="*/ 81170 w 83103"/>
                <a:gd name="connsiteY2" fmla="*/ 0 h 130604"/>
                <a:gd name="connsiteX3" fmla="*/ 83104 w 83103"/>
                <a:gd name="connsiteY3" fmla="*/ 1916 h 130604"/>
                <a:gd name="connsiteX4" fmla="*/ 83104 w 83103"/>
                <a:gd name="connsiteY4" fmla="*/ 14006 h 130604"/>
                <a:gd name="connsiteX5" fmla="*/ 81170 w 83103"/>
                <a:gd name="connsiteY5" fmla="*/ 15934 h 130604"/>
                <a:gd name="connsiteX6" fmla="*/ 18548 w 83103"/>
                <a:gd name="connsiteY6" fmla="*/ 15934 h 130604"/>
                <a:gd name="connsiteX7" fmla="*/ 17406 w 83103"/>
                <a:gd name="connsiteY7" fmla="*/ 17089 h 130604"/>
                <a:gd name="connsiteX8" fmla="*/ 17406 w 83103"/>
                <a:gd name="connsiteY8" fmla="*/ 55505 h 130604"/>
                <a:gd name="connsiteX9" fmla="*/ 18548 w 83103"/>
                <a:gd name="connsiteY9" fmla="*/ 56653 h 130604"/>
                <a:gd name="connsiteX10" fmla="*/ 71698 w 83103"/>
                <a:gd name="connsiteY10" fmla="*/ 56653 h 130604"/>
                <a:gd name="connsiteX11" fmla="*/ 73638 w 83103"/>
                <a:gd name="connsiteY11" fmla="*/ 58575 h 130604"/>
                <a:gd name="connsiteX12" fmla="*/ 73638 w 83103"/>
                <a:gd name="connsiteY12" fmla="*/ 70678 h 130604"/>
                <a:gd name="connsiteX13" fmla="*/ 71698 w 83103"/>
                <a:gd name="connsiteY13" fmla="*/ 72607 h 130604"/>
                <a:gd name="connsiteX14" fmla="*/ 18548 w 83103"/>
                <a:gd name="connsiteY14" fmla="*/ 72607 h 130604"/>
                <a:gd name="connsiteX15" fmla="*/ 17406 w 83103"/>
                <a:gd name="connsiteY15" fmla="*/ 73755 h 130604"/>
                <a:gd name="connsiteX16" fmla="*/ 17406 w 83103"/>
                <a:gd name="connsiteY16" fmla="*/ 113509 h 130604"/>
                <a:gd name="connsiteX17" fmla="*/ 18548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7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41" y="0"/>
                  </a:cubicBezTo>
                  <a:lnTo>
                    <a:pt x="81170" y="0"/>
                  </a:lnTo>
                  <a:cubicBezTo>
                    <a:pt x="82463" y="0"/>
                    <a:pt x="83104" y="636"/>
                    <a:pt x="83104" y="1916"/>
                  </a:cubicBezTo>
                  <a:lnTo>
                    <a:pt x="83104" y="14006"/>
                  </a:lnTo>
                  <a:cubicBezTo>
                    <a:pt x="83104" y="15291"/>
                    <a:pt x="82463" y="15934"/>
                    <a:pt x="81170" y="15934"/>
                  </a:cubicBezTo>
                  <a:lnTo>
                    <a:pt x="18548" y="15934"/>
                  </a:lnTo>
                  <a:cubicBezTo>
                    <a:pt x="17776" y="15934"/>
                    <a:pt x="17406" y="16321"/>
                    <a:pt x="17406" y="17089"/>
                  </a:cubicBezTo>
                  <a:lnTo>
                    <a:pt x="17406" y="55505"/>
                  </a:lnTo>
                  <a:cubicBezTo>
                    <a:pt x="17406" y="56279"/>
                    <a:pt x="17776" y="56653"/>
                    <a:pt x="18548" y="56653"/>
                  </a:cubicBezTo>
                  <a:lnTo>
                    <a:pt x="71698" y="56653"/>
                  </a:lnTo>
                  <a:cubicBezTo>
                    <a:pt x="72991" y="56653"/>
                    <a:pt x="73638" y="57295"/>
                    <a:pt x="73638" y="58575"/>
                  </a:cubicBezTo>
                  <a:lnTo>
                    <a:pt x="73638" y="70678"/>
                  </a:lnTo>
                  <a:cubicBezTo>
                    <a:pt x="73638" y="71970"/>
                    <a:pt x="72991" y="72607"/>
                    <a:pt x="71698" y="72607"/>
                  </a:cubicBezTo>
                  <a:lnTo>
                    <a:pt x="18548" y="72607"/>
                  </a:lnTo>
                  <a:cubicBezTo>
                    <a:pt x="17776" y="72607"/>
                    <a:pt x="17406" y="72987"/>
                    <a:pt x="17406" y="73755"/>
                  </a:cubicBezTo>
                  <a:lnTo>
                    <a:pt x="17406" y="113509"/>
                  </a:lnTo>
                  <a:cubicBezTo>
                    <a:pt x="17406" y="114276"/>
                    <a:pt x="17776" y="114670"/>
                    <a:pt x="18548" y="114670"/>
                  </a:cubicBezTo>
                  <a:lnTo>
                    <a:pt x="81170" y="114670"/>
                  </a:lnTo>
                  <a:cubicBezTo>
                    <a:pt x="82463" y="114670"/>
                    <a:pt x="83104" y="115306"/>
                    <a:pt x="83104" y="116592"/>
                  </a:cubicBezTo>
                  <a:lnTo>
                    <a:pt x="83104" y="128682"/>
                  </a:lnTo>
                  <a:cubicBezTo>
                    <a:pt x="83104" y="129961"/>
                    <a:pt x="82463" y="130604"/>
                    <a:pt x="81170" y="130604"/>
                  </a:cubicBezTo>
                  <a:lnTo>
                    <a:pt x="1947"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36" name="Freeform: Shape 35">
              <a:extLst>
                <a:ext uri="{FF2B5EF4-FFF2-40B4-BE49-F238E27FC236}">
                  <a16:creationId xmlns:a16="http://schemas.microsoft.com/office/drawing/2014/main" id="{91BCCF61-F51D-4C60-8405-847698412B75}"/>
                </a:ext>
              </a:extLst>
            </p:cNvPr>
            <p:cNvSpPr/>
            <p:nvPr/>
          </p:nvSpPr>
          <p:spPr>
            <a:xfrm>
              <a:off x="2330047" y="801424"/>
              <a:ext cx="17393" cy="130604"/>
            </a:xfrm>
            <a:custGeom>
              <a:avLst/>
              <a:gdLst>
                <a:gd name="connsiteX0" fmla="*/ 0 w 17393"/>
                <a:gd name="connsiteY0" fmla="*/ 1916 h 130604"/>
                <a:gd name="connsiteX1" fmla="*/ 1941 w 17393"/>
                <a:gd name="connsiteY1" fmla="*/ 0 h 130604"/>
                <a:gd name="connsiteX2" fmla="*/ 15426 w 17393"/>
                <a:gd name="connsiteY2" fmla="*/ 0 h 130604"/>
                <a:gd name="connsiteX3" fmla="*/ 17393 w 17393"/>
                <a:gd name="connsiteY3" fmla="*/ 1916 h 130604"/>
                <a:gd name="connsiteX4" fmla="*/ 17393 w 17393"/>
                <a:gd name="connsiteY4" fmla="*/ 128682 h 130604"/>
                <a:gd name="connsiteX5" fmla="*/ 15426 w 17393"/>
                <a:gd name="connsiteY5" fmla="*/ 130604 h 130604"/>
                <a:gd name="connsiteX6" fmla="*/ 1947 w 17393"/>
                <a:gd name="connsiteY6" fmla="*/ 130604 h 130604"/>
                <a:gd name="connsiteX7" fmla="*/ 0 w 17393"/>
                <a:gd name="connsiteY7" fmla="*/ 128682 h 130604"/>
                <a:gd name="connsiteX8" fmla="*/ 0 w 17393"/>
                <a:gd name="connsiteY8"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93" h="130604">
                  <a:moveTo>
                    <a:pt x="0" y="1916"/>
                  </a:moveTo>
                  <a:cubicBezTo>
                    <a:pt x="0" y="636"/>
                    <a:pt x="653" y="0"/>
                    <a:pt x="1941" y="0"/>
                  </a:cubicBezTo>
                  <a:lnTo>
                    <a:pt x="15426" y="0"/>
                  </a:lnTo>
                  <a:cubicBezTo>
                    <a:pt x="16746" y="0"/>
                    <a:pt x="17393" y="636"/>
                    <a:pt x="17393" y="1916"/>
                  </a:cubicBezTo>
                  <a:lnTo>
                    <a:pt x="17393" y="128682"/>
                  </a:lnTo>
                  <a:cubicBezTo>
                    <a:pt x="17393" y="129961"/>
                    <a:pt x="16740" y="130604"/>
                    <a:pt x="15426" y="130604"/>
                  </a:cubicBezTo>
                  <a:lnTo>
                    <a:pt x="1947"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37" name="Freeform: Shape 36">
              <a:extLst>
                <a:ext uri="{FF2B5EF4-FFF2-40B4-BE49-F238E27FC236}">
                  <a16:creationId xmlns:a16="http://schemas.microsoft.com/office/drawing/2014/main" id="{A899D3ED-F036-48BA-9DA1-7D8B56F0947A}"/>
                </a:ext>
              </a:extLst>
            </p:cNvPr>
            <p:cNvSpPr/>
            <p:nvPr/>
          </p:nvSpPr>
          <p:spPr>
            <a:xfrm>
              <a:off x="2381658" y="801424"/>
              <a:ext cx="93929" cy="130604"/>
            </a:xfrm>
            <a:custGeom>
              <a:avLst/>
              <a:gdLst>
                <a:gd name="connsiteX0" fmla="*/ 0 w 93929"/>
                <a:gd name="connsiteY0" fmla="*/ 1916 h 130604"/>
                <a:gd name="connsiteX1" fmla="*/ 1934 w 93929"/>
                <a:gd name="connsiteY1" fmla="*/ 0 h 130604"/>
                <a:gd name="connsiteX2" fmla="*/ 14310 w 93929"/>
                <a:gd name="connsiteY2" fmla="*/ 0 h 130604"/>
                <a:gd name="connsiteX3" fmla="*/ 17584 w 93929"/>
                <a:gd name="connsiteY3" fmla="*/ 1916 h 130604"/>
                <a:gd name="connsiteX4" fmla="*/ 77117 w 93929"/>
                <a:gd name="connsiteY4" fmla="*/ 99877 h 130604"/>
                <a:gd name="connsiteX5" fmla="*/ 77896 w 93929"/>
                <a:gd name="connsiteY5" fmla="*/ 99877 h 130604"/>
                <a:gd name="connsiteX6" fmla="*/ 77896 w 93929"/>
                <a:gd name="connsiteY6" fmla="*/ 1916 h 130604"/>
                <a:gd name="connsiteX7" fmla="*/ 79823 w 93929"/>
                <a:gd name="connsiteY7" fmla="*/ 0 h 130604"/>
                <a:gd name="connsiteX8" fmla="*/ 92008 w 93929"/>
                <a:gd name="connsiteY8" fmla="*/ 0 h 130604"/>
                <a:gd name="connsiteX9" fmla="*/ 93929 w 93929"/>
                <a:gd name="connsiteY9" fmla="*/ 1916 h 130604"/>
                <a:gd name="connsiteX10" fmla="*/ 93929 w 93929"/>
                <a:gd name="connsiteY10" fmla="*/ 128682 h 130604"/>
                <a:gd name="connsiteX11" fmla="*/ 92008 w 93929"/>
                <a:gd name="connsiteY11" fmla="*/ 130604 h 130604"/>
                <a:gd name="connsiteX12" fmla="*/ 79625 w 93929"/>
                <a:gd name="connsiteY12" fmla="*/ 130604 h 130604"/>
                <a:gd name="connsiteX13" fmla="*/ 76345 w 93929"/>
                <a:gd name="connsiteY13" fmla="*/ 128682 h 130604"/>
                <a:gd name="connsiteX14" fmla="*/ 16634 w 93929"/>
                <a:gd name="connsiteY14" fmla="*/ 31108 h 130604"/>
                <a:gd name="connsiteX15" fmla="*/ 16053 w 93929"/>
                <a:gd name="connsiteY15" fmla="*/ 31108 h 130604"/>
                <a:gd name="connsiteX16" fmla="*/ 16053 w 93929"/>
                <a:gd name="connsiteY16" fmla="*/ 128682 h 130604"/>
                <a:gd name="connsiteX17" fmla="*/ 14106 w 93929"/>
                <a:gd name="connsiteY17" fmla="*/ 130604 h 130604"/>
                <a:gd name="connsiteX18" fmla="*/ 1934 w 93929"/>
                <a:gd name="connsiteY18" fmla="*/ 130604 h 130604"/>
                <a:gd name="connsiteX19" fmla="*/ 0 w 93929"/>
                <a:gd name="connsiteY19" fmla="*/ 128682 h 130604"/>
                <a:gd name="connsiteX20" fmla="*/ 0 w 93929"/>
                <a:gd name="connsiteY20"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29" h="130604">
                  <a:moveTo>
                    <a:pt x="0" y="1916"/>
                  </a:moveTo>
                  <a:cubicBezTo>
                    <a:pt x="0" y="636"/>
                    <a:pt x="653" y="0"/>
                    <a:pt x="1934" y="0"/>
                  </a:cubicBezTo>
                  <a:lnTo>
                    <a:pt x="14310" y="0"/>
                  </a:lnTo>
                  <a:cubicBezTo>
                    <a:pt x="15855" y="0"/>
                    <a:pt x="16944" y="636"/>
                    <a:pt x="17584" y="1916"/>
                  </a:cubicBezTo>
                  <a:lnTo>
                    <a:pt x="77117" y="99877"/>
                  </a:lnTo>
                  <a:lnTo>
                    <a:pt x="77896" y="99877"/>
                  </a:lnTo>
                  <a:lnTo>
                    <a:pt x="77896" y="1916"/>
                  </a:lnTo>
                  <a:cubicBezTo>
                    <a:pt x="77896" y="636"/>
                    <a:pt x="78536" y="0"/>
                    <a:pt x="79823" y="0"/>
                  </a:cubicBezTo>
                  <a:lnTo>
                    <a:pt x="92008" y="0"/>
                  </a:lnTo>
                  <a:cubicBezTo>
                    <a:pt x="93276" y="0"/>
                    <a:pt x="93929" y="636"/>
                    <a:pt x="93929" y="1916"/>
                  </a:cubicBezTo>
                  <a:lnTo>
                    <a:pt x="93929" y="128682"/>
                  </a:lnTo>
                  <a:cubicBezTo>
                    <a:pt x="93929" y="129961"/>
                    <a:pt x="93276" y="130604"/>
                    <a:pt x="92008" y="130604"/>
                  </a:cubicBezTo>
                  <a:lnTo>
                    <a:pt x="79625" y="130604"/>
                  </a:lnTo>
                  <a:cubicBezTo>
                    <a:pt x="78074" y="130604"/>
                    <a:pt x="76985" y="129961"/>
                    <a:pt x="76345" y="128682"/>
                  </a:cubicBezTo>
                  <a:lnTo>
                    <a:pt x="16634" y="31108"/>
                  </a:lnTo>
                  <a:lnTo>
                    <a:pt x="16053" y="31108"/>
                  </a:lnTo>
                  <a:lnTo>
                    <a:pt x="16053" y="128682"/>
                  </a:lnTo>
                  <a:cubicBezTo>
                    <a:pt x="16053" y="129961"/>
                    <a:pt x="15400" y="130604"/>
                    <a:pt x="14106" y="130604"/>
                  </a:cubicBezTo>
                  <a:lnTo>
                    <a:pt x="1934"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grpSp>
      <p:sp>
        <p:nvSpPr>
          <p:cNvPr id="16" name="Freeform: Shape 15">
            <a:extLst>
              <a:ext uri="{FF2B5EF4-FFF2-40B4-BE49-F238E27FC236}">
                <a16:creationId xmlns:a16="http://schemas.microsoft.com/office/drawing/2014/main" id="{0D660B40-9E4B-40F1-9924-5BAD53B8C70A}"/>
              </a:ext>
            </a:extLst>
          </p:cNvPr>
          <p:cNvSpPr/>
          <p:nvPr userDrawn="1"/>
        </p:nvSpPr>
        <p:spPr>
          <a:xfrm>
            <a:off x="7400116" y="3852953"/>
            <a:ext cx="1376696" cy="3005048"/>
          </a:xfrm>
          <a:custGeom>
            <a:avLst/>
            <a:gdLst>
              <a:gd name="connsiteX0" fmla="*/ 2218927 w 2736183"/>
              <a:gd name="connsiteY0" fmla="*/ 0 h 6010095"/>
              <a:gd name="connsiteX1" fmla="*/ 2736183 w 2736183"/>
              <a:gd name="connsiteY1" fmla="*/ 865226 h 6010095"/>
              <a:gd name="connsiteX2" fmla="*/ 1006616 w 2736183"/>
              <a:gd name="connsiteY2" fmla="*/ 4482306 h 6010095"/>
              <a:gd name="connsiteX3" fmla="*/ 1203127 w 2736183"/>
              <a:gd name="connsiteY3" fmla="*/ 5818899 h 6010095"/>
              <a:gd name="connsiteX4" fmla="*/ 1266885 w 2736183"/>
              <a:gd name="connsiteY4" fmla="*/ 6010095 h 6010095"/>
              <a:gd name="connsiteX5" fmla="*/ 213468 w 2736183"/>
              <a:gd name="connsiteY5" fmla="*/ 6010095 h 6010095"/>
              <a:gd name="connsiteX6" fmla="*/ 164332 w 2736183"/>
              <a:gd name="connsiteY6" fmla="*/ 5834458 h 6010095"/>
              <a:gd name="connsiteX7" fmla="*/ 0 w 2736183"/>
              <a:gd name="connsiteY7" fmla="*/ 4482306 h 6010095"/>
              <a:gd name="connsiteX8" fmla="*/ 2218927 w 2736183"/>
              <a:gd name="connsiteY8" fmla="*/ 0 h 601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36183" h="6010095">
                <a:moveTo>
                  <a:pt x="2218927" y="0"/>
                </a:moveTo>
                <a:lnTo>
                  <a:pt x="2736183" y="865226"/>
                </a:lnTo>
                <a:cubicBezTo>
                  <a:pt x="1681775" y="1721720"/>
                  <a:pt x="1006616" y="3024475"/>
                  <a:pt x="1006616" y="4482306"/>
                </a:cubicBezTo>
                <a:cubicBezTo>
                  <a:pt x="1006616" y="4946874"/>
                  <a:pt x="1075347" y="5395508"/>
                  <a:pt x="1203127" y="5818899"/>
                </a:cubicBezTo>
                <a:lnTo>
                  <a:pt x="1266885" y="6010095"/>
                </a:lnTo>
                <a:lnTo>
                  <a:pt x="213468" y="6010095"/>
                </a:lnTo>
                <a:lnTo>
                  <a:pt x="164332" y="5834458"/>
                </a:lnTo>
                <a:cubicBezTo>
                  <a:pt x="56994" y="5401245"/>
                  <a:pt x="0" y="4948417"/>
                  <a:pt x="0" y="4482306"/>
                </a:cubicBezTo>
                <a:cubicBezTo>
                  <a:pt x="0" y="2658621"/>
                  <a:pt x="872233" y="1037868"/>
                  <a:pt x="221892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CH" sz="900"/>
          </a:p>
        </p:txBody>
      </p:sp>
      <p:sp>
        <p:nvSpPr>
          <p:cNvPr id="21" name="Freeform: Shape 20">
            <a:extLst>
              <a:ext uri="{FF2B5EF4-FFF2-40B4-BE49-F238E27FC236}">
                <a16:creationId xmlns:a16="http://schemas.microsoft.com/office/drawing/2014/main" id="{C87E95AC-B5C1-46E5-AAB7-7D125ACF81C5}"/>
              </a:ext>
            </a:extLst>
          </p:cNvPr>
          <p:cNvSpPr/>
          <p:nvPr userDrawn="1"/>
        </p:nvSpPr>
        <p:spPr>
          <a:xfrm>
            <a:off x="9119029" y="3259165"/>
            <a:ext cx="3072971" cy="1500035"/>
          </a:xfrm>
          <a:custGeom>
            <a:avLst/>
            <a:gdLst>
              <a:gd name="connsiteX0" fmla="*/ 2248456 w 6107530"/>
              <a:gd name="connsiteY0" fmla="*/ 0 h 3000070"/>
              <a:gd name="connsiteX1" fmla="*/ 2282362 w 6107530"/>
              <a:gd name="connsiteY1" fmla="*/ 0 h 3000070"/>
              <a:gd name="connsiteX2" fmla="*/ 6046684 w 6107530"/>
              <a:gd name="connsiteY2" fmla="*/ 1430607 h 3000070"/>
              <a:gd name="connsiteX3" fmla="*/ 6107530 w 6107530"/>
              <a:gd name="connsiteY3" fmla="*/ 1486952 h 3000070"/>
              <a:gd name="connsiteX4" fmla="*/ 6107530 w 6107530"/>
              <a:gd name="connsiteY4" fmla="*/ 3000070 h 3000070"/>
              <a:gd name="connsiteX5" fmla="*/ 5895830 w 6107530"/>
              <a:gd name="connsiteY5" fmla="*/ 2717992 h 3000070"/>
              <a:gd name="connsiteX6" fmla="*/ 2274980 w 6107530"/>
              <a:gd name="connsiteY6" fmla="*/ 1002962 h 3000070"/>
              <a:gd name="connsiteX7" fmla="*/ 520012 w 6107530"/>
              <a:gd name="connsiteY7" fmla="*/ 1345890 h 3000070"/>
              <a:gd name="connsiteX8" fmla="*/ 0 w 6107530"/>
              <a:gd name="connsiteY8" fmla="*/ 475933 h 3000070"/>
              <a:gd name="connsiteX9" fmla="*/ 2248456 w 6107530"/>
              <a:gd name="connsiteY9" fmla="*/ 0 h 3000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7530" h="3000070">
                <a:moveTo>
                  <a:pt x="2248456" y="0"/>
                </a:moveTo>
                <a:lnTo>
                  <a:pt x="2282362" y="0"/>
                </a:lnTo>
                <a:cubicBezTo>
                  <a:pt x="3726282" y="1872"/>
                  <a:pt x="5044546" y="542590"/>
                  <a:pt x="6046684" y="1430607"/>
                </a:cubicBezTo>
                <a:lnTo>
                  <a:pt x="6107530" y="1486952"/>
                </a:lnTo>
                <a:lnTo>
                  <a:pt x="6107530" y="3000070"/>
                </a:lnTo>
                <a:lnTo>
                  <a:pt x="5895830" y="2717992"/>
                </a:lnTo>
                <a:cubicBezTo>
                  <a:pt x="5037712" y="1671954"/>
                  <a:pt x="3734306" y="1002962"/>
                  <a:pt x="2274980" y="1002962"/>
                </a:cubicBezTo>
                <a:cubicBezTo>
                  <a:pt x="1654126" y="1002962"/>
                  <a:pt x="1062792" y="1126493"/>
                  <a:pt x="520012" y="1345890"/>
                </a:cubicBezTo>
                <a:lnTo>
                  <a:pt x="0" y="475933"/>
                </a:lnTo>
                <a:cubicBezTo>
                  <a:pt x="690058" y="174894"/>
                  <a:pt x="1449174" y="3744"/>
                  <a:pt x="224845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CH" sz="900"/>
          </a:p>
        </p:txBody>
      </p:sp>
      <p:sp>
        <p:nvSpPr>
          <p:cNvPr id="24" name="Picture Placeholder 23">
            <a:extLst>
              <a:ext uri="{FF2B5EF4-FFF2-40B4-BE49-F238E27FC236}">
                <a16:creationId xmlns:a16="http://schemas.microsoft.com/office/drawing/2014/main" id="{1B40E804-D8B4-4D48-B699-8E9260DC41A5}"/>
              </a:ext>
            </a:extLst>
          </p:cNvPr>
          <p:cNvSpPr>
            <a:spLocks noGrp="1"/>
          </p:cNvSpPr>
          <p:nvPr>
            <p:ph type="pic" sz="quarter" idx="10"/>
          </p:nvPr>
        </p:nvSpPr>
        <p:spPr>
          <a:xfrm>
            <a:off x="7900946" y="3751356"/>
            <a:ext cx="4291054" cy="3106644"/>
          </a:xfrm>
          <a:custGeom>
            <a:avLst/>
            <a:gdLst>
              <a:gd name="connsiteX0" fmla="*/ 4679998 w 8528470"/>
              <a:gd name="connsiteY0" fmla="*/ 0 h 6213288"/>
              <a:gd name="connsiteX1" fmla="*/ 8430248 w 8528470"/>
              <a:gd name="connsiteY1" fmla="*/ 1879881 h 6213288"/>
              <a:gd name="connsiteX2" fmla="*/ 8528470 w 8528470"/>
              <a:gd name="connsiteY2" fmla="*/ 2018005 h 6213288"/>
              <a:gd name="connsiteX3" fmla="*/ 8528470 w 8528470"/>
              <a:gd name="connsiteY3" fmla="*/ 6213288 h 6213288"/>
              <a:gd name="connsiteX4" fmla="*/ 258314 w 8528470"/>
              <a:gd name="connsiteY4" fmla="*/ 6213288 h 6213288"/>
              <a:gd name="connsiteX5" fmla="*/ 210402 w 8528470"/>
              <a:gd name="connsiteY5" fmla="*/ 6071689 h 6213288"/>
              <a:gd name="connsiteX6" fmla="*/ 0 w 8528470"/>
              <a:gd name="connsiteY6" fmla="*/ 4680000 h 6213288"/>
              <a:gd name="connsiteX7" fmla="*/ 4679998 w 8528470"/>
              <a:gd name="connsiteY7" fmla="*/ 0 h 6213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28470" h="6213288">
                <a:moveTo>
                  <a:pt x="4679998" y="0"/>
                </a:moveTo>
                <a:cubicBezTo>
                  <a:pt x="6214660" y="0"/>
                  <a:pt x="7576794" y="738678"/>
                  <a:pt x="8430248" y="1879881"/>
                </a:cubicBezTo>
                <a:lnTo>
                  <a:pt x="8528470" y="2018005"/>
                </a:lnTo>
                <a:lnTo>
                  <a:pt x="8528470" y="6213288"/>
                </a:lnTo>
                <a:lnTo>
                  <a:pt x="258314" y="6213288"/>
                </a:lnTo>
                <a:lnTo>
                  <a:pt x="210402" y="6071689"/>
                </a:lnTo>
                <a:cubicBezTo>
                  <a:pt x="73662" y="5632055"/>
                  <a:pt x="0" y="5164630"/>
                  <a:pt x="0" y="4680000"/>
                </a:cubicBezTo>
                <a:cubicBezTo>
                  <a:pt x="0" y="2095307"/>
                  <a:pt x="2095306" y="0"/>
                  <a:pt x="4679998" y="0"/>
                </a:cubicBezTo>
                <a:close/>
              </a:path>
            </a:pathLst>
          </a:custGeom>
        </p:spPr>
        <p:txBody>
          <a:bodyPr wrap="square" anchor="ctr">
            <a:noAutofit/>
          </a:bodyPr>
          <a:lstStyle>
            <a:lvl1pPr algn="ctr">
              <a:defRPr>
                <a:solidFill>
                  <a:schemeClr val="bg1"/>
                </a:solidFill>
              </a:defRPr>
            </a:lvl1pPr>
          </a:lstStyle>
          <a:p>
            <a:r>
              <a:rPr lang="de-DE"/>
              <a:t>Bild durch Klicken auf Symbol hinzufügen</a:t>
            </a:r>
            <a:endParaRPr lang="de-CH"/>
          </a:p>
        </p:txBody>
      </p:sp>
      <p:grpSp>
        <p:nvGrpSpPr>
          <p:cNvPr id="38" name="Graphic 17">
            <a:extLst>
              <a:ext uri="{FF2B5EF4-FFF2-40B4-BE49-F238E27FC236}">
                <a16:creationId xmlns:a16="http://schemas.microsoft.com/office/drawing/2014/main" id="{4D4F1E9E-13D0-44C9-B56F-A82439741599}"/>
              </a:ext>
            </a:extLst>
          </p:cNvPr>
          <p:cNvGrpSpPr/>
          <p:nvPr/>
        </p:nvGrpSpPr>
        <p:grpSpPr>
          <a:xfrm>
            <a:off x="9426813" y="561452"/>
            <a:ext cx="2029688" cy="316256"/>
            <a:chOff x="9426813" y="561452"/>
            <a:chExt cx="2029688" cy="316256"/>
          </a:xfrm>
          <a:solidFill>
            <a:schemeClr val="bg1"/>
          </a:solidFill>
        </p:grpSpPr>
        <p:grpSp>
          <p:nvGrpSpPr>
            <p:cNvPr id="39" name="Graphic 17">
              <a:extLst>
                <a:ext uri="{FF2B5EF4-FFF2-40B4-BE49-F238E27FC236}">
                  <a16:creationId xmlns:a16="http://schemas.microsoft.com/office/drawing/2014/main" id="{23D220A3-A186-4E86-999D-5FFA740C9C2A}"/>
                </a:ext>
              </a:extLst>
            </p:cNvPr>
            <p:cNvGrpSpPr/>
            <p:nvPr/>
          </p:nvGrpSpPr>
          <p:grpSpPr>
            <a:xfrm>
              <a:off x="9426813" y="561452"/>
              <a:ext cx="747774" cy="316256"/>
              <a:chOff x="9426813" y="561452"/>
              <a:chExt cx="747774" cy="316256"/>
            </a:xfrm>
            <a:solidFill>
              <a:schemeClr val="bg1"/>
            </a:solidFill>
          </p:grpSpPr>
          <p:sp>
            <p:nvSpPr>
              <p:cNvPr id="40" name="Freeform: Shape 39">
                <a:extLst>
                  <a:ext uri="{FF2B5EF4-FFF2-40B4-BE49-F238E27FC236}">
                    <a16:creationId xmlns:a16="http://schemas.microsoft.com/office/drawing/2014/main" id="{D9DD1C81-344C-4E9A-AFE5-3E5B21A8B70C}"/>
                  </a:ext>
                </a:extLst>
              </p:cNvPr>
              <p:cNvSpPr/>
              <p:nvPr/>
            </p:nvSpPr>
            <p:spPr>
              <a:xfrm>
                <a:off x="9426813" y="593115"/>
                <a:ext cx="209869" cy="252930"/>
              </a:xfrm>
              <a:custGeom>
                <a:avLst/>
                <a:gdLst>
                  <a:gd name="connsiteX0" fmla="*/ 145594 w 209869"/>
                  <a:gd name="connsiteY0" fmla="*/ 163695 h 252930"/>
                  <a:gd name="connsiteX1" fmla="*/ 105519 w 209869"/>
                  <a:gd name="connsiteY1" fmla="*/ 48779 h 252930"/>
                  <a:gd name="connsiteX2" fmla="*/ 104747 w 209869"/>
                  <a:gd name="connsiteY2" fmla="*/ 48779 h 252930"/>
                  <a:gd name="connsiteX3" fmla="*/ 64333 w 209869"/>
                  <a:gd name="connsiteY3" fmla="*/ 163695 h 252930"/>
                  <a:gd name="connsiteX4" fmla="*/ 88659 w 209869"/>
                  <a:gd name="connsiteY4" fmla="*/ 3752 h 252930"/>
                  <a:gd name="connsiteX5" fmla="*/ 93166 w 209869"/>
                  <a:gd name="connsiteY5" fmla="*/ 37 h 252930"/>
                  <a:gd name="connsiteX6" fmla="*/ 117493 w 209869"/>
                  <a:gd name="connsiteY6" fmla="*/ 37 h 252930"/>
                  <a:gd name="connsiteX7" fmla="*/ 122373 w 209869"/>
                  <a:gd name="connsiteY7" fmla="*/ 3752 h 252930"/>
                  <a:gd name="connsiteX8" fmla="*/ 209621 w 209869"/>
                  <a:gd name="connsiteY8" fmla="*/ 249211 h 252930"/>
                  <a:gd name="connsiteX9" fmla="*/ 207003 w 209869"/>
                  <a:gd name="connsiteY9" fmla="*/ 252953 h 252930"/>
                  <a:gd name="connsiteX10" fmla="*/ 180788 w 209869"/>
                  <a:gd name="connsiteY10" fmla="*/ 252953 h 252930"/>
                  <a:gd name="connsiteX11" fmla="*/ 175925 w 209869"/>
                  <a:gd name="connsiteY11" fmla="*/ 249211 h 252930"/>
                  <a:gd name="connsiteX12" fmla="*/ 156432 w 209869"/>
                  <a:gd name="connsiteY12" fmla="*/ 194187 h 252930"/>
                  <a:gd name="connsiteX13" fmla="*/ 53465 w 209869"/>
                  <a:gd name="connsiteY13" fmla="*/ 194187 h 252930"/>
                  <a:gd name="connsiteX14" fmla="*/ 33984 w 209869"/>
                  <a:gd name="connsiteY14" fmla="*/ 249211 h 252930"/>
                  <a:gd name="connsiteX15" fmla="*/ 29103 w 209869"/>
                  <a:gd name="connsiteY15" fmla="*/ 252953 h 252930"/>
                  <a:gd name="connsiteX16" fmla="*/ 2889 w 209869"/>
                  <a:gd name="connsiteY16" fmla="*/ 252953 h 252930"/>
                  <a:gd name="connsiteX17" fmla="*/ 270 w 209869"/>
                  <a:gd name="connsiteY17" fmla="*/ 249211 h 25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9869" h="252930">
                    <a:moveTo>
                      <a:pt x="145594" y="163695"/>
                    </a:moveTo>
                    <a:lnTo>
                      <a:pt x="105519" y="48779"/>
                    </a:lnTo>
                    <a:lnTo>
                      <a:pt x="104747" y="48779"/>
                    </a:lnTo>
                    <a:lnTo>
                      <a:pt x="64333" y="163695"/>
                    </a:lnTo>
                    <a:close/>
                    <a:moveTo>
                      <a:pt x="88659" y="3752"/>
                    </a:moveTo>
                    <a:cubicBezTo>
                      <a:pt x="89038" y="1571"/>
                      <a:pt x="90952" y="-8"/>
                      <a:pt x="93166" y="37"/>
                    </a:cubicBezTo>
                    <a:lnTo>
                      <a:pt x="117493" y="37"/>
                    </a:lnTo>
                    <a:cubicBezTo>
                      <a:pt x="119807" y="-79"/>
                      <a:pt x="121869" y="1490"/>
                      <a:pt x="122373" y="3752"/>
                    </a:cubicBezTo>
                    <a:lnTo>
                      <a:pt x="209621" y="249211"/>
                    </a:lnTo>
                    <a:cubicBezTo>
                      <a:pt x="210385" y="251693"/>
                      <a:pt x="209494" y="252953"/>
                      <a:pt x="207003" y="252953"/>
                    </a:cubicBezTo>
                    <a:lnTo>
                      <a:pt x="180788" y="252953"/>
                    </a:lnTo>
                    <a:cubicBezTo>
                      <a:pt x="178462" y="253091"/>
                      <a:pt x="176388" y="251495"/>
                      <a:pt x="175925" y="249211"/>
                    </a:cubicBezTo>
                    <a:lnTo>
                      <a:pt x="156432" y="194187"/>
                    </a:lnTo>
                    <a:lnTo>
                      <a:pt x="53465" y="194187"/>
                    </a:lnTo>
                    <a:lnTo>
                      <a:pt x="33984" y="249211"/>
                    </a:lnTo>
                    <a:cubicBezTo>
                      <a:pt x="33377" y="251410"/>
                      <a:pt x="31384" y="252938"/>
                      <a:pt x="29103" y="252953"/>
                    </a:cubicBezTo>
                    <a:lnTo>
                      <a:pt x="2889" y="252953"/>
                    </a:lnTo>
                    <a:cubicBezTo>
                      <a:pt x="389" y="252953"/>
                      <a:pt x="-461" y="251696"/>
                      <a:pt x="270" y="249211"/>
                    </a:cubicBezTo>
                    <a:close/>
                  </a:path>
                </a:pathLst>
              </a:custGeom>
              <a:solidFill>
                <a:schemeClr val="bg1"/>
              </a:solidFill>
              <a:ln w="2965" cap="flat">
                <a:noFill/>
                <a:prstDash val="solid"/>
                <a:miter/>
              </a:ln>
            </p:spPr>
            <p:txBody>
              <a:bodyPr rtlCol="0" anchor="ctr"/>
              <a:lstStyle/>
              <a:p>
                <a:endParaRPr lang="de-DE"/>
              </a:p>
            </p:txBody>
          </p:sp>
          <p:sp>
            <p:nvSpPr>
              <p:cNvPr id="41" name="Freeform: Shape 40">
                <a:extLst>
                  <a:ext uri="{FF2B5EF4-FFF2-40B4-BE49-F238E27FC236}">
                    <a16:creationId xmlns:a16="http://schemas.microsoft.com/office/drawing/2014/main" id="{F48EAC08-F4E3-487E-A3FE-E421BF74B30B}"/>
                  </a:ext>
                </a:extLst>
              </p:cNvPr>
              <p:cNvSpPr/>
              <p:nvPr/>
            </p:nvSpPr>
            <p:spPr>
              <a:xfrm>
                <a:off x="9663092" y="589054"/>
                <a:ext cx="183802" cy="261084"/>
              </a:xfrm>
              <a:custGeom>
                <a:avLst/>
                <a:gdLst>
                  <a:gd name="connsiteX0" fmla="*/ 91025 w 183802"/>
                  <a:gd name="connsiteY0" fmla="*/ 261108 h 261084"/>
                  <a:gd name="connsiteX1" fmla="*/ 64419 w 183802"/>
                  <a:gd name="connsiteY1" fmla="*/ 258507 h 261084"/>
                  <a:gd name="connsiteX2" fmla="*/ 39717 w 183802"/>
                  <a:gd name="connsiteY2" fmla="*/ 251638 h 261084"/>
                  <a:gd name="connsiteX3" fmla="*/ 18393 w 183802"/>
                  <a:gd name="connsiteY3" fmla="*/ 241588 h 261084"/>
                  <a:gd name="connsiteX4" fmla="*/ 1515 w 183802"/>
                  <a:gd name="connsiteY4" fmla="*/ 229496 h 261084"/>
                  <a:gd name="connsiteX5" fmla="*/ 922 w 183802"/>
                  <a:gd name="connsiteY5" fmla="*/ 224161 h 261084"/>
                  <a:gd name="connsiteX6" fmla="*/ 1141 w 183802"/>
                  <a:gd name="connsiteY6" fmla="*/ 223911 h 261084"/>
                  <a:gd name="connsiteX7" fmla="*/ 17602 w 183802"/>
                  <a:gd name="connsiteY7" fmla="*/ 204590 h 261084"/>
                  <a:gd name="connsiteX8" fmla="*/ 22373 w 183802"/>
                  <a:gd name="connsiteY8" fmla="*/ 203811 h 261084"/>
                  <a:gd name="connsiteX9" fmla="*/ 22840 w 183802"/>
                  <a:gd name="connsiteY9" fmla="*/ 204215 h 261084"/>
                  <a:gd name="connsiteX10" fmla="*/ 53569 w 183802"/>
                  <a:gd name="connsiteY10" fmla="*/ 222050 h 261084"/>
                  <a:gd name="connsiteX11" fmla="*/ 93998 w 183802"/>
                  <a:gd name="connsiteY11" fmla="*/ 230233 h 261084"/>
                  <a:gd name="connsiteX12" fmla="*/ 135390 w 183802"/>
                  <a:gd name="connsiteY12" fmla="*/ 218343 h 261084"/>
                  <a:gd name="connsiteX13" fmla="*/ 150178 w 183802"/>
                  <a:gd name="connsiteY13" fmla="*/ 187100 h 261084"/>
                  <a:gd name="connsiteX14" fmla="*/ 147577 w 183802"/>
                  <a:gd name="connsiteY14" fmla="*/ 172219 h 261084"/>
                  <a:gd name="connsiteX15" fmla="*/ 138760 w 183802"/>
                  <a:gd name="connsiteY15" fmla="*/ 160329 h 261084"/>
                  <a:gd name="connsiteX16" fmla="*/ 122468 w 183802"/>
                  <a:gd name="connsiteY16" fmla="*/ 151412 h 261084"/>
                  <a:gd name="connsiteX17" fmla="*/ 97018 w 183802"/>
                  <a:gd name="connsiteY17" fmla="*/ 145850 h 261084"/>
                  <a:gd name="connsiteX18" fmla="*/ 84281 w 183802"/>
                  <a:gd name="connsiteY18" fmla="*/ 143972 h 261084"/>
                  <a:gd name="connsiteX19" fmla="*/ 9362 w 183802"/>
                  <a:gd name="connsiteY19" fmla="*/ 74065 h 261084"/>
                  <a:gd name="connsiteX20" fmla="*/ 15180 w 183802"/>
                  <a:gd name="connsiteY20" fmla="*/ 43553 h 261084"/>
                  <a:gd name="connsiteX21" fmla="*/ 31855 w 183802"/>
                  <a:gd name="connsiteY21" fmla="*/ 20127 h 261084"/>
                  <a:gd name="connsiteX22" fmla="*/ 58069 w 183802"/>
                  <a:gd name="connsiteY22" fmla="*/ 5237 h 261084"/>
                  <a:gd name="connsiteX23" fmla="*/ 92512 w 183802"/>
                  <a:gd name="connsiteY23" fmla="*/ 50 h 261084"/>
                  <a:gd name="connsiteX24" fmla="*/ 135401 w 183802"/>
                  <a:gd name="connsiteY24" fmla="*/ 6545 h 261084"/>
                  <a:gd name="connsiteX25" fmla="*/ 170007 w 183802"/>
                  <a:gd name="connsiteY25" fmla="*/ 23488 h 261084"/>
                  <a:gd name="connsiteX26" fmla="*/ 171352 w 183802"/>
                  <a:gd name="connsiteY26" fmla="*/ 27913 h 261084"/>
                  <a:gd name="connsiteX27" fmla="*/ 170780 w 183802"/>
                  <a:gd name="connsiteY27" fmla="*/ 28684 h 261084"/>
                  <a:gd name="connsiteX28" fmla="*/ 158034 w 183802"/>
                  <a:gd name="connsiteY28" fmla="*/ 49135 h 261084"/>
                  <a:gd name="connsiteX29" fmla="*/ 152936 w 183802"/>
                  <a:gd name="connsiteY29" fmla="*/ 49997 h 261084"/>
                  <a:gd name="connsiteX30" fmla="*/ 152796 w 183802"/>
                  <a:gd name="connsiteY30" fmla="*/ 49893 h 261084"/>
                  <a:gd name="connsiteX31" fmla="*/ 122477 w 183802"/>
                  <a:gd name="connsiteY31" fmla="*/ 35575 h 261084"/>
                  <a:gd name="connsiteX32" fmla="*/ 91415 w 183802"/>
                  <a:gd name="connsiteY32" fmla="*/ 30932 h 261084"/>
                  <a:gd name="connsiteX33" fmla="*/ 55448 w 183802"/>
                  <a:gd name="connsiteY33" fmla="*/ 42266 h 261084"/>
                  <a:gd name="connsiteX34" fmla="*/ 43085 w 183802"/>
                  <a:gd name="connsiteY34" fmla="*/ 71815 h 261084"/>
                  <a:gd name="connsiteX35" fmla="*/ 55058 w 183802"/>
                  <a:gd name="connsiteY35" fmla="*/ 98047 h 261084"/>
                  <a:gd name="connsiteX36" fmla="*/ 96628 w 183802"/>
                  <a:gd name="connsiteY36" fmla="*/ 112366 h 261084"/>
                  <a:gd name="connsiteX37" fmla="*/ 109000 w 183802"/>
                  <a:gd name="connsiteY37" fmla="*/ 114211 h 261084"/>
                  <a:gd name="connsiteX38" fmla="*/ 165162 w 183802"/>
                  <a:gd name="connsiteY38" fmla="*/ 136505 h 261084"/>
                  <a:gd name="connsiteX39" fmla="*/ 183888 w 183802"/>
                  <a:gd name="connsiteY39" fmla="*/ 184870 h 261084"/>
                  <a:gd name="connsiteX40" fmla="*/ 178095 w 183802"/>
                  <a:gd name="connsiteY40" fmla="*/ 215555 h 261084"/>
                  <a:gd name="connsiteX41" fmla="*/ 160468 w 183802"/>
                  <a:gd name="connsiteY41" fmla="*/ 239543 h 261084"/>
                  <a:gd name="connsiteX42" fmla="*/ 131287 w 183802"/>
                  <a:gd name="connsiteY42" fmla="*/ 255324 h 261084"/>
                  <a:gd name="connsiteX43" fmla="*/ 91025 w 183802"/>
                  <a:gd name="connsiteY43" fmla="*/ 261108 h 26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3802" h="261084">
                    <a:moveTo>
                      <a:pt x="91025" y="261108"/>
                    </a:moveTo>
                    <a:cubicBezTo>
                      <a:pt x="82093" y="261111"/>
                      <a:pt x="73181" y="260239"/>
                      <a:pt x="64419" y="258507"/>
                    </a:cubicBezTo>
                    <a:cubicBezTo>
                      <a:pt x="56021" y="256856"/>
                      <a:pt x="47762" y="254559"/>
                      <a:pt x="39717" y="251638"/>
                    </a:cubicBezTo>
                    <a:cubicBezTo>
                      <a:pt x="32314" y="248954"/>
                      <a:pt x="25175" y="245589"/>
                      <a:pt x="18393" y="241588"/>
                    </a:cubicBezTo>
                    <a:cubicBezTo>
                      <a:pt x="12384" y="238121"/>
                      <a:pt x="6731" y="234071"/>
                      <a:pt x="1515" y="229496"/>
                    </a:cubicBezTo>
                    <a:cubicBezTo>
                      <a:pt x="-122" y="228186"/>
                      <a:pt x="-388" y="225798"/>
                      <a:pt x="922" y="224161"/>
                    </a:cubicBezTo>
                    <a:cubicBezTo>
                      <a:pt x="991" y="224074"/>
                      <a:pt x="1064" y="223991"/>
                      <a:pt x="1141" y="223911"/>
                    </a:cubicBezTo>
                    <a:lnTo>
                      <a:pt x="17602" y="204590"/>
                    </a:lnTo>
                    <a:cubicBezTo>
                      <a:pt x="18705" y="203057"/>
                      <a:pt x="20841" y="202708"/>
                      <a:pt x="22373" y="203811"/>
                    </a:cubicBezTo>
                    <a:cubicBezTo>
                      <a:pt x="22541" y="203931"/>
                      <a:pt x="22697" y="204066"/>
                      <a:pt x="22840" y="204215"/>
                    </a:cubicBezTo>
                    <a:cubicBezTo>
                      <a:pt x="32319" y="211389"/>
                      <a:pt x="42638" y="217378"/>
                      <a:pt x="53569" y="222050"/>
                    </a:cubicBezTo>
                    <a:cubicBezTo>
                      <a:pt x="66312" y="227614"/>
                      <a:pt x="80094" y="230403"/>
                      <a:pt x="93998" y="230233"/>
                    </a:cubicBezTo>
                    <a:cubicBezTo>
                      <a:pt x="111710" y="230233"/>
                      <a:pt x="125507" y="226270"/>
                      <a:pt x="135390" y="218343"/>
                    </a:cubicBezTo>
                    <a:cubicBezTo>
                      <a:pt x="145024" y="210886"/>
                      <a:pt x="150519" y="199278"/>
                      <a:pt x="150178" y="187100"/>
                    </a:cubicBezTo>
                    <a:cubicBezTo>
                      <a:pt x="150238" y="182021"/>
                      <a:pt x="149356" y="176976"/>
                      <a:pt x="147577" y="172219"/>
                    </a:cubicBezTo>
                    <a:cubicBezTo>
                      <a:pt x="145662" y="167591"/>
                      <a:pt x="142633" y="163506"/>
                      <a:pt x="138760" y="160329"/>
                    </a:cubicBezTo>
                    <a:cubicBezTo>
                      <a:pt x="133876" y="156453"/>
                      <a:pt x="128366" y="153437"/>
                      <a:pt x="122468" y="151412"/>
                    </a:cubicBezTo>
                    <a:cubicBezTo>
                      <a:pt x="114221" y="148605"/>
                      <a:pt x="105684" y="146740"/>
                      <a:pt x="97018" y="145850"/>
                    </a:cubicBezTo>
                    <a:lnTo>
                      <a:pt x="84281" y="143972"/>
                    </a:lnTo>
                    <a:cubicBezTo>
                      <a:pt x="34353" y="137276"/>
                      <a:pt x="9380" y="113974"/>
                      <a:pt x="9362" y="74065"/>
                    </a:cubicBezTo>
                    <a:cubicBezTo>
                      <a:pt x="9220" y="63606"/>
                      <a:pt x="11199" y="53226"/>
                      <a:pt x="15180" y="43553"/>
                    </a:cubicBezTo>
                    <a:cubicBezTo>
                      <a:pt x="18901" y="34587"/>
                      <a:pt x="24602" y="26578"/>
                      <a:pt x="31855" y="20127"/>
                    </a:cubicBezTo>
                    <a:cubicBezTo>
                      <a:pt x="39496" y="13442"/>
                      <a:pt x="48414" y="8377"/>
                      <a:pt x="58069" y="5237"/>
                    </a:cubicBezTo>
                    <a:cubicBezTo>
                      <a:pt x="69191" y="1646"/>
                      <a:pt x="80825" y="-106"/>
                      <a:pt x="92512" y="50"/>
                    </a:cubicBezTo>
                    <a:cubicBezTo>
                      <a:pt x="107058" y="-10"/>
                      <a:pt x="121525" y="2181"/>
                      <a:pt x="135401" y="6545"/>
                    </a:cubicBezTo>
                    <a:cubicBezTo>
                      <a:pt x="147774" y="10291"/>
                      <a:pt x="159460" y="16013"/>
                      <a:pt x="170007" y="23488"/>
                    </a:cubicBezTo>
                    <a:cubicBezTo>
                      <a:pt x="171600" y="24339"/>
                      <a:pt x="172202" y="26320"/>
                      <a:pt x="171352" y="27913"/>
                    </a:cubicBezTo>
                    <a:cubicBezTo>
                      <a:pt x="171200" y="28197"/>
                      <a:pt x="171007" y="28457"/>
                      <a:pt x="170780" y="28684"/>
                    </a:cubicBezTo>
                    <a:lnTo>
                      <a:pt x="158034" y="49135"/>
                    </a:lnTo>
                    <a:cubicBezTo>
                      <a:pt x="156864" y="50781"/>
                      <a:pt x="154582" y="51167"/>
                      <a:pt x="152936" y="49997"/>
                    </a:cubicBezTo>
                    <a:cubicBezTo>
                      <a:pt x="152888" y="49963"/>
                      <a:pt x="152842" y="49929"/>
                      <a:pt x="152796" y="49893"/>
                    </a:cubicBezTo>
                    <a:cubicBezTo>
                      <a:pt x="143314" y="43897"/>
                      <a:pt x="133131" y="39089"/>
                      <a:pt x="122477" y="35575"/>
                    </a:cubicBezTo>
                    <a:cubicBezTo>
                      <a:pt x="112425" y="32433"/>
                      <a:pt x="101946" y="30867"/>
                      <a:pt x="91415" y="30932"/>
                    </a:cubicBezTo>
                    <a:cubicBezTo>
                      <a:pt x="75658" y="30932"/>
                      <a:pt x="63670" y="34710"/>
                      <a:pt x="55448" y="42266"/>
                    </a:cubicBezTo>
                    <a:cubicBezTo>
                      <a:pt x="47206" y="49835"/>
                      <a:pt x="42689" y="60632"/>
                      <a:pt x="43085" y="71815"/>
                    </a:cubicBezTo>
                    <a:cubicBezTo>
                      <a:pt x="42826" y="81936"/>
                      <a:pt x="47243" y="91612"/>
                      <a:pt x="55058" y="98047"/>
                    </a:cubicBezTo>
                    <a:cubicBezTo>
                      <a:pt x="63034" y="104848"/>
                      <a:pt x="76891" y="109621"/>
                      <a:pt x="96628" y="112366"/>
                    </a:cubicBezTo>
                    <a:lnTo>
                      <a:pt x="109000" y="114211"/>
                    </a:lnTo>
                    <a:cubicBezTo>
                      <a:pt x="133939" y="117681"/>
                      <a:pt x="152660" y="125112"/>
                      <a:pt x="165162" y="136505"/>
                    </a:cubicBezTo>
                    <a:cubicBezTo>
                      <a:pt x="177664" y="147898"/>
                      <a:pt x="183906" y="164019"/>
                      <a:pt x="183888" y="184870"/>
                    </a:cubicBezTo>
                    <a:cubicBezTo>
                      <a:pt x="184003" y="195381"/>
                      <a:pt x="182034" y="205810"/>
                      <a:pt x="178095" y="215555"/>
                    </a:cubicBezTo>
                    <a:cubicBezTo>
                      <a:pt x="174222" y="224845"/>
                      <a:pt x="168177" y="233071"/>
                      <a:pt x="160468" y="239543"/>
                    </a:cubicBezTo>
                    <a:cubicBezTo>
                      <a:pt x="151855" y="246643"/>
                      <a:pt x="141944" y="252002"/>
                      <a:pt x="131287" y="255324"/>
                    </a:cubicBezTo>
                    <a:cubicBezTo>
                      <a:pt x="118260" y="259380"/>
                      <a:pt x="104668" y="261333"/>
                      <a:pt x="91025" y="261108"/>
                    </a:cubicBezTo>
                  </a:path>
                </a:pathLst>
              </a:custGeom>
              <a:solidFill>
                <a:schemeClr val="bg1"/>
              </a:solidFill>
              <a:ln w="2965" cap="flat">
                <a:noFill/>
                <a:prstDash val="solid"/>
                <a:miter/>
              </a:ln>
            </p:spPr>
            <p:txBody>
              <a:bodyPr rtlCol="0" anchor="ctr"/>
              <a:lstStyle/>
              <a:p>
                <a:endParaRPr lang="de-DE"/>
              </a:p>
            </p:txBody>
          </p:sp>
          <p:sp>
            <p:nvSpPr>
              <p:cNvPr id="42" name="Freeform: Shape 41">
                <a:extLst>
                  <a:ext uri="{FF2B5EF4-FFF2-40B4-BE49-F238E27FC236}">
                    <a16:creationId xmlns:a16="http://schemas.microsoft.com/office/drawing/2014/main" id="{D1E12B48-0485-417F-932A-141E3AB55E8A}"/>
                  </a:ext>
                </a:extLst>
              </p:cNvPr>
              <p:cNvSpPr/>
              <p:nvPr/>
            </p:nvSpPr>
            <p:spPr>
              <a:xfrm>
                <a:off x="9898160" y="593103"/>
                <a:ext cx="179430" cy="252966"/>
              </a:xfrm>
              <a:custGeom>
                <a:avLst/>
                <a:gdLst>
                  <a:gd name="connsiteX0" fmla="*/ 33876 w 179430"/>
                  <a:gd name="connsiteY0" fmla="*/ 219859 h 252966"/>
                  <a:gd name="connsiteX1" fmla="*/ 35607 w 179430"/>
                  <a:gd name="connsiteY1" fmla="*/ 222107 h 252966"/>
                  <a:gd name="connsiteX2" fmla="*/ 36156 w 179430"/>
                  <a:gd name="connsiteY2" fmla="*/ 222103 h 252966"/>
                  <a:gd name="connsiteX3" fmla="*/ 82824 w 179430"/>
                  <a:gd name="connsiteY3" fmla="*/ 222103 h 252966"/>
                  <a:gd name="connsiteX4" fmla="*/ 120134 w 179430"/>
                  <a:gd name="connsiteY4" fmla="*/ 214110 h 252966"/>
                  <a:gd name="connsiteX5" fmla="*/ 140644 w 179430"/>
                  <a:gd name="connsiteY5" fmla="*/ 187512 h 252966"/>
                  <a:gd name="connsiteX6" fmla="*/ 142871 w 179430"/>
                  <a:gd name="connsiteY6" fmla="*/ 179698 h 252966"/>
                  <a:gd name="connsiteX7" fmla="*/ 144571 w 179430"/>
                  <a:gd name="connsiteY7" fmla="*/ 168355 h 252966"/>
                  <a:gd name="connsiteX8" fmla="*/ 145489 w 179430"/>
                  <a:gd name="connsiteY8" fmla="*/ 151441 h 252966"/>
                  <a:gd name="connsiteX9" fmla="*/ 145882 w 179430"/>
                  <a:gd name="connsiteY9" fmla="*/ 126529 h 252966"/>
                  <a:gd name="connsiteX10" fmla="*/ 145489 w 179430"/>
                  <a:gd name="connsiteY10" fmla="*/ 101599 h 252966"/>
                  <a:gd name="connsiteX11" fmla="*/ 144571 w 179430"/>
                  <a:gd name="connsiteY11" fmla="*/ 84676 h 252966"/>
                  <a:gd name="connsiteX12" fmla="*/ 142865 w 179430"/>
                  <a:gd name="connsiteY12" fmla="*/ 73339 h 252966"/>
                  <a:gd name="connsiteX13" fmla="*/ 140638 w 179430"/>
                  <a:gd name="connsiteY13" fmla="*/ 65525 h 252966"/>
                  <a:gd name="connsiteX14" fmla="*/ 120128 w 179430"/>
                  <a:gd name="connsiteY14" fmla="*/ 38927 h 252966"/>
                  <a:gd name="connsiteX15" fmla="*/ 82818 w 179430"/>
                  <a:gd name="connsiteY15" fmla="*/ 30934 h 252966"/>
                  <a:gd name="connsiteX16" fmla="*/ 36153 w 179430"/>
                  <a:gd name="connsiteY16" fmla="*/ 30934 h 252966"/>
                  <a:gd name="connsiteX17" fmla="*/ 33877 w 179430"/>
                  <a:gd name="connsiteY17" fmla="*/ 32636 h 252966"/>
                  <a:gd name="connsiteX18" fmla="*/ 33873 w 179430"/>
                  <a:gd name="connsiteY18" fmla="*/ 33178 h 252966"/>
                  <a:gd name="connsiteX19" fmla="*/ 195 w 179430"/>
                  <a:gd name="connsiteY19" fmla="*/ 3783 h 252966"/>
                  <a:gd name="connsiteX20" fmla="*/ 2998 w 179430"/>
                  <a:gd name="connsiteY20" fmla="*/ 69 h 252966"/>
                  <a:gd name="connsiteX21" fmla="*/ 3943 w 179430"/>
                  <a:gd name="connsiteY21" fmla="*/ 74 h 252966"/>
                  <a:gd name="connsiteX22" fmla="*/ 89705 w 179430"/>
                  <a:gd name="connsiteY22" fmla="*/ 74 h 252966"/>
                  <a:gd name="connsiteX23" fmla="*/ 172821 w 179430"/>
                  <a:gd name="connsiteY23" fmla="*/ 54001 h 252966"/>
                  <a:gd name="connsiteX24" fmla="*/ 175669 w 179430"/>
                  <a:gd name="connsiteY24" fmla="*/ 64782 h 252966"/>
                  <a:gd name="connsiteX25" fmla="*/ 177889 w 179430"/>
                  <a:gd name="connsiteY25" fmla="*/ 78538 h 252966"/>
                  <a:gd name="connsiteX26" fmla="*/ 179200 w 179430"/>
                  <a:gd name="connsiteY26" fmla="*/ 98249 h 252966"/>
                  <a:gd name="connsiteX27" fmla="*/ 179593 w 179430"/>
                  <a:gd name="connsiteY27" fmla="*/ 126529 h 252966"/>
                  <a:gd name="connsiteX28" fmla="*/ 179200 w 179430"/>
                  <a:gd name="connsiteY28" fmla="*/ 154794 h 252966"/>
                  <a:gd name="connsiteX29" fmla="*/ 177889 w 179430"/>
                  <a:gd name="connsiteY29" fmla="*/ 174505 h 252966"/>
                  <a:gd name="connsiteX30" fmla="*/ 175669 w 179430"/>
                  <a:gd name="connsiteY30" fmla="*/ 188270 h 252966"/>
                  <a:gd name="connsiteX31" fmla="*/ 172821 w 179430"/>
                  <a:gd name="connsiteY31" fmla="*/ 199043 h 252966"/>
                  <a:gd name="connsiteX32" fmla="*/ 89705 w 179430"/>
                  <a:gd name="connsiteY32" fmla="*/ 252969 h 252966"/>
                  <a:gd name="connsiteX33" fmla="*/ 3943 w 179430"/>
                  <a:gd name="connsiteY33" fmla="*/ 252969 h 252966"/>
                  <a:gd name="connsiteX34" fmla="*/ 201 w 179430"/>
                  <a:gd name="connsiteY34" fmla="*/ 250175 h 252966"/>
                  <a:gd name="connsiteX35" fmla="*/ 201 w 179430"/>
                  <a:gd name="connsiteY35" fmla="*/ 249227 h 25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79430" h="252966">
                    <a:moveTo>
                      <a:pt x="33876" y="219859"/>
                    </a:moveTo>
                    <a:cubicBezTo>
                      <a:pt x="33733" y="220958"/>
                      <a:pt x="34508" y="221965"/>
                      <a:pt x="35607" y="222107"/>
                    </a:cubicBezTo>
                    <a:cubicBezTo>
                      <a:pt x="35789" y="222131"/>
                      <a:pt x="35974" y="222129"/>
                      <a:pt x="36156" y="222103"/>
                    </a:cubicBezTo>
                    <a:lnTo>
                      <a:pt x="82824" y="222103"/>
                    </a:lnTo>
                    <a:cubicBezTo>
                      <a:pt x="98221" y="222103"/>
                      <a:pt x="110697" y="219428"/>
                      <a:pt x="120134" y="214110"/>
                    </a:cubicBezTo>
                    <a:cubicBezTo>
                      <a:pt x="129572" y="208792"/>
                      <a:pt x="136408" y="199911"/>
                      <a:pt x="140644" y="187512"/>
                    </a:cubicBezTo>
                    <a:cubicBezTo>
                      <a:pt x="141408" y="185277"/>
                      <a:pt x="142098" y="182682"/>
                      <a:pt x="142871" y="179698"/>
                    </a:cubicBezTo>
                    <a:cubicBezTo>
                      <a:pt x="143742" y="175969"/>
                      <a:pt x="144310" y="172175"/>
                      <a:pt x="144571" y="168355"/>
                    </a:cubicBezTo>
                    <a:cubicBezTo>
                      <a:pt x="144945" y="163781"/>
                      <a:pt x="145252" y="158143"/>
                      <a:pt x="145489" y="151441"/>
                    </a:cubicBezTo>
                    <a:cubicBezTo>
                      <a:pt x="145718" y="144732"/>
                      <a:pt x="145882" y="136433"/>
                      <a:pt x="145882" y="126529"/>
                    </a:cubicBezTo>
                    <a:cubicBezTo>
                      <a:pt x="145882" y="116625"/>
                      <a:pt x="145721" y="108308"/>
                      <a:pt x="145489" y="101599"/>
                    </a:cubicBezTo>
                    <a:cubicBezTo>
                      <a:pt x="145258" y="94890"/>
                      <a:pt x="144945" y="89269"/>
                      <a:pt x="144571" y="84676"/>
                    </a:cubicBezTo>
                    <a:cubicBezTo>
                      <a:pt x="144308" y="80858"/>
                      <a:pt x="143737" y="77066"/>
                      <a:pt x="142865" y="73339"/>
                    </a:cubicBezTo>
                    <a:cubicBezTo>
                      <a:pt x="142092" y="70367"/>
                      <a:pt x="141402" y="67760"/>
                      <a:pt x="140638" y="65525"/>
                    </a:cubicBezTo>
                    <a:cubicBezTo>
                      <a:pt x="136396" y="53128"/>
                      <a:pt x="129559" y="44262"/>
                      <a:pt x="120128" y="38927"/>
                    </a:cubicBezTo>
                    <a:cubicBezTo>
                      <a:pt x="110691" y="33594"/>
                      <a:pt x="98215" y="30934"/>
                      <a:pt x="82818" y="30934"/>
                    </a:cubicBezTo>
                    <a:lnTo>
                      <a:pt x="36153" y="30934"/>
                    </a:lnTo>
                    <a:cubicBezTo>
                      <a:pt x="35054" y="30776"/>
                      <a:pt x="34035" y="31538"/>
                      <a:pt x="33877" y="32636"/>
                    </a:cubicBezTo>
                    <a:cubicBezTo>
                      <a:pt x="33851" y="32816"/>
                      <a:pt x="33850" y="32998"/>
                      <a:pt x="33873" y="33178"/>
                    </a:cubicBezTo>
                    <a:close/>
                    <a:moveTo>
                      <a:pt x="195" y="3783"/>
                    </a:moveTo>
                    <a:cubicBezTo>
                      <a:pt x="-57" y="1984"/>
                      <a:pt x="1198" y="321"/>
                      <a:pt x="2998" y="69"/>
                    </a:cubicBezTo>
                    <a:cubicBezTo>
                      <a:pt x="3311" y="25"/>
                      <a:pt x="3630" y="27"/>
                      <a:pt x="3943" y="74"/>
                    </a:cubicBezTo>
                    <a:lnTo>
                      <a:pt x="89705" y="74"/>
                    </a:lnTo>
                    <a:cubicBezTo>
                      <a:pt x="133402" y="74"/>
                      <a:pt x="161108" y="18049"/>
                      <a:pt x="172821" y="54001"/>
                    </a:cubicBezTo>
                    <a:cubicBezTo>
                      <a:pt x="173817" y="57478"/>
                      <a:pt x="174736" y="61075"/>
                      <a:pt x="175669" y="64782"/>
                    </a:cubicBezTo>
                    <a:cubicBezTo>
                      <a:pt x="176665" y="69322"/>
                      <a:pt x="177406" y="73915"/>
                      <a:pt x="177889" y="78538"/>
                    </a:cubicBezTo>
                    <a:cubicBezTo>
                      <a:pt x="178511" y="84005"/>
                      <a:pt x="178968" y="90571"/>
                      <a:pt x="179200" y="98249"/>
                    </a:cubicBezTo>
                    <a:cubicBezTo>
                      <a:pt x="179432" y="105927"/>
                      <a:pt x="179593" y="115349"/>
                      <a:pt x="179593" y="126529"/>
                    </a:cubicBezTo>
                    <a:cubicBezTo>
                      <a:pt x="179593" y="137708"/>
                      <a:pt x="179432" y="147113"/>
                      <a:pt x="179200" y="154794"/>
                    </a:cubicBezTo>
                    <a:cubicBezTo>
                      <a:pt x="178968" y="162475"/>
                      <a:pt x="178511" y="169062"/>
                      <a:pt x="177889" y="174505"/>
                    </a:cubicBezTo>
                    <a:cubicBezTo>
                      <a:pt x="177405" y="179131"/>
                      <a:pt x="176664" y="183727"/>
                      <a:pt x="175669" y="188270"/>
                    </a:cubicBezTo>
                    <a:cubicBezTo>
                      <a:pt x="174733" y="191968"/>
                      <a:pt x="173814" y="195559"/>
                      <a:pt x="172821" y="199043"/>
                    </a:cubicBezTo>
                    <a:cubicBezTo>
                      <a:pt x="161114" y="235001"/>
                      <a:pt x="133408" y="252977"/>
                      <a:pt x="89705" y="252969"/>
                    </a:cubicBezTo>
                    <a:lnTo>
                      <a:pt x="3943" y="252969"/>
                    </a:lnTo>
                    <a:cubicBezTo>
                      <a:pt x="2138" y="253231"/>
                      <a:pt x="462" y="251980"/>
                      <a:pt x="201" y="250175"/>
                    </a:cubicBezTo>
                    <a:cubicBezTo>
                      <a:pt x="155" y="249861"/>
                      <a:pt x="155" y="249541"/>
                      <a:pt x="201" y="249227"/>
                    </a:cubicBezTo>
                    <a:close/>
                  </a:path>
                </a:pathLst>
              </a:custGeom>
              <a:solidFill>
                <a:schemeClr val="bg1"/>
              </a:solidFill>
              <a:ln w="2965" cap="flat">
                <a:noFill/>
                <a:prstDash val="solid"/>
                <a:miter/>
              </a:ln>
            </p:spPr>
            <p:txBody>
              <a:bodyPr rtlCol="0" anchor="ctr"/>
              <a:lstStyle/>
              <a:p>
                <a:endParaRPr lang="de-DE"/>
              </a:p>
            </p:txBody>
          </p:sp>
          <p:sp>
            <p:nvSpPr>
              <p:cNvPr id="43" name="Freeform: Shape 42">
                <a:extLst>
                  <a:ext uri="{FF2B5EF4-FFF2-40B4-BE49-F238E27FC236}">
                    <a16:creationId xmlns:a16="http://schemas.microsoft.com/office/drawing/2014/main" id="{C918DA4D-E4FE-4EDF-B587-62F3AB8DE1DC}"/>
                  </a:ext>
                </a:extLst>
              </p:cNvPr>
              <p:cNvSpPr/>
              <p:nvPr/>
            </p:nvSpPr>
            <p:spPr>
              <a:xfrm>
                <a:off x="10158685" y="561452"/>
                <a:ext cx="15902" cy="316256"/>
              </a:xfrm>
              <a:custGeom>
                <a:avLst/>
                <a:gdLst>
                  <a:gd name="connsiteX0" fmla="*/ 8199 w 15902"/>
                  <a:gd name="connsiteY0" fmla="*/ 316295 h 316256"/>
                  <a:gd name="connsiteX1" fmla="*/ 247 w 15902"/>
                  <a:gd name="connsiteY1" fmla="*/ 308355 h 316256"/>
                  <a:gd name="connsiteX2" fmla="*/ 247 w 15902"/>
                  <a:gd name="connsiteY2" fmla="*/ 7980 h 316256"/>
                  <a:gd name="connsiteX3" fmla="*/ 8199 w 15902"/>
                  <a:gd name="connsiteY3" fmla="*/ 38 h 316256"/>
                  <a:gd name="connsiteX4" fmla="*/ 16150 w 15902"/>
                  <a:gd name="connsiteY4" fmla="*/ 7980 h 316256"/>
                  <a:gd name="connsiteX5" fmla="*/ 16150 w 15902"/>
                  <a:gd name="connsiteY5" fmla="*/ 308355 h 316256"/>
                  <a:gd name="connsiteX6" fmla="*/ 8199 w 15902"/>
                  <a:gd name="connsiteY6" fmla="*/ 316295 h 31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02" h="316256">
                    <a:moveTo>
                      <a:pt x="8199" y="316295"/>
                    </a:moveTo>
                    <a:cubicBezTo>
                      <a:pt x="3812" y="316293"/>
                      <a:pt x="255" y="312741"/>
                      <a:pt x="247" y="308355"/>
                    </a:cubicBezTo>
                    <a:lnTo>
                      <a:pt x="247" y="7980"/>
                    </a:lnTo>
                    <a:cubicBezTo>
                      <a:pt x="250" y="3592"/>
                      <a:pt x="3810" y="36"/>
                      <a:pt x="8199" y="38"/>
                    </a:cubicBezTo>
                    <a:cubicBezTo>
                      <a:pt x="12587" y="36"/>
                      <a:pt x="16147" y="3592"/>
                      <a:pt x="16150" y="7980"/>
                    </a:cubicBezTo>
                    <a:lnTo>
                      <a:pt x="16150" y="308355"/>
                    </a:lnTo>
                    <a:cubicBezTo>
                      <a:pt x="16142" y="312741"/>
                      <a:pt x="12585" y="316293"/>
                      <a:pt x="8199" y="316295"/>
                    </a:cubicBezTo>
                  </a:path>
                </a:pathLst>
              </a:custGeom>
              <a:solidFill>
                <a:schemeClr val="bg1"/>
              </a:solidFill>
              <a:ln w="2965" cap="flat">
                <a:noFill/>
                <a:prstDash val="solid"/>
                <a:miter/>
              </a:ln>
            </p:spPr>
            <p:txBody>
              <a:bodyPr rtlCol="0" anchor="ctr"/>
              <a:lstStyle/>
              <a:p>
                <a:endParaRPr lang="de-DE"/>
              </a:p>
            </p:txBody>
          </p:sp>
        </p:grpSp>
        <p:sp>
          <p:nvSpPr>
            <p:cNvPr id="44" name="Freeform: Shape 43">
              <a:extLst>
                <a:ext uri="{FF2B5EF4-FFF2-40B4-BE49-F238E27FC236}">
                  <a16:creationId xmlns:a16="http://schemas.microsoft.com/office/drawing/2014/main" id="{89A5E461-513F-4257-8AA6-1F9917D5EA7D}"/>
                </a:ext>
              </a:extLst>
            </p:cNvPr>
            <p:cNvSpPr/>
            <p:nvPr/>
          </p:nvSpPr>
          <p:spPr>
            <a:xfrm>
              <a:off x="10262628" y="590880"/>
              <a:ext cx="1075613" cy="93936"/>
            </a:xfrm>
            <a:custGeom>
              <a:avLst/>
              <a:gdLst>
                <a:gd name="connsiteX0" fmla="*/ 28649 w 1075613"/>
                <a:gd name="connsiteY0" fmla="*/ 92452 h 93936"/>
                <a:gd name="connsiteX1" fmla="*/ 27311 w 1075613"/>
                <a:gd name="connsiteY1" fmla="*/ 91433 h 93936"/>
                <a:gd name="connsiteX2" fmla="*/ 27311 w 1075613"/>
                <a:gd name="connsiteY2" fmla="*/ 91114 h 93936"/>
                <a:gd name="connsiteX3" fmla="*/ 27311 w 1075613"/>
                <a:gd name="connsiteY3" fmla="*/ 13384 h 93936"/>
                <a:gd name="connsiteX4" fmla="*/ 26706 w 1075613"/>
                <a:gd name="connsiteY4" fmla="*/ 12581 h 93936"/>
                <a:gd name="connsiteX5" fmla="*/ 26508 w 1075613"/>
                <a:gd name="connsiteY5" fmla="*/ 12581 h 93936"/>
                <a:gd name="connsiteX6" fmla="*/ 1629 w 1075613"/>
                <a:gd name="connsiteY6" fmla="*/ 12581 h 93936"/>
                <a:gd name="connsiteX7" fmla="*/ 291 w 1075613"/>
                <a:gd name="connsiteY7" fmla="*/ 11563 h 93936"/>
                <a:gd name="connsiteX8" fmla="*/ 291 w 1075613"/>
                <a:gd name="connsiteY8" fmla="*/ 11244 h 93936"/>
                <a:gd name="connsiteX9" fmla="*/ 291 w 1075613"/>
                <a:gd name="connsiteY9" fmla="*/ 2832 h 93936"/>
                <a:gd name="connsiteX10" fmla="*/ 1310 w 1075613"/>
                <a:gd name="connsiteY10" fmla="*/ 1494 h 93936"/>
                <a:gd name="connsiteX11" fmla="*/ 1629 w 1075613"/>
                <a:gd name="connsiteY11" fmla="*/ 1494 h 93936"/>
                <a:gd name="connsiteX12" fmla="*/ 64898 w 1075613"/>
                <a:gd name="connsiteY12" fmla="*/ 1494 h 93936"/>
                <a:gd name="connsiteX13" fmla="*/ 66235 w 1075613"/>
                <a:gd name="connsiteY13" fmla="*/ 2513 h 93936"/>
                <a:gd name="connsiteX14" fmla="*/ 66235 w 1075613"/>
                <a:gd name="connsiteY14" fmla="*/ 2832 h 93936"/>
                <a:gd name="connsiteX15" fmla="*/ 66235 w 1075613"/>
                <a:gd name="connsiteY15" fmla="*/ 11259 h 93936"/>
                <a:gd name="connsiteX16" fmla="*/ 65217 w 1075613"/>
                <a:gd name="connsiteY16" fmla="*/ 12596 h 93936"/>
                <a:gd name="connsiteX17" fmla="*/ 64898 w 1075613"/>
                <a:gd name="connsiteY17" fmla="*/ 12596 h 93936"/>
                <a:gd name="connsiteX18" fmla="*/ 40018 w 1075613"/>
                <a:gd name="connsiteY18" fmla="*/ 12596 h 93936"/>
                <a:gd name="connsiteX19" fmla="*/ 39216 w 1075613"/>
                <a:gd name="connsiteY19" fmla="*/ 13201 h 93936"/>
                <a:gd name="connsiteX20" fmla="*/ 39216 w 1075613"/>
                <a:gd name="connsiteY20" fmla="*/ 13399 h 93936"/>
                <a:gd name="connsiteX21" fmla="*/ 39216 w 1075613"/>
                <a:gd name="connsiteY21" fmla="*/ 91114 h 93936"/>
                <a:gd name="connsiteX22" fmla="*/ 38197 w 1075613"/>
                <a:gd name="connsiteY22" fmla="*/ 92452 h 93936"/>
                <a:gd name="connsiteX23" fmla="*/ 37878 w 1075613"/>
                <a:gd name="connsiteY23" fmla="*/ 92452 h 93936"/>
                <a:gd name="connsiteX24" fmla="*/ 133116 w 1075613"/>
                <a:gd name="connsiteY24" fmla="*/ 92452 h 93936"/>
                <a:gd name="connsiteX25" fmla="*/ 131377 w 1075613"/>
                <a:gd name="connsiteY25" fmla="*/ 91114 h 93936"/>
                <a:gd name="connsiteX26" fmla="*/ 113186 w 1075613"/>
                <a:gd name="connsiteY26" fmla="*/ 53929 h 93936"/>
                <a:gd name="connsiteX27" fmla="*/ 93122 w 1075613"/>
                <a:gd name="connsiteY27" fmla="*/ 53929 h 93936"/>
                <a:gd name="connsiteX28" fmla="*/ 92319 w 1075613"/>
                <a:gd name="connsiteY28" fmla="*/ 54533 h 93936"/>
                <a:gd name="connsiteX29" fmla="*/ 92319 w 1075613"/>
                <a:gd name="connsiteY29" fmla="*/ 54731 h 93936"/>
                <a:gd name="connsiteX30" fmla="*/ 92319 w 1075613"/>
                <a:gd name="connsiteY30" fmla="*/ 91114 h 93936"/>
                <a:gd name="connsiteX31" fmla="*/ 91300 w 1075613"/>
                <a:gd name="connsiteY31" fmla="*/ 92452 h 93936"/>
                <a:gd name="connsiteX32" fmla="*/ 90981 w 1075613"/>
                <a:gd name="connsiteY32" fmla="*/ 92452 h 93936"/>
                <a:gd name="connsiteX33" fmla="*/ 81767 w 1075613"/>
                <a:gd name="connsiteY33" fmla="*/ 92452 h 93936"/>
                <a:gd name="connsiteX34" fmla="*/ 80429 w 1075613"/>
                <a:gd name="connsiteY34" fmla="*/ 91433 h 93936"/>
                <a:gd name="connsiteX35" fmla="*/ 80429 w 1075613"/>
                <a:gd name="connsiteY35" fmla="*/ 91114 h 93936"/>
                <a:gd name="connsiteX36" fmla="*/ 80429 w 1075613"/>
                <a:gd name="connsiteY36" fmla="*/ 2832 h 93936"/>
                <a:gd name="connsiteX37" fmla="*/ 81448 w 1075613"/>
                <a:gd name="connsiteY37" fmla="*/ 1494 h 93936"/>
                <a:gd name="connsiteX38" fmla="*/ 81767 w 1075613"/>
                <a:gd name="connsiteY38" fmla="*/ 1494 h 93936"/>
                <a:gd name="connsiteX39" fmla="*/ 114672 w 1075613"/>
                <a:gd name="connsiteY39" fmla="*/ 1494 h 93936"/>
                <a:gd name="connsiteX40" fmla="*/ 126309 w 1075613"/>
                <a:gd name="connsiteY40" fmla="*/ 3367 h 93936"/>
                <a:gd name="connsiteX41" fmla="*/ 135271 w 1075613"/>
                <a:gd name="connsiteY41" fmla="*/ 8649 h 93936"/>
                <a:gd name="connsiteX42" fmla="*/ 141077 w 1075613"/>
                <a:gd name="connsiteY42" fmla="*/ 16951 h 93936"/>
                <a:gd name="connsiteX43" fmla="*/ 143157 w 1075613"/>
                <a:gd name="connsiteY43" fmla="*/ 27717 h 93936"/>
                <a:gd name="connsiteX44" fmla="*/ 138342 w 1075613"/>
                <a:gd name="connsiteY44" fmla="*/ 43367 h 93936"/>
                <a:gd name="connsiteX45" fmla="*/ 125233 w 1075613"/>
                <a:gd name="connsiteY45" fmla="*/ 52463 h 93936"/>
                <a:gd name="connsiteX46" fmla="*/ 144620 w 1075613"/>
                <a:gd name="connsiteY46" fmla="*/ 90847 h 93936"/>
                <a:gd name="connsiteX47" fmla="*/ 144753 w 1075613"/>
                <a:gd name="connsiteY47" fmla="*/ 91982 h 93936"/>
                <a:gd name="connsiteX48" fmla="*/ 143817 w 1075613"/>
                <a:gd name="connsiteY48" fmla="*/ 92452 h 93936"/>
                <a:gd name="connsiteX49" fmla="*/ 114390 w 1075613"/>
                <a:gd name="connsiteY49" fmla="*/ 42826 h 93936"/>
                <a:gd name="connsiteX50" fmla="*/ 126829 w 1075613"/>
                <a:gd name="connsiteY50" fmla="*/ 38882 h 93936"/>
                <a:gd name="connsiteX51" fmla="*/ 131244 w 1075613"/>
                <a:gd name="connsiteY51" fmla="*/ 27711 h 93936"/>
                <a:gd name="connsiteX52" fmla="*/ 126829 w 1075613"/>
                <a:gd name="connsiteY52" fmla="*/ 16541 h 93936"/>
                <a:gd name="connsiteX53" fmla="*/ 114390 w 1075613"/>
                <a:gd name="connsiteY53" fmla="*/ 12596 h 93936"/>
                <a:gd name="connsiteX54" fmla="*/ 93122 w 1075613"/>
                <a:gd name="connsiteY54" fmla="*/ 12596 h 93936"/>
                <a:gd name="connsiteX55" fmla="*/ 92319 w 1075613"/>
                <a:gd name="connsiteY55" fmla="*/ 13201 h 93936"/>
                <a:gd name="connsiteX56" fmla="*/ 92319 w 1075613"/>
                <a:gd name="connsiteY56" fmla="*/ 13399 h 93936"/>
                <a:gd name="connsiteX57" fmla="*/ 92319 w 1075613"/>
                <a:gd name="connsiteY57" fmla="*/ 42024 h 93936"/>
                <a:gd name="connsiteX58" fmla="*/ 92923 w 1075613"/>
                <a:gd name="connsiteY58" fmla="*/ 42826 h 93936"/>
                <a:gd name="connsiteX59" fmla="*/ 93122 w 1075613"/>
                <a:gd name="connsiteY59" fmla="*/ 42826 h 93936"/>
                <a:gd name="connsiteX60" fmla="*/ 186487 w 1075613"/>
                <a:gd name="connsiteY60" fmla="*/ 2832 h 93936"/>
                <a:gd name="connsiteX61" fmla="*/ 188092 w 1075613"/>
                <a:gd name="connsiteY61" fmla="*/ 1494 h 93936"/>
                <a:gd name="connsiteX62" fmla="*/ 196802 w 1075613"/>
                <a:gd name="connsiteY62" fmla="*/ 1494 h 93936"/>
                <a:gd name="connsiteX63" fmla="*/ 198540 w 1075613"/>
                <a:gd name="connsiteY63" fmla="*/ 2832 h 93936"/>
                <a:gd name="connsiteX64" fmla="*/ 229707 w 1075613"/>
                <a:gd name="connsiteY64" fmla="*/ 91114 h 93936"/>
                <a:gd name="connsiteX65" fmla="*/ 228771 w 1075613"/>
                <a:gd name="connsiteY65" fmla="*/ 92452 h 93936"/>
                <a:gd name="connsiteX66" fmla="*/ 219392 w 1075613"/>
                <a:gd name="connsiteY66" fmla="*/ 92452 h 93936"/>
                <a:gd name="connsiteX67" fmla="*/ 217654 w 1075613"/>
                <a:gd name="connsiteY67" fmla="*/ 91114 h 93936"/>
                <a:gd name="connsiteX68" fmla="*/ 210698 w 1075613"/>
                <a:gd name="connsiteY68" fmla="*/ 71318 h 93936"/>
                <a:gd name="connsiteX69" fmla="*/ 173914 w 1075613"/>
                <a:gd name="connsiteY69" fmla="*/ 71318 h 93936"/>
                <a:gd name="connsiteX70" fmla="*/ 166958 w 1075613"/>
                <a:gd name="connsiteY70" fmla="*/ 91114 h 93936"/>
                <a:gd name="connsiteX71" fmla="*/ 165219 w 1075613"/>
                <a:gd name="connsiteY71" fmla="*/ 92452 h 93936"/>
                <a:gd name="connsiteX72" fmla="*/ 155856 w 1075613"/>
                <a:gd name="connsiteY72" fmla="*/ 92452 h 93936"/>
                <a:gd name="connsiteX73" fmla="*/ 154919 w 1075613"/>
                <a:gd name="connsiteY73" fmla="*/ 91114 h 93936"/>
                <a:gd name="connsiteX74" fmla="*/ 206819 w 1075613"/>
                <a:gd name="connsiteY74" fmla="*/ 60349 h 93936"/>
                <a:gd name="connsiteX75" fmla="*/ 192506 w 1075613"/>
                <a:gd name="connsiteY75" fmla="*/ 19017 h 93936"/>
                <a:gd name="connsiteX76" fmla="*/ 192239 w 1075613"/>
                <a:gd name="connsiteY76" fmla="*/ 19017 h 93936"/>
                <a:gd name="connsiteX77" fmla="*/ 177793 w 1075613"/>
                <a:gd name="connsiteY77" fmla="*/ 60349 h 93936"/>
                <a:gd name="connsiteX78" fmla="*/ 244138 w 1075613"/>
                <a:gd name="connsiteY78" fmla="*/ 2832 h 93936"/>
                <a:gd name="connsiteX79" fmla="*/ 245157 w 1075613"/>
                <a:gd name="connsiteY79" fmla="*/ 1494 h 93936"/>
                <a:gd name="connsiteX80" fmla="*/ 245476 w 1075613"/>
                <a:gd name="connsiteY80" fmla="*/ 1494 h 93936"/>
                <a:gd name="connsiteX81" fmla="*/ 254037 w 1075613"/>
                <a:gd name="connsiteY81" fmla="*/ 1494 h 93936"/>
                <a:gd name="connsiteX82" fmla="*/ 256311 w 1075613"/>
                <a:gd name="connsiteY82" fmla="*/ 2832 h 93936"/>
                <a:gd name="connsiteX83" fmla="*/ 297509 w 1075613"/>
                <a:gd name="connsiteY83" fmla="*/ 71050 h 93936"/>
                <a:gd name="connsiteX84" fmla="*/ 298044 w 1075613"/>
                <a:gd name="connsiteY84" fmla="*/ 71050 h 93936"/>
                <a:gd name="connsiteX85" fmla="*/ 298044 w 1075613"/>
                <a:gd name="connsiteY85" fmla="*/ 2832 h 93936"/>
                <a:gd name="connsiteX86" fmla="*/ 299064 w 1075613"/>
                <a:gd name="connsiteY86" fmla="*/ 1494 h 93936"/>
                <a:gd name="connsiteX87" fmla="*/ 299382 w 1075613"/>
                <a:gd name="connsiteY87" fmla="*/ 1494 h 93936"/>
                <a:gd name="connsiteX88" fmla="*/ 307809 w 1075613"/>
                <a:gd name="connsiteY88" fmla="*/ 1494 h 93936"/>
                <a:gd name="connsiteX89" fmla="*/ 309146 w 1075613"/>
                <a:gd name="connsiteY89" fmla="*/ 2513 h 93936"/>
                <a:gd name="connsiteX90" fmla="*/ 309146 w 1075613"/>
                <a:gd name="connsiteY90" fmla="*/ 2832 h 93936"/>
                <a:gd name="connsiteX91" fmla="*/ 309146 w 1075613"/>
                <a:gd name="connsiteY91" fmla="*/ 91114 h 93936"/>
                <a:gd name="connsiteX92" fmla="*/ 308127 w 1075613"/>
                <a:gd name="connsiteY92" fmla="*/ 92452 h 93936"/>
                <a:gd name="connsiteX93" fmla="*/ 307809 w 1075613"/>
                <a:gd name="connsiteY93" fmla="*/ 92452 h 93936"/>
                <a:gd name="connsiteX94" fmla="*/ 299248 w 1075613"/>
                <a:gd name="connsiteY94" fmla="*/ 92452 h 93936"/>
                <a:gd name="connsiteX95" fmla="*/ 296974 w 1075613"/>
                <a:gd name="connsiteY95" fmla="*/ 91114 h 93936"/>
                <a:gd name="connsiteX96" fmla="*/ 255657 w 1075613"/>
                <a:gd name="connsiteY96" fmla="*/ 23164 h 93936"/>
                <a:gd name="connsiteX97" fmla="*/ 255240 w 1075613"/>
                <a:gd name="connsiteY97" fmla="*/ 23164 h 93936"/>
                <a:gd name="connsiteX98" fmla="*/ 255240 w 1075613"/>
                <a:gd name="connsiteY98" fmla="*/ 91114 h 93936"/>
                <a:gd name="connsiteX99" fmla="*/ 254222 w 1075613"/>
                <a:gd name="connsiteY99" fmla="*/ 92452 h 93936"/>
                <a:gd name="connsiteX100" fmla="*/ 253903 w 1075613"/>
                <a:gd name="connsiteY100" fmla="*/ 92452 h 93936"/>
                <a:gd name="connsiteX101" fmla="*/ 245476 w 1075613"/>
                <a:gd name="connsiteY101" fmla="*/ 92452 h 93936"/>
                <a:gd name="connsiteX102" fmla="*/ 244138 w 1075613"/>
                <a:gd name="connsiteY102" fmla="*/ 91433 h 93936"/>
                <a:gd name="connsiteX103" fmla="*/ 244138 w 1075613"/>
                <a:gd name="connsiteY103" fmla="*/ 91114 h 93936"/>
                <a:gd name="connsiteX104" fmla="*/ 359173 w 1075613"/>
                <a:gd name="connsiteY104" fmla="*/ 93923 h 93936"/>
                <a:gd name="connsiteX105" fmla="*/ 349661 w 1075613"/>
                <a:gd name="connsiteY105" fmla="*/ 92987 h 93936"/>
                <a:gd name="connsiteX106" fmla="*/ 340833 w 1075613"/>
                <a:gd name="connsiteY106" fmla="*/ 90511 h 93936"/>
                <a:gd name="connsiteX107" fmla="*/ 333238 w 1075613"/>
                <a:gd name="connsiteY107" fmla="*/ 86899 h 93936"/>
                <a:gd name="connsiteX108" fmla="*/ 327219 w 1075613"/>
                <a:gd name="connsiteY108" fmla="*/ 82554 h 93936"/>
                <a:gd name="connsiteX109" fmla="*/ 327023 w 1075613"/>
                <a:gd name="connsiteY109" fmla="*/ 80617 h 93936"/>
                <a:gd name="connsiteX110" fmla="*/ 327085 w 1075613"/>
                <a:gd name="connsiteY110" fmla="*/ 80547 h 93936"/>
                <a:gd name="connsiteX111" fmla="*/ 332971 w 1075613"/>
                <a:gd name="connsiteY111" fmla="*/ 73592 h 93936"/>
                <a:gd name="connsiteX112" fmla="*/ 334680 w 1075613"/>
                <a:gd name="connsiteY112" fmla="*/ 73317 h 93936"/>
                <a:gd name="connsiteX113" fmla="*/ 334843 w 1075613"/>
                <a:gd name="connsiteY113" fmla="*/ 73458 h 93936"/>
                <a:gd name="connsiteX114" fmla="*/ 345812 w 1075613"/>
                <a:gd name="connsiteY114" fmla="*/ 79878 h 93936"/>
                <a:gd name="connsiteX115" fmla="*/ 360258 w 1075613"/>
                <a:gd name="connsiteY115" fmla="*/ 82821 h 93936"/>
                <a:gd name="connsiteX116" fmla="*/ 375037 w 1075613"/>
                <a:gd name="connsiteY116" fmla="*/ 78541 h 93936"/>
                <a:gd name="connsiteX117" fmla="*/ 380322 w 1075613"/>
                <a:gd name="connsiteY117" fmla="*/ 67305 h 93936"/>
                <a:gd name="connsiteX118" fmla="*/ 379386 w 1075613"/>
                <a:gd name="connsiteY118" fmla="*/ 61954 h 93936"/>
                <a:gd name="connsiteX119" fmla="*/ 376241 w 1075613"/>
                <a:gd name="connsiteY119" fmla="*/ 57674 h 93936"/>
                <a:gd name="connsiteX120" fmla="*/ 370424 w 1075613"/>
                <a:gd name="connsiteY120" fmla="*/ 54464 h 93936"/>
                <a:gd name="connsiteX121" fmla="*/ 361328 w 1075613"/>
                <a:gd name="connsiteY121" fmla="*/ 52457 h 93936"/>
                <a:gd name="connsiteX122" fmla="*/ 356780 w 1075613"/>
                <a:gd name="connsiteY122" fmla="*/ 51788 h 93936"/>
                <a:gd name="connsiteX123" fmla="*/ 330028 w 1075613"/>
                <a:gd name="connsiteY123" fmla="*/ 26641 h 93936"/>
                <a:gd name="connsiteX124" fmla="*/ 332109 w 1075613"/>
                <a:gd name="connsiteY124" fmla="*/ 15673 h 93936"/>
                <a:gd name="connsiteX125" fmla="*/ 338054 w 1075613"/>
                <a:gd name="connsiteY125" fmla="*/ 7246 h 93936"/>
                <a:gd name="connsiteX126" fmla="*/ 347417 w 1075613"/>
                <a:gd name="connsiteY126" fmla="*/ 1895 h 93936"/>
                <a:gd name="connsiteX127" fmla="*/ 359723 w 1075613"/>
                <a:gd name="connsiteY127" fmla="*/ 23 h 93936"/>
                <a:gd name="connsiteX128" fmla="*/ 375040 w 1075613"/>
                <a:gd name="connsiteY128" fmla="*/ 2362 h 93936"/>
                <a:gd name="connsiteX129" fmla="*/ 387397 w 1075613"/>
                <a:gd name="connsiteY129" fmla="*/ 8450 h 93936"/>
                <a:gd name="connsiteX130" fmla="*/ 387855 w 1075613"/>
                <a:gd name="connsiteY130" fmla="*/ 10067 h 93936"/>
                <a:gd name="connsiteX131" fmla="*/ 387664 w 1075613"/>
                <a:gd name="connsiteY131" fmla="*/ 10322 h 93936"/>
                <a:gd name="connsiteX132" fmla="*/ 383116 w 1075613"/>
                <a:gd name="connsiteY132" fmla="*/ 17679 h 93936"/>
                <a:gd name="connsiteX133" fmla="*/ 381300 w 1075613"/>
                <a:gd name="connsiteY133" fmla="*/ 17990 h 93936"/>
                <a:gd name="connsiteX134" fmla="*/ 381244 w 1075613"/>
                <a:gd name="connsiteY134" fmla="*/ 17947 h 93936"/>
                <a:gd name="connsiteX135" fmla="*/ 370409 w 1075613"/>
                <a:gd name="connsiteY135" fmla="*/ 12790 h 93936"/>
                <a:gd name="connsiteX136" fmla="*/ 359307 w 1075613"/>
                <a:gd name="connsiteY136" fmla="*/ 11119 h 93936"/>
                <a:gd name="connsiteX137" fmla="*/ 346466 w 1075613"/>
                <a:gd name="connsiteY137" fmla="*/ 15197 h 93936"/>
                <a:gd name="connsiteX138" fmla="*/ 342052 w 1075613"/>
                <a:gd name="connsiteY138" fmla="*/ 25830 h 93936"/>
                <a:gd name="connsiteX139" fmla="*/ 346332 w 1075613"/>
                <a:gd name="connsiteY139" fmla="*/ 35259 h 93936"/>
                <a:gd name="connsiteX140" fmla="*/ 361180 w 1075613"/>
                <a:gd name="connsiteY140" fmla="*/ 40434 h 93936"/>
                <a:gd name="connsiteX141" fmla="*/ 365594 w 1075613"/>
                <a:gd name="connsiteY141" fmla="*/ 41102 h 93936"/>
                <a:gd name="connsiteX142" fmla="*/ 385658 w 1075613"/>
                <a:gd name="connsiteY142" fmla="*/ 49128 h 93936"/>
                <a:gd name="connsiteX143" fmla="*/ 392346 w 1075613"/>
                <a:gd name="connsiteY143" fmla="*/ 66517 h 93936"/>
                <a:gd name="connsiteX144" fmla="*/ 390265 w 1075613"/>
                <a:gd name="connsiteY144" fmla="*/ 77551 h 93936"/>
                <a:gd name="connsiteX145" fmla="*/ 383979 w 1075613"/>
                <a:gd name="connsiteY145" fmla="*/ 86171 h 93936"/>
                <a:gd name="connsiteX146" fmla="*/ 373545 w 1075613"/>
                <a:gd name="connsiteY146" fmla="*/ 91857 h 93936"/>
                <a:gd name="connsiteX147" fmla="*/ 359173 w 1075613"/>
                <a:gd name="connsiteY147" fmla="*/ 93923 h 93936"/>
                <a:gd name="connsiteX148" fmla="*/ 412009 w 1075613"/>
                <a:gd name="connsiteY148" fmla="*/ 92452 h 93936"/>
                <a:gd name="connsiteX149" fmla="*/ 410671 w 1075613"/>
                <a:gd name="connsiteY149" fmla="*/ 91433 h 93936"/>
                <a:gd name="connsiteX150" fmla="*/ 410671 w 1075613"/>
                <a:gd name="connsiteY150" fmla="*/ 91114 h 93936"/>
                <a:gd name="connsiteX151" fmla="*/ 410671 w 1075613"/>
                <a:gd name="connsiteY151" fmla="*/ 2832 h 93936"/>
                <a:gd name="connsiteX152" fmla="*/ 411691 w 1075613"/>
                <a:gd name="connsiteY152" fmla="*/ 1494 h 93936"/>
                <a:gd name="connsiteX153" fmla="*/ 412009 w 1075613"/>
                <a:gd name="connsiteY153" fmla="*/ 1494 h 93936"/>
                <a:gd name="connsiteX154" fmla="*/ 444379 w 1075613"/>
                <a:gd name="connsiteY154" fmla="*/ 1494 h 93936"/>
                <a:gd name="connsiteX155" fmla="*/ 456284 w 1075613"/>
                <a:gd name="connsiteY155" fmla="*/ 3435 h 93936"/>
                <a:gd name="connsiteX156" fmla="*/ 465380 w 1075613"/>
                <a:gd name="connsiteY156" fmla="*/ 8919 h 93936"/>
                <a:gd name="connsiteX157" fmla="*/ 471200 w 1075613"/>
                <a:gd name="connsiteY157" fmla="*/ 17480 h 93936"/>
                <a:gd name="connsiteX158" fmla="*/ 473281 w 1075613"/>
                <a:gd name="connsiteY158" fmla="*/ 28651 h 93936"/>
                <a:gd name="connsiteX159" fmla="*/ 471200 w 1075613"/>
                <a:gd name="connsiteY159" fmla="*/ 39818 h 93936"/>
                <a:gd name="connsiteX160" fmla="*/ 465380 w 1075613"/>
                <a:gd name="connsiteY160" fmla="*/ 48379 h 93936"/>
                <a:gd name="connsiteX161" fmla="*/ 456284 w 1075613"/>
                <a:gd name="connsiteY161" fmla="*/ 53863 h 93936"/>
                <a:gd name="connsiteX162" fmla="*/ 444379 w 1075613"/>
                <a:gd name="connsiteY162" fmla="*/ 55804 h 93936"/>
                <a:gd name="connsiteX163" fmla="*/ 423379 w 1075613"/>
                <a:gd name="connsiteY163" fmla="*/ 55804 h 93936"/>
                <a:gd name="connsiteX164" fmla="*/ 422576 w 1075613"/>
                <a:gd name="connsiteY164" fmla="*/ 56409 h 93936"/>
                <a:gd name="connsiteX165" fmla="*/ 422576 w 1075613"/>
                <a:gd name="connsiteY165" fmla="*/ 56607 h 93936"/>
                <a:gd name="connsiteX166" fmla="*/ 422576 w 1075613"/>
                <a:gd name="connsiteY166" fmla="*/ 91114 h 93936"/>
                <a:gd name="connsiteX167" fmla="*/ 421557 w 1075613"/>
                <a:gd name="connsiteY167" fmla="*/ 92452 h 93936"/>
                <a:gd name="connsiteX168" fmla="*/ 421239 w 1075613"/>
                <a:gd name="connsiteY168" fmla="*/ 92452 h 93936"/>
                <a:gd name="connsiteX169" fmla="*/ 443710 w 1075613"/>
                <a:gd name="connsiteY169" fmla="*/ 44699 h 93936"/>
                <a:gd name="connsiteX170" fmla="*/ 456819 w 1075613"/>
                <a:gd name="connsiteY170" fmla="*/ 40419 h 93936"/>
                <a:gd name="connsiteX171" fmla="*/ 461501 w 1075613"/>
                <a:gd name="connsiteY171" fmla="*/ 28648 h 93936"/>
                <a:gd name="connsiteX172" fmla="*/ 456819 w 1075613"/>
                <a:gd name="connsiteY172" fmla="*/ 16877 h 93936"/>
                <a:gd name="connsiteX173" fmla="*/ 443710 w 1075613"/>
                <a:gd name="connsiteY173" fmla="*/ 12596 h 93936"/>
                <a:gd name="connsiteX174" fmla="*/ 423379 w 1075613"/>
                <a:gd name="connsiteY174" fmla="*/ 12596 h 93936"/>
                <a:gd name="connsiteX175" fmla="*/ 422576 w 1075613"/>
                <a:gd name="connsiteY175" fmla="*/ 13201 h 93936"/>
                <a:gd name="connsiteX176" fmla="*/ 422576 w 1075613"/>
                <a:gd name="connsiteY176" fmla="*/ 13399 h 93936"/>
                <a:gd name="connsiteX177" fmla="*/ 422576 w 1075613"/>
                <a:gd name="connsiteY177" fmla="*/ 43897 h 93936"/>
                <a:gd name="connsiteX178" fmla="*/ 423180 w 1075613"/>
                <a:gd name="connsiteY178" fmla="*/ 44699 h 93936"/>
                <a:gd name="connsiteX179" fmla="*/ 423379 w 1075613"/>
                <a:gd name="connsiteY179" fmla="*/ 44699 h 93936"/>
                <a:gd name="connsiteX180" fmla="*/ 519955 w 1075613"/>
                <a:gd name="connsiteY180" fmla="*/ 93923 h 93936"/>
                <a:gd name="connsiteX181" fmla="*/ 500491 w 1075613"/>
                <a:gd name="connsiteY181" fmla="*/ 88573 h 93936"/>
                <a:gd name="connsiteX182" fmla="*/ 489053 w 1075613"/>
                <a:gd name="connsiteY182" fmla="*/ 72655 h 93936"/>
                <a:gd name="connsiteX183" fmla="*/ 487917 w 1075613"/>
                <a:gd name="connsiteY183" fmla="*/ 68494 h 93936"/>
                <a:gd name="connsiteX184" fmla="*/ 487183 w 1075613"/>
                <a:gd name="connsiteY184" fmla="*/ 63479 h 93936"/>
                <a:gd name="connsiteX185" fmla="*/ 486782 w 1075613"/>
                <a:gd name="connsiteY185" fmla="*/ 56589 h 93936"/>
                <a:gd name="connsiteX186" fmla="*/ 486648 w 1075613"/>
                <a:gd name="connsiteY186" fmla="*/ 46958 h 93936"/>
                <a:gd name="connsiteX187" fmla="*/ 486782 w 1075613"/>
                <a:gd name="connsiteY187" fmla="*/ 37327 h 93936"/>
                <a:gd name="connsiteX188" fmla="*/ 487183 w 1075613"/>
                <a:gd name="connsiteY188" fmla="*/ 30440 h 93936"/>
                <a:gd name="connsiteX189" fmla="*/ 487917 w 1075613"/>
                <a:gd name="connsiteY189" fmla="*/ 25426 h 93936"/>
                <a:gd name="connsiteX190" fmla="*/ 489053 w 1075613"/>
                <a:gd name="connsiteY190" fmla="*/ 21264 h 93936"/>
                <a:gd name="connsiteX191" fmla="*/ 500494 w 1075613"/>
                <a:gd name="connsiteY191" fmla="*/ 5358 h 93936"/>
                <a:gd name="connsiteX192" fmla="*/ 539552 w 1075613"/>
                <a:gd name="connsiteY192" fmla="*/ 5358 h 93936"/>
                <a:gd name="connsiteX193" fmla="*/ 550990 w 1075613"/>
                <a:gd name="connsiteY193" fmla="*/ 21276 h 93936"/>
                <a:gd name="connsiteX194" fmla="*/ 552126 w 1075613"/>
                <a:gd name="connsiteY194" fmla="*/ 25437 h 93936"/>
                <a:gd name="connsiteX195" fmla="*/ 552863 w 1075613"/>
                <a:gd name="connsiteY195" fmla="*/ 30455 h 93936"/>
                <a:gd name="connsiteX196" fmla="*/ 553264 w 1075613"/>
                <a:gd name="connsiteY196" fmla="*/ 37342 h 93936"/>
                <a:gd name="connsiteX197" fmla="*/ 553398 w 1075613"/>
                <a:gd name="connsiteY197" fmla="*/ 46973 h 93936"/>
                <a:gd name="connsiteX198" fmla="*/ 553264 w 1075613"/>
                <a:gd name="connsiteY198" fmla="*/ 56604 h 93936"/>
                <a:gd name="connsiteX199" fmla="*/ 552863 w 1075613"/>
                <a:gd name="connsiteY199" fmla="*/ 63494 h 93936"/>
                <a:gd name="connsiteX200" fmla="*/ 552126 w 1075613"/>
                <a:gd name="connsiteY200" fmla="*/ 68512 h 93936"/>
                <a:gd name="connsiteX201" fmla="*/ 550990 w 1075613"/>
                <a:gd name="connsiteY201" fmla="*/ 72673 h 93936"/>
                <a:gd name="connsiteX202" fmla="*/ 539552 w 1075613"/>
                <a:gd name="connsiteY202" fmla="*/ 88591 h 93936"/>
                <a:gd name="connsiteX203" fmla="*/ 519955 w 1075613"/>
                <a:gd name="connsiteY203" fmla="*/ 93923 h 93936"/>
                <a:gd name="connsiteX204" fmla="*/ 519955 w 1075613"/>
                <a:gd name="connsiteY204" fmla="*/ 82821 h 93936"/>
                <a:gd name="connsiteX205" fmla="*/ 532394 w 1075613"/>
                <a:gd name="connsiteY205" fmla="*/ 79343 h 93936"/>
                <a:gd name="connsiteX206" fmla="*/ 539350 w 1075613"/>
                <a:gd name="connsiteY206" fmla="*/ 69311 h 93936"/>
                <a:gd name="connsiteX207" fmla="*/ 540087 w 1075613"/>
                <a:gd name="connsiteY207" fmla="*/ 66300 h 93936"/>
                <a:gd name="connsiteX208" fmla="*/ 540756 w 1075613"/>
                <a:gd name="connsiteY208" fmla="*/ 61821 h 93936"/>
                <a:gd name="connsiteX209" fmla="*/ 541226 w 1075613"/>
                <a:gd name="connsiteY209" fmla="*/ 55534 h 93936"/>
                <a:gd name="connsiteX210" fmla="*/ 541359 w 1075613"/>
                <a:gd name="connsiteY210" fmla="*/ 46973 h 93936"/>
                <a:gd name="connsiteX211" fmla="*/ 541226 w 1075613"/>
                <a:gd name="connsiteY211" fmla="*/ 38412 h 93936"/>
                <a:gd name="connsiteX212" fmla="*/ 540756 w 1075613"/>
                <a:gd name="connsiteY212" fmla="*/ 32126 h 93936"/>
                <a:gd name="connsiteX213" fmla="*/ 540087 w 1075613"/>
                <a:gd name="connsiteY213" fmla="*/ 27646 h 93936"/>
                <a:gd name="connsiteX214" fmla="*/ 539350 w 1075613"/>
                <a:gd name="connsiteY214" fmla="*/ 24635 h 93936"/>
                <a:gd name="connsiteX215" fmla="*/ 532394 w 1075613"/>
                <a:gd name="connsiteY215" fmla="*/ 14603 h 93936"/>
                <a:gd name="connsiteX216" fmla="*/ 519955 w 1075613"/>
                <a:gd name="connsiteY216" fmla="*/ 11125 h 93936"/>
                <a:gd name="connsiteX217" fmla="*/ 507580 w 1075613"/>
                <a:gd name="connsiteY217" fmla="*/ 14603 h 93936"/>
                <a:gd name="connsiteX218" fmla="*/ 500693 w 1075613"/>
                <a:gd name="connsiteY218" fmla="*/ 24635 h 93936"/>
                <a:gd name="connsiteX219" fmla="*/ 499959 w 1075613"/>
                <a:gd name="connsiteY219" fmla="*/ 27646 h 93936"/>
                <a:gd name="connsiteX220" fmla="*/ 499290 w 1075613"/>
                <a:gd name="connsiteY220" fmla="*/ 32126 h 93936"/>
                <a:gd name="connsiteX221" fmla="*/ 498820 w 1075613"/>
                <a:gd name="connsiteY221" fmla="*/ 38412 h 93936"/>
                <a:gd name="connsiteX222" fmla="*/ 498686 w 1075613"/>
                <a:gd name="connsiteY222" fmla="*/ 46973 h 93936"/>
                <a:gd name="connsiteX223" fmla="*/ 498820 w 1075613"/>
                <a:gd name="connsiteY223" fmla="*/ 55534 h 93936"/>
                <a:gd name="connsiteX224" fmla="*/ 499290 w 1075613"/>
                <a:gd name="connsiteY224" fmla="*/ 61821 h 93936"/>
                <a:gd name="connsiteX225" fmla="*/ 499959 w 1075613"/>
                <a:gd name="connsiteY225" fmla="*/ 66300 h 93936"/>
                <a:gd name="connsiteX226" fmla="*/ 500693 w 1075613"/>
                <a:gd name="connsiteY226" fmla="*/ 69311 h 93936"/>
                <a:gd name="connsiteX227" fmla="*/ 507580 w 1075613"/>
                <a:gd name="connsiteY227" fmla="*/ 79343 h 93936"/>
                <a:gd name="connsiteX228" fmla="*/ 519955 w 1075613"/>
                <a:gd name="connsiteY228" fmla="*/ 82821 h 93936"/>
                <a:gd name="connsiteX229" fmla="*/ 625359 w 1075613"/>
                <a:gd name="connsiteY229" fmla="*/ 92452 h 93936"/>
                <a:gd name="connsiteX230" fmla="*/ 623620 w 1075613"/>
                <a:gd name="connsiteY230" fmla="*/ 91114 h 93936"/>
                <a:gd name="connsiteX231" fmla="*/ 605428 w 1075613"/>
                <a:gd name="connsiteY231" fmla="*/ 53929 h 93936"/>
                <a:gd name="connsiteX232" fmla="*/ 585364 w 1075613"/>
                <a:gd name="connsiteY232" fmla="*/ 53929 h 93936"/>
                <a:gd name="connsiteX233" fmla="*/ 584561 w 1075613"/>
                <a:gd name="connsiteY233" fmla="*/ 54533 h 93936"/>
                <a:gd name="connsiteX234" fmla="*/ 584561 w 1075613"/>
                <a:gd name="connsiteY234" fmla="*/ 54731 h 93936"/>
                <a:gd name="connsiteX235" fmla="*/ 584561 w 1075613"/>
                <a:gd name="connsiteY235" fmla="*/ 91114 h 93936"/>
                <a:gd name="connsiteX236" fmla="*/ 583542 w 1075613"/>
                <a:gd name="connsiteY236" fmla="*/ 92452 h 93936"/>
                <a:gd name="connsiteX237" fmla="*/ 583224 w 1075613"/>
                <a:gd name="connsiteY237" fmla="*/ 92452 h 93936"/>
                <a:gd name="connsiteX238" fmla="*/ 573994 w 1075613"/>
                <a:gd name="connsiteY238" fmla="*/ 92452 h 93936"/>
                <a:gd name="connsiteX239" fmla="*/ 572657 w 1075613"/>
                <a:gd name="connsiteY239" fmla="*/ 91433 h 93936"/>
                <a:gd name="connsiteX240" fmla="*/ 572657 w 1075613"/>
                <a:gd name="connsiteY240" fmla="*/ 91114 h 93936"/>
                <a:gd name="connsiteX241" fmla="*/ 572657 w 1075613"/>
                <a:gd name="connsiteY241" fmla="*/ 2832 h 93936"/>
                <a:gd name="connsiteX242" fmla="*/ 573676 w 1075613"/>
                <a:gd name="connsiteY242" fmla="*/ 1494 h 93936"/>
                <a:gd name="connsiteX243" fmla="*/ 573994 w 1075613"/>
                <a:gd name="connsiteY243" fmla="*/ 1494 h 93936"/>
                <a:gd name="connsiteX244" fmla="*/ 606900 w 1075613"/>
                <a:gd name="connsiteY244" fmla="*/ 1494 h 93936"/>
                <a:gd name="connsiteX245" fmla="*/ 618537 w 1075613"/>
                <a:gd name="connsiteY245" fmla="*/ 3367 h 93936"/>
                <a:gd name="connsiteX246" fmla="*/ 627499 w 1075613"/>
                <a:gd name="connsiteY246" fmla="*/ 8652 h 93936"/>
                <a:gd name="connsiteX247" fmla="*/ 633319 w 1075613"/>
                <a:gd name="connsiteY247" fmla="*/ 16945 h 93936"/>
                <a:gd name="connsiteX248" fmla="*/ 635400 w 1075613"/>
                <a:gd name="connsiteY248" fmla="*/ 27711 h 93936"/>
                <a:gd name="connsiteX249" fmla="*/ 630584 w 1075613"/>
                <a:gd name="connsiteY249" fmla="*/ 43361 h 93936"/>
                <a:gd name="connsiteX250" fmla="*/ 617476 w 1075613"/>
                <a:gd name="connsiteY250" fmla="*/ 52457 h 93936"/>
                <a:gd name="connsiteX251" fmla="*/ 636871 w 1075613"/>
                <a:gd name="connsiteY251" fmla="*/ 90847 h 93936"/>
                <a:gd name="connsiteX252" fmla="*/ 637005 w 1075613"/>
                <a:gd name="connsiteY252" fmla="*/ 91982 h 93936"/>
                <a:gd name="connsiteX253" fmla="*/ 636068 w 1075613"/>
                <a:gd name="connsiteY253" fmla="*/ 92452 h 93936"/>
                <a:gd name="connsiteX254" fmla="*/ 606632 w 1075613"/>
                <a:gd name="connsiteY254" fmla="*/ 42826 h 93936"/>
                <a:gd name="connsiteX255" fmla="*/ 619072 w 1075613"/>
                <a:gd name="connsiteY255" fmla="*/ 38882 h 93936"/>
                <a:gd name="connsiteX256" fmla="*/ 623486 w 1075613"/>
                <a:gd name="connsiteY256" fmla="*/ 27711 h 93936"/>
                <a:gd name="connsiteX257" fmla="*/ 619072 w 1075613"/>
                <a:gd name="connsiteY257" fmla="*/ 16544 h 93936"/>
                <a:gd name="connsiteX258" fmla="*/ 606632 w 1075613"/>
                <a:gd name="connsiteY258" fmla="*/ 12599 h 93936"/>
                <a:gd name="connsiteX259" fmla="*/ 585364 w 1075613"/>
                <a:gd name="connsiteY259" fmla="*/ 12599 h 93936"/>
                <a:gd name="connsiteX260" fmla="*/ 584561 w 1075613"/>
                <a:gd name="connsiteY260" fmla="*/ 13204 h 93936"/>
                <a:gd name="connsiteX261" fmla="*/ 584561 w 1075613"/>
                <a:gd name="connsiteY261" fmla="*/ 13402 h 93936"/>
                <a:gd name="connsiteX262" fmla="*/ 584561 w 1075613"/>
                <a:gd name="connsiteY262" fmla="*/ 42027 h 93936"/>
                <a:gd name="connsiteX263" fmla="*/ 585165 w 1075613"/>
                <a:gd name="connsiteY263" fmla="*/ 42829 h 93936"/>
                <a:gd name="connsiteX264" fmla="*/ 585364 w 1075613"/>
                <a:gd name="connsiteY264" fmla="*/ 42829 h 93936"/>
                <a:gd name="connsiteX265" fmla="*/ 674717 w 1075613"/>
                <a:gd name="connsiteY265" fmla="*/ 92452 h 93936"/>
                <a:gd name="connsiteX266" fmla="*/ 673379 w 1075613"/>
                <a:gd name="connsiteY266" fmla="*/ 91433 h 93936"/>
                <a:gd name="connsiteX267" fmla="*/ 673379 w 1075613"/>
                <a:gd name="connsiteY267" fmla="*/ 91114 h 93936"/>
                <a:gd name="connsiteX268" fmla="*/ 673379 w 1075613"/>
                <a:gd name="connsiteY268" fmla="*/ 13384 h 93936"/>
                <a:gd name="connsiteX269" fmla="*/ 672776 w 1075613"/>
                <a:gd name="connsiteY269" fmla="*/ 12581 h 93936"/>
                <a:gd name="connsiteX270" fmla="*/ 672576 w 1075613"/>
                <a:gd name="connsiteY270" fmla="*/ 12581 h 93936"/>
                <a:gd name="connsiteX271" fmla="*/ 647697 w 1075613"/>
                <a:gd name="connsiteY271" fmla="*/ 12581 h 93936"/>
                <a:gd name="connsiteX272" fmla="*/ 646359 w 1075613"/>
                <a:gd name="connsiteY272" fmla="*/ 11563 h 93936"/>
                <a:gd name="connsiteX273" fmla="*/ 646359 w 1075613"/>
                <a:gd name="connsiteY273" fmla="*/ 11244 h 93936"/>
                <a:gd name="connsiteX274" fmla="*/ 646359 w 1075613"/>
                <a:gd name="connsiteY274" fmla="*/ 2832 h 93936"/>
                <a:gd name="connsiteX275" fmla="*/ 647379 w 1075613"/>
                <a:gd name="connsiteY275" fmla="*/ 1494 h 93936"/>
                <a:gd name="connsiteX276" fmla="*/ 647697 w 1075613"/>
                <a:gd name="connsiteY276" fmla="*/ 1494 h 93936"/>
                <a:gd name="connsiteX277" fmla="*/ 710966 w 1075613"/>
                <a:gd name="connsiteY277" fmla="*/ 1494 h 93936"/>
                <a:gd name="connsiteX278" fmla="*/ 712304 w 1075613"/>
                <a:gd name="connsiteY278" fmla="*/ 2513 h 93936"/>
                <a:gd name="connsiteX279" fmla="*/ 712304 w 1075613"/>
                <a:gd name="connsiteY279" fmla="*/ 2832 h 93936"/>
                <a:gd name="connsiteX280" fmla="*/ 712304 w 1075613"/>
                <a:gd name="connsiteY280" fmla="*/ 11259 h 93936"/>
                <a:gd name="connsiteX281" fmla="*/ 711284 w 1075613"/>
                <a:gd name="connsiteY281" fmla="*/ 12596 h 93936"/>
                <a:gd name="connsiteX282" fmla="*/ 710966 w 1075613"/>
                <a:gd name="connsiteY282" fmla="*/ 12596 h 93936"/>
                <a:gd name="connsiteX283" fmla="*/ 686086 w 1075613"/>
                <a:gd name="connsiteY283" fmla="*/ 12596 h 93936"/>
                <a:gd name="connsiteX284" fmla="*/ 685284 w 1075613"/>
                <a:gd name="connsiteY284" fmla="*/ 13201 h 93936"/>
                <a:gd name="connsiteX285" fmla="*/ 685284 w 1075613"/>
                <a:gd name="connsiteY285" fmla="*/ 13399 h 93936"/>
                <a:gd name="connsiteX286" fmla="*/ 685284 w 1075613"/>
                <a:gd name="connsiteY286" fmla="*/ 91114 h 93936"/>
                <a:gd name="connsiteX287" fmla="*/ 684264 w 1075613"/>
                <a:gd name="connsiteY287" fmla="*/ 92452 h 93936"/>
                <a:gd name="connsiteX288" fmla="*/ 683946 w 1075613"/>
                <a:gd name="connsiteY288" fmla="*/ 92452 h 93936"/>
                <a:gd name="connsiteX289" fmla="*/ 740393 w 1075613"/>
                <a:gd name="connsiteY289" fmla="*/ 2832 h 93936"/>
                <a:gd name="connsiteX290" fmla="*/ 741999 w 1075613"/>
                <a:gd name="connsiteY290" fmla="*/ 1494 h 93936"/>
                <a:gd name="connsiteX291" fmla="*/ 750693 w 1075613"/>
                <a:gd name="connsiteY291" fmla="*/ 1494 h 93936"/>
                <a:gd name="connsiteX292" fmla="*/ 752432 w 1075613"/>
                <a:gd name="connsiteY292" fmla="*/ 2832 h 93936"/>
                <a:gd name="connsiteX293" fmla="*/ 783598 w 1075613"/>
                <a:gd name="connsiteY293" fmla="*/ 91114 h 93936"/>
                <a:gd name="connsiteX294" fmla="*/ 782662 w 1075613"/>
                <a:gd name="connsiteY294" fmla="*/ 92452 h 93936"/>
                <a:gd name="connsiteX295" fmla="*/ 773299 w 1075613"/>
                <a:gd name="connsiteY295" fmla="*/ 92452 h 93936"/>
                <a:gd name="connsiteX296" fmla="*/ 771560 w 1075613"/>
                <a:gd name="connsiteY296" fmla="*/ 91114 h 93936"/>
                <a:gd name="connsiteX297" fmla="*/ 764604 w 1075613"/>
                <a:gd name="connsiteY297" fmla="*/ 71318 h 93936"/>
                <a:gd name="connsiteX298" fmla="*/ 727820 w 1075613"/>
                <a:gd name="connsiteY298" fmla="*/ 71318 h 93936"/>
                <a:gd name="connsiteX299" fmla="*/ 720864 w 1075613"/>
                <a:gd name="connsiteY299" fmla="*/ 91114 h 93936"/>
                <a:gd name="connsiteX300" fmla="*/ 719125 w 1075613"/>
                <a:gd name="connsiteY300" fmla="*/ 92452 h 93936"/>
                <a:gd name="connsiteX301" fmla="*/ 709762 w 1075613"/>
                <a:gd name="connsiteY301" fmla="*/ 92452 h 93936"/>
                <a:gd name="connsiteX302" fmla="*/ 708826 w 1075613"/>
                <a:gd name="connsiteY302" fmla="*/ 91114 h 93936"/>
                <a:gd name="connsiteX303" fmla="*/ 760725 w 1075613"/>
                <a:gd name="connsiteY303" fmla="*/ 60349 h 93936"/>
                <a:gd name="connsiteX304" fmla="*/ 746413 w 1075613"/>
                <a:gd name="connsiteY304" fmla="*/ 19017 h 93936"/>
                <a:gd name="connsiteX305" fmla="*/ 746145 w 1075613"/>
                <a:gd name="connsiteY305" fmla="*/ 19017 h 93936"/>
                <a:gd name="connsiteX306" fmla="*/ 731699 w 1075613"/>
                <a:gd name="connsiteY306" fmla="*/ 60349 h 93936"/>
                <a:gd name="connsiteX307" fmla="*/ 808478 w 1075613"/>
                <a:gd name="connsiteY307" fmla="*/ 92452 h 93936"/>
                <a:gd name="connsiteX308" fmla="*/ 807140 w 1075613"/>
                <a:gd name="connsiteY308" fmla="*/ 91433 h 93936"/>
                <a:gd name="connsiteX309" fmla="*/ 807140 w 1075613"/>
                <a:gd name="connsiteY309" fmla="*/ 91114 h 93936"/>
                <a:gd name="connsiteX310" fmla="*/ 807140 w 1075613"/>
                <a:gd name="connsiteY310" fmla="*/ 13384 h 93936"/>
                <a:gd name="connsiteX311" fmla="*/ 806537 w 1075613"/>
                <a:gd name="connsiteY311" fmla="*/ 12581 h 93936"/>
                <a:gd name="connsiteX312" fmla="*/ 806338 w 1075613"/>
                <a:gd name="connsiteY312" fmla="*/ 12581 h 93936"/>
                <a:gd name="connsiteX313" fmla="*/ 781458 w 1075613"/>
                <a:gd name="connsiteY313" fmla="*/ 12581 h 93936"/>
                <a:gd name="connsiteX314" fmla="*/ 780121 w 1075613"/>
                <a:gd name="connsiteY314" fmla="*/ 11563 h 93936"/>
                <a:gd name="connsiteX315" fmla="*/ 780121 w 1075613"/>
                <a:gd name="connsiteY315" fmla="*/ 11244 h 93936"/>
                <a:gd name="connsiteX316" fmla="*/ 780121 w 1075613"/>
                <a:gd name="connsiteY316" fmla="*/ 2832 h 93936"/>
                <a:gd name="connsiteX317" fmla="*/ 781140 w 1075613"/>
                <a:gd name="connsiteY317" fmla="*/ 1494 h 93936"/>
                <a:gd name="connsiteX318" fmla="*/ 781458 w 1075613"/>
                <a:gd name="connsiteY318" fmla="*/ 1494 h 93936"/>
                <a:gd name="connsiteX319" fmla="*/ 844727 w 1075613"/>
                <a:gd name="connsiteY319" fmla="*/ 1494 h 93936"/>
                <a:gd name="connsiteX320" fmla="*/ 846065 w 1075613"/>
                <a:gd name="connsiteY320" fmla="*/ 2513 h 93936"/>
                <a:gd name="connsiteX321" fmla="*/ 846065 w 1075613"/>
                <a:gd name="connsiteY321" fmla="*/ 2832 h 93936"/>
                <a:gd name="connsiteX322" fmla="*/ 846065 w 1075613"/>
                <a:gd name="connsiteY322" fmla="*/ 11259 h 93936"/>
                <a:gd name="connsiteX323" fmla="*/ 845046 w 1075613"/>
                <a:gd name="connsiteY323" fmla="*/ 12596 h 93936"/>
                <a:gd name="connsiteX324" fmla="*/ 844727 w 1075613"/>
                <a:gd name="connsiteY324" fmla="*/ 12596 h 93936"/>
                <a:gd name="connsiteX325" fmla="*/ 819848 w 1075613"/>
                <a:gd name="connsiteY325" fmla="*/ 12596 h 93936"/>
                <a:gd name="connsiteX326" fmla="*/ 819045 w 1075613"/>
                <a:gd name="connsiteY326" fmla="*/ 13201 h 93936"/>
                <a:gd name="connsiteX327" fmla="*/ 819045 w 1075613"/>
                <a:gd name="connsiteY327" fmla="*/ 13399 h 93936"/>
                <a:gd name="connsiteX328" fmla="*/ 819045 w 1075613"/>
                <a:gd name="connsiteY328" fmla="*/ 91114 h 93936"/>
                <a:gd name="connsiteX329" fmla="*/ 818026 w 1075613"/>
                <a:gd name="connsiteY329" fmla="*/ 92452 h 93936"/>
                <a:gd name="connsiteX330" fmla="*/ 817708 w 1075613"/>
                <a:gd name="connsiteY330" fmla="*/ 92452 h 93936"/>
                <a:gd name="connsiteX331" fmla="*/ 860259 w 1075613"/>
                <a:gd name="connsiteY331" fmla="*/ 2832 h 93936"/>
                <a:gd name="connsiteX332" fmla="*/ 861278 w 1075613"/>
                <a:gd name="connsiteY332" fmla="*/ 1494 h 93936"/>
                <a:gd name="connsiteX333" fmla="*/ 861596 w 1075613"/>
                <a:gd name="connsiteY333" fmla="*/ 1494 h 93936"/>
                <a:gd name="connsiteX334" fmla="*/ 870811 w 1075613"/>
                <a:gd name="connsiteY334" fmla="*/ 1494 h 93936"/>
                <a:gd name="connsiteX335" fmla="*/ 872149 w 1075613"/>
                <a:gd name="connsiteY335" fmla="*/ 2513 h 93936"/>
                <a:gd name="connsiteX336" fmla="*/ 872149 w 1075613"/>
                <a:gd name="connsiteY336" fmla="*/ 2832 h 93936"/>
                <a:gd name="connsiteX337" fmla="*/ 872149 w 1075613"/>
                <a:gd name="connsiteY337" fmla="*/ 91114 h 93936"/>
                <a:gd name="connsiteX338" fmla="*/ 871129 w 1075613"/>
                <a:gd name="connsiteY338" fmla="*/ 92452 h 93936"/>
                <a:gd name="connsiteX339" fmla="*/ 870811 w 1075613"/>
                <a:gd name="connsiteY339" fmla="*/ 92452 h 93936"/>
                <a:gd name="connsiteX340" fmla="*/ 861596 w 1075613"/>
                <a:gd name="connsiteY340" fmla="*/ 92452 h 93936"/>
                <a:gd name="connsiteX341" fmla="*/ 860259 w 1075613"/>
                <a:gd name="connsiteY341" fmla="*/ 91433 h 93936"/>
                <a:gd name="connsiteX342" fmla="*/ 860259 w 1075613"/>
                <a:gd name="connsiteY342" fmla="*/ 91114 h 93936"/>
                <a:gd name="connsiteX343" fmla="*/ 924732 w 1075613"/>
                <a:gd name="connsiteY343" fmla="*/ 93923 h 93936"/>
                <a:gd name="connsiteX344" fmla="*/ 905271 w 1075613"/>
                <a:gd name="connsiteY344" fmla="*/ 88573 h 93936"/>
                <a:gd name="connsiteX345" fmla="*/ 893833 w 1075613"/>
                <a:gd name="connsiteY345" fmla="*/ 72655 h 93936"/>
                <a:gd name="connsiteX346" fmla="*/ 892694 w 1075613"/>
                <a:gd name="connsiteY346" fmla="*/ 68494 h 93936"/>
                <a:gd name="connsiteX347" fmla="*/ 891960 w 1075613"/>
                <a:gd name="connsiteY347" fmla="*/ 63479 h 93936"/>
                <a:gd name="connsiteX348" fmla="*/ 891559 w 1075613"/>
                <a:gd name="connsiteY348" fmla="*/ 56589 h 93936"/>
                <a:gd name="connsiteX349" fmla="*/ 891425 w 1075613"/>
                <a:gd name="connsiteY349" fmla="*/ 46958 h 93936"/>
                <a:gd name="connsiteX350" fmla="*/ 891559 w 1075613"/>
                <a:gd name="connsiteY350" fmla="*/ 37327 h 93936"/>
                <a:gd name="connsiteX351" fmla="*/ 891960 w 1075613"/>
                <a:gd name="connsiteY351" fmla="*/ 30440 h 93936"/>
                <a:gd name="connsiteX352" fmla="*/ 892694 w 1075613"/>
                <a:gd name="connsiteY352" fmla="*/ 25426 h 93936"/>
                <a:gd name="connsiteX353" fmla="*/ 893833 w 1075613"/>
                <a:gd name="connsiteY353" fmla="*/ 21264 h 93936"/>
                <a:gd name="connsiteX354" fmla="*/ 905256 w 1075613"/>
                <a:gd name="connsiteY354" fmla="*/ 5358 h 93936"/>
                <a:gd name="connsiteX355" fmla="*/ 944314 w 1075613"/>
                <a:gd name="connsiteY355" fmla="*/ 5358 h 93936"/>
                <a:gd name="connsiteX356" fmla="*/ 955752 w 1075613"/>
                <a:gd name="connsiteY356" fmla="*/ 21276 h 93936"/>
                <a:gd name="connsiteX357" fmla="*/ 956891 w 1075613"/>
                <a:gd name="connsiteY357" fmla="*/ 25437 h 93936"/>
                <a:gd name="connsiteX358" fmla="*/ 957625 w 1075613"/>
                <a:gd name="connsiteY358" fmla="*/ 30455 h 93936"/>
                <a:gd name="connsiteX359" fmla="*/ 958026 w 1075613"/>
                <a:gd name="connsiteY359" fmla="*/ 37342 h 93936"/>
                <a:gd name="connsiteX360" fmla="*/ 958160 w 1075613"/>
                <a:gd name="connsiteY360" fmla="*/ 46973 h 93936"/>
                <a:gd name="connsiteX361" fmla="*/ 958026 w 1075613"/>
                <a:gd name="connsiteY361" fmla="*/ 56604 h 93936"/>
                <a:gd name="connsiteX362" fmla="*/ 957625 w 1075613"/>
                <a:gd name="connsiteY362" fmla="*/ 63494 h 93936"/>
                <a:gd name="connsiteX363" fmla="*/ 956891 w 1075613"/>
                <a:gd name="connsiteY363" fmla="*/ 68512 h 93936"/>
                <a:gd name="connsiteX364" fmla="*/ 955752 w 1075613"/>
                <a:gd name="connsiteY364" fmla="*/ 72673 h 93936"/>
                <a:gd name="connsiteX365" fmla="*/ 944314 w 1075613"/>
                <a:gd name="connsiteY365" fmla="*/ 88591 h 93936"/>
                <a:gd name="connsiteX366" fmla="*/ 924717 w 1075613"/>
                <a:gd name="connsiteY366" fmla="*/ 93923 h 93936"/>
                <a:gd name="connsiteX367" fmla="*/ 924732 w 1075613"/>
                <a:gd name="connsiteY367" fmla="*/ 82821 h 93936"/>
                <a:gd name="connsiteX368" fmla="*/ 937171 w 1075613"/>
                <a:gd name="connsiteY368" fmla="*/ 79343 h 93936"/>
                <a:gd name="connsiteX369" fmla="*/ 944127 w 1075613"/>
                <a:gd name="connsiteY369" fmla="*/ 69311 h 93936"/>
                <a:gd name="connsiteX370" fmla="*/ 944861 w 1075613"/>
                <a:gd name="connsiteY370" fmla="*/ 66300 h 93936"/>
                <a:gd name="connsiteX371" fmla="*/ 945530 w 1075613"/>
                <a:gd name="connsiteY371" fmla="*/ 61821 h 93936"/>
                <a:gd name="connsiteX372" fmla="*/ 946000 w 1075613"/>
                <a:gd name="connsiteY372" fmla="*/ 55534 h 93936"/>
                <a:gd name="connsiteX373" fmla="*/ 946134 w 1075613"/>
                <a:gd name="connsiteY373" fmla="*/ 46973 h 93936"/>
                <a:gd name="connsiteX374" fmla="*/ 946000 w 1075613"/>
                <a:gd name="connsiteY374" fmla="*/ 38412 h 93936"/>
                <a:gd name="connsiteX375" fmla="*/ 945530 w 1075613"/>
                <a:gd name="connsiteY375" fmla="*/ 32126 h 93936"/>
                <a:gd name="connsiteX376" fmla="*/ 944861 w 1075613"/>
                <a:gd name="connsiteY376" fmla="*/ 27646 h 93936"/>
                <a:gd name="connsiteX377" fmla="*/ 944127 w 1075613"/>
                <a:gd name="connsiteY377" fmla="*/ 24635 h 93936"/>
                <a:gd name="connsiteX378" fmla="*/ 937171 w 1075613"/>
                <a:gd name="connsiteY378" fmla="*/ 14603 h 93936"/>
                <a:gd name="connsiteX379" fmla="*/ 924732 w 1075613"/>
                <a:gd name="connsiteY379" fmla="*/ 11125 h 93936"/>
                <a:gd name="connsiteX380" fmla="*/ 912357 w 1075613"/>
                <a:gd name="connsiteY380" fmla="*/ 14603 h 93936"/>
                <a:gd name="connsiteX381" fmla="*/ 905467 w 1075613"/>
                <a:gd name="connsiteY381" fmla="*/ 24635 h 93936"/>
                <a:gd name="connsiteX382" fmla="*/ 904733 w 1075613"/>
                <a:gd name="connsiteY382" fmla="*/ 27646 h 93936"/>
                <a:gd name="connsiteX383" fmla="*/ 904064 w 1075613"/>
                <a:gd name="connsiteY383" fmla="*/ 32126 h 93936"/>
                <a:gd name="connsiteX384" fmla="*/ 903594 w 1075613"/>
                <a:gd name="connsiteY384" fmla="*/ 38412 h 93936"/>
                <a:gd name="connsiteX385" fmla="*/ 903461 w 1075613"/>
                <a:gd name="connsiteY385" fmla="*/ 46973 h 93936"/>
                <a:gd name="connsiteX386" fmla="*/ 903594 w 1075613"/>
                <a:gd name="connsiteY386" fmla="*/ 55534 h 93936"/>
                <a:gd name="connsiteX387" fmla="*/ 904064 w 1075613"/>
                <a:gd name="connsiteY387" fmla="*/ 61821 h 93936"/>
                <a:gd name="connsiteX388" fmla="*/ 904733 w 1075613"/>
                <a:gd name="connsiteY388" fmla="*/ 66300 h 93936"/>
                <a:gd name="connsiteX389" fmla="*/ 905467 w 1075613"/>
                <a:gd name="connsiteY389" fmla="*/ 69311 h 93936"/>
                <a:gd name="connsiteX390" fmla="*/ 912357 w 1075613"/>
                <a:gd name="connsiteY390" fmla="*/ 79343 h 93936"/>
                <a:gd name="connsiteX391" fmla="*/ 924717 w 1075613"/>
                <a:gd name="connsiteY391" fmla="*/ 82821 h 93936"/>
                <a:gd name="connsiteX392" fmla="*/ 977434 w 1075613"/>
                <a:gd name="connsiteY392" fmla="*/ 2832 h 93936"/>
                <a:gd name="connsiteX393" fmla="*/ 978453 w 1075613"/>
                <a:gd name="connsiteY393" fmla="*/ 1494 h 93936"/>
                <a:gd name="connsiteX394" fmla="*/ 978771 w 1075613"/>
                <a:gd name="connsiteY394" fmla="*/ 1494 h 93936"/>
                <a:gd name="connsiteX395" fmla="*/ 987332 w 1075613"/>
                <a:gd name="connsiteY395" fmla="*/ 1494 h 93936"/>
                <a:gd name="connsiteX396" fmla="*/ 989606 w 1075613"/>
                <a:gd name="connsiteY396" fmla="*/ 2832 h 93936"/>
                <a:gd name="connsiteX397" fmla="*/ 1030790 w 1075613"/>
                <a:gd name="connsiteY397" fmla="*/ 71050 h 93936"/>
                <a:gd name="connsiteX398" fmla="*/ 1031325 w 1075613"/>
                <a:gd name="connsiteY398" fmla="*/ 71050 h 93936"/>
                <a:gd name="connsiteX399" fmla="*/ 1031325 w 1075613"/>
                <a:gd name="connsiteY399" fmla="*/ 2832 h 93936"/>
                <a:gd name="connsiteX400" fmla="*/ 1032344 w 1075613"/>
                <a:gd name="connsiteY400" fmla="*/ 1494 h 93936"/>
                <a:gd name="connsiteX401" fmla="*/ 1032662 w 1075613"/>
                <a:gd name="connsiteY401" fmla="*/ 1494 h 93936"/>
                <a:gd name="connsiteX402" fmla="*/ 1041089 w 1075613"/>
                <a:gd name="connsiteY402" fmla="*/ 1494 h 93936"/>
                <a:gd name="connsiteX403" fmla="*/ 1042427 w 1075613"/>
                <a:gd name="connsiteY403" fmla="*/ 2513 h 93936"/>
                <a:gd name="connsiteX404" fmla="*/ 1042427 w 1075613"/>
                <a:gd name="connsiteY404" fmla="*/ 2832 h 93936"/>
                <a:gd name="connsiteX405" fmla="*/ 1042427 w 1075613"/>
                <a:gd name="connsiteY405" fmla="*/ 91114 h 93936"/>
                <a:gd name="connsiteX406" fmla="*/ 1041407 w 1075613"/>
                <a:gd name="connsiteY406" fmla="*/ 92452 h 93936"/>
                <a:gd name="connsiteX407" fmla="*/ 1041089 w 1075613"/>
                <a:gd name="connsiteY407" fmla="*/ 92452 h 93936"/>
                <a:gd name="connsiteX408" fmla="*/ 1032529 w 1075613"/>
                <a:gd name="connsiteY408" fmla="*/ 92452 h 93936"/>
                <a:gd name="connsiteX409" fmla="*/ 1030255 w 1075613"/>
                <a:gd name="connsiteY409" fmla="*/ 91114 h 93936"/>
                <a:gd name="connsiteX410" fmla="*/ 988937 w 1075613"/>
                <a:gd name="connsiteY410" fmla="*/ 23164 h 93936"/>
                <a:gd name="connsiteX411" fmla="*/ 988536 w 1075613"/>
                <a:gd name="connsiteY411" fmla="*/ 23164 h 93936"/>
                <a:gd name="connsiteX412" fmla="*/ 988536 w 1075613"/>
                <a:gd name="connsiteY412" fmla="*/ 91114 h 93936"/>
                <a:gd name="connsiteX413" fmla="*/ 987519 w 1075613"/>
                <a:gd name="connsiteY413" fmla="*/ 92454 h 93936"/>
                <a:gd name="connsiteX414" fmla="*/ 987183 w 1075613"/>
                <a:gd name="connsiteY414" fmla="*/ 92452 h 93936"/>
                <a:gd name="connsiteX415" fmla="*/ 978756 w 1075613"/>
                <a:gd name="connsiteY415" fmla="*/ 92452 h 93936"/>
                <a:gd name="connsiteX416" fmla="*/ 977419 w 1075613"/>
                <a:gd name="connsiteY416" fmla="*/ 91433 h 93936"/>
                <a:gd name="connsiteX417" fmla="*/ 977419 w 1075613"/>
                <a:gd name="connsiteY417" fmla="*/ 91114 h 93936"/>
                <a:gd name="connsiteX418" fmla="*/ 1063041 w 1075613"/>
                <a:gd name="connsiteY418" fmla="*/ 79611 h 93936"/>
                <a:gd name="connsiteX419" fmla="*/ 1064061 w 1075613"/>
                <a:gd name="connsiteY419" fmla="*/ 78273 h 93936"/>
                <a:gd name="connsiteX420" fmla="*/ 1064379 w 1075613"/>
                <a:gd name="connsiteY420" fmla="*/ 78273 h 93936"/>
                <a:gd name="connsiteX421" fmla="*/ 1074545 w 1075613"/>
                <a:gd name="connsiteY421" fmla="*/ 78273 h 93936"/>
                <a:gd name="connsiteX422" fmla="*/ 1075882 w 1075613"/>
                <a:gd name="connsiteY422" fmla="*/ 79292 h 93936"/>
                <a:gd name="connsiteX423" fmla="*/ 1075882 w 1075613"/>
                <a:gd name="connsiteY423" fmla="*/ 79611 h 93936"/>
                <a:gd name="connsiteX424" fmla="*/ 1075882 w 1075613"/>
                <a:gd name="connsiteY424" fmla="*/ 91114 h 93936"/>
                <a:gd name="connsiteX425" fmla="*/ 1074863 w 1075613"/>
                <a:gd name="connsiteY425" fmla="*/ 92452 h 93936"/>
                <a:gd name="connsiteX426" fmla="*/ 1074545 w 1075613"/>
                <a:gd name="connsiteY426" fmla="*/ 92452 h 93936"/>
                <a:gd name="connsiteX427" fmla="*/ 1064379 w 1075613"/>
                <a:gd name="connsiteY427" fmla="*/ 92452 h 93936"/>
                <a:gd name="connsiteX428" fmla="*/ 1063041 w 1075613"/>
                <a:gd name="connsiteY428" fmla="*/ 91433 h 93936"/>
                <a:gd name="connsiteX429" fmla="*/ 1063041 w 1075613"/>
                <a:gd name="connsiteY429" fmla="*/ 91114 h 9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Lst>
              <a:rect l="l" t="t" r="r" b="b"/>
              <a:pathLst>
                <a:path w="1075613" h="93936">
                  <a:moveTo>
                    <a:pt x="28649" y="92452"/>
                  </a:moveTo>
                  <a:cubicBezTo>
                    <a:pt x="27998" y="92540"/>
                    <a:pt x="27399" y="92084"/>
                    <a:pt x="27311" y="91433"/>
                  </a:cubicBezTo>
                  <a:cubicBezTo>
                    <a:pt x="27297" y="91327"/>
                    <a:pt x="27297" y="91220"/>
                    <a:pt x="27311" y="91114"/>
                  </a:cubicBezTo>
                  <a:lnTo>
                    <a:pt x="27311" y="13384"/>
                  </a:lnTo>
                  <a:cubicBezTo>
                    <a:pt x="27366" y="12996"/>
                    <a:pt x="27095" y="12636"/>
                    <a:pt x="26706" y="12581"/>
                  </a:cubicBezTo>
                  <a:cubicBezTo>
                    <a:pt x="26641" y="12572"/>
                    <a:pt x="26574" y="12572"/>
                    <a:pt x="26508" y="12581"/>
                  </a:cubicBezTo>
                  <a:lnTo>
                    <a:pt x="1629" y="12581"/>
                  </a:lnTo>
                  <a:cubicBezTo>
                    <a:pt x="978" y="12670"/>
                    <a:pt x="379" y="12213"/>
                    <a:pt x="291" y="11563"/>
                  </a:cubicBezTo>
                  <a:cubicBezTo>
                    <a:pt x="277" y="11457"/>
                    <a:pt x="277" y="11350"/>
                    <a:pt x="291" y="11244"/>
                  </a:cubicBezTo>
                  <a:lnTo>
                    <a:pt x="291" y="2832"/>
                  </a:lnTo>
                  <a:cubicBezTo>
                    <a:pt x="203" y="2181"/>
                    <a:pt x="659" y="1582"/>
                    <a:pt x="1310" y="1494"/>
                  </a:cubicBezTo>
                  <a:cubicBezTo>
                    <a:pt x="1416" y="1480"/>
                    <a:pt x="1523" y="1480"/>
                    <a:pt x="1629" y="1494"/>
                  </a:cubicBezTo>
                  <a:lnTo>
                    <a:pt x="64898" y="1494"/>
                  </a:lnTo>
                  <a:cubicBezTo>
                    <a:pt x="65549" y="1406"/>
                    <a:pt x="66147" y="1862"/>
                    <a:pt x="66235" y="2513"/>
                  </a:cubicBezTo>
                  <a:cubicBezTo>
                    <a:pt x="66250" y="2619"/>
                    <a:pt x="66250" y="2726"/>
                    <a:pt x="66235" y="2832"/>
                  </a:cubicBezTo>
                  <a:lnTo>
                    <a:pt x="66235" y="11259"/>
                  </a:lnTo>
                  <a:cubicBezTo>
                    <a:pt x="66323" y="11909"/>
                    <a:pt x="65867" y="12508"/>
                    <a:pt x="65217" y="12596"/>
                  </a:cubicBezTo>
                  <a:cubicBezTo>
                    <a:pt x="65111" y="12611"/>
                    <a:pt x="65004" y="12611"/>
                    <a:pt x="64898" y="12596"/>
                  </a:cubicBezTo>
                  <a:lnTo>
                    <a:pt x="40018" y="12596"/>
                  </a:lnTo>
                  <a:cubicBezTo>
                    <a:pt x="39630" y="12542"/>
                    <a:pt x="39270" y="12812"/>
                    <a:pt x="39216" y="13201"/>
                  </a:cubicBezTo>
                  <a:cubicBezTo>
                    <a:pt x="39206" y="13266"/>
                    <a:pt x="39206" y="13333"/>
                    <a:pt x="39216" y="13399"/>
                  </a:cubicBezTo>
                  <a:lnTo>
                    <a:pt x="39216" y="91114"/>
                  </a:lnTo>
                  <a:cubicBezTo>
                    <a:pt x="39304" y="91765"/>
                    <a:pt x="38847" y="92364"/>
                    <a:pt x="38197" y="92452"/>
                  </a:cubicBezTo>
                  <a:cubicBezTo>
                    <a:pt x="38091" y="92466"/>
                    <a:pt x="37984" y="92466"/>
                    <a:pt x="37878" y="92452"/>
                  </a:cubicBezTo>
                  <a:close/>
                  <a:moveTo>
                    <a:pt x="133116" y="92452"/>
                  </a:moveTo>
                  <a:cubicBezTo>
                    <a:pt x="132302" y="92446"/>
                    <a:pt x="131592" y="91899"/>
                    <a:pt x="131377" y="91114"/>
                  </a:cubicBezTo>
                  <a:lnTo>
                    <a:pt x="113186" y="53929"/>
                  </a:lnTo>
                  <a:lnTo>
                    <a:pt x="93122" y="53929"/>
                  </a:lnTo>
                  <a:cubicBezTo>
                    <a:pt x="92733" y="53874"/>
                    <a:pt x="92374" y="54144"/>
                    <a:pt x="92319" y="54533"/>
                  </a:cubicBezTo>
                  <a:cubicBezTo>
                    <a:pt x="92310" y="54599"/>
                    <a:pt x="92310" y="54666"/>
                    <a:pt x="92319" y="54731"/>
                  </a:cubicBezTo>
                  <a:lnTo>
                    <a:pt x="92319" y="91114"/>
                  </a:lnTo>
                  <a:cubicBezTo>
                    <a:pt x="92407" y="91765"/>
                    <a:pt x="91951" y="92364"/>
                    <a:pt x="91300" y="92452"/>
                  </a:cubicBezTo>
                  <a:cubicBezTo>
                    <a:pt x="91194" y="92466"/>
                    <a:pt x="91087" y="92466"/>
                    <a:pt x="90981" y="92452"/>
                  </a:cubicBezTo>
                  <a:lnTo>
                    <a:pt x="81767" y="92452"/>
                  </a:lnTo>
                  <a:cubicBezTo>
                    <a:pt x="81116" y="92540"/>
                    <a:pt x="80517" y="92084"/>
                    <a:pt x="80429" y="91433"/>
                  </a:cubicBezTo>
                  <a:cubicBezTo>
                    <a:pt x="80415" y="91327"/>
                    <a:pt x="80415" y="91220"/>
                    <a:pt x="80429" y="91114"/>
                  </a:cubicBezTo>
                  <a:lnTo>
                    <a:pt x="80429" y="2832"/>
                  </a:lnTo>
                  <a:cubicBezTo>
                    <a:pt x="80341" y="2181"/>
                    <a:pt x="80797" y="1582"/>
                    <a:pt x="81448" y="1494"/>
                  </a:cubicBezTo>
                  <a:cubicBezTo>
                    <a:pt x="81554" y="1480"/>
                    <a:pt x="81661" y="1480"/>
                    <a:pt x="81767" y="1494"/>
                  </a:cubicBezTo>
                  <a:lnTo>
                    <a:pt x="114672" y="1494"/>
                  </a:lnTo>
                  <a:cubicBezTo>
                    <a:pt x="118630" y="1441"/>
                    <a:pt x="122568" y="2075"/>
                    <a:pt x="126309" y="3367"/>
                  </a:cubicBezTo>
                  <a:cubicBezTo>
                    <a:pt x="129618" y="4515"/>
                    <a:pt x="132664" y="6310"/>
                    <a:pt x="135271" y="8649"/>
                  </a:cubicBezTo>
                  <a:cubicBezTo>
                    <a:pt x="137788" y="10960"/>
                    <a:pt x="139769" y="13794"/>
                    <a:pt x="141077" y="16951"/>
                  </a:cubicBezTo>
                  <a:cubicBezTo>
                    <a:pt x="142492" y="20362"/>
                    <a:pt x="143200" y="24025"/>
                    <a:pt x="143157" y="27717"/>
                  </a:cubicBezTo>
                  <a:cubicBezTo>
                    <a:pt x="143328" y="33323"/>
                    <a:pt x="141635" y="38828"/>
                    <a:pt x="138342" y="43367"/>
                  </a:cubicBezTo>
                  <a:cubicBezTo>
                    <a:pt x="135044" y="47709"/>
                    <a:pt x="130455" y="50894"/>
                    <a:pt x="125233" y="52463"/>
                  </a:cubicBezTo>
                  <a:lnTo>
                    <a:pt x="144620" y="90847"/>
                  </a:lnTo>
                  <a:cubicBezTo>
                    <a:pt x="144875" y="91170"/>
                    <a:pt x="144927" y="91609"/>
                    <a:pt x="144753" y="91982"/>
                  </a:cubicBezTo>
                  <a:cubicBezTo>
                    <a:pt x="144557" y="92305"/>
                    <a:pt x="144193" y="92488"/>
                    <a:pt x="143817" y="92452"/>
                  </a:cubicBezTo>
                  <a:close/>
                  <a:moveTo>
                    <a:pt x="114390" y="42826"/>
                  </a:moveTo>
                  <a:cubicBezTo>
                    <a:pt x="118883" y="43111"/>
                    <a:pt x="123321" y="41704"/>
                    <a:pt x="126829" y="38882"/>
                  </a:cubicBezTo>
                  <a:cubicBezTo>
                    <a:pt x="129880" y="35995"/>
                    <a:pt x="131497" y="31904"/>
                    <a:pt x="131244" y="27711"/>
                  </a:cubicBezTo>
                  <a:cubicBezTo>
                    <a:pt x="131497" y="23518"/>
                    <a:pt x="129880" y="19428"/>
                    <a:pt x="126829" y="16541"/>
                  </a:cubicBezTo>
                  <a:cubicBezTo>
                    <a:pt x="123321" y="13719"/>
                    <a:pt x="118883" y="12312"/>
                    <a:pt x="114390" y="12596"/>
                  </a:cubicBezTo>
                  <a:lnTo>
                    <a:pt x="93122" y="12596"/>
                  </a:lnTo>
                  <a:cubicBezTo>
                    <a:pt x="92733" y="12542"/>
                    <a:pt x="92374" y="12812"/>
                    <a:pt x="92319" y="13201"/>
                  </a:cubicBezTo>
                  <a:cubicBezTo>
                    <a:pt x="92310" y="13266"/>
                    <a:pt x="92310" y="13333"/>
                    <a:pt x="92319" y="13399"/>
                  </a:cubicBezTo>
                  <a:lnTo>
                    <a:pt x="92319" y="42024"/>
                  </a:lnTo>
                  <a:cubicBezTo>
                    <a:pt x="92264" y="42412"/>
                    <a:pt x="92535" y="42772"/>
                    <a:pt x="92923" y="42826"/>
                  </a:cubicBezTo>
                  <a:cubicBezTo>
                    <a:pt x="92989" y="42836"/>
                    <a:pt x="93056" y="42836"/>
                    <a:pt x="93122" y="42826"/>
                  </a:cubicBezTo>
                  <a:close/>
                  <a:moveTo>
                    <a:pt x="186487" y="2832"/>
                  </a:moveTo>
                  <a:cubicBezTo>
                    <a:pt x="186619" y="2051"/>
                    <a:pt x="187300" y="1483"/>
                    <a:pt x="188092" y="1494"/>
                  </a:cubicBezTo>
                  <a:lnTo>
                    <a:pt x="196802" y="1494"/>
                  </a:lnTo>
                  <a:cubicBezTo>
                    <a:pt x="197633" y="1448"/>
                    <a:pt x="198372" y="2017"/>
                    <a:pt x="198540" y="2832"/>
                  </a:cubicBezTo>
                  <a:lnTo>
                    <a:pt x="229707" y="91114"/>
                  </a:lnTo>
                  <a:cubicBezTo>
                    <a:pt x="229974" y="92006"/>
                    <a:pt x="229662" y="92452"/>
                    <a:pt x="228771" y="92452"/>
                  </a:cubicBezTo>
                  <a:lnTo>
                    <a:pt x="219392" y="92452"/>
                  </a:lnTo>
                  <a:cubicBezTo>
                    <a:pt x="218561" y="92499"/>
                    <a:pt x="217821" y="91929"/>
                    <a:pt x="217654" y="91114"/>
                  </a:cubicBezTo>
                  <a:lnTo>
                    <a:pt x="210698" y="71318"/>
                  </a:lnTo>
                  <a:lnTo>
                    <a:pt x="173914" y="71318"/>
                  </a:lnTo>
                  <a:lnTo>
                    <a:pt x="166958" y="91114"/>
                  </a:lnTo>
                  <a:cubicBezTo>
                    <a:pt x="166744" y="91899"/>
                    <a:pt x="166033" y="92446"/>
                    <a:pt x="165219" y="92452"/>
                  </a:cubicBezTo>
                  <a:lnTo>
                    <a:pt x="155856" y="92452"/>
                  </a:lnTo>
                  <a:cubicBezTo>
                    <a:pt x="154964" y="92452"/>
                    <a:pt x="154652" y="92006"/>
                    <a:pt x="154919" y="91114"/>
                  </a:cubicBezTo>
                  <a:close/>
                  <a:moveTo>
                    <a:pt x="206819" y="60349"/>
                  </a:moveTo>
                  <a:lnTo>
                    <a:pt x="192506" y="19017"/>
                  </a:lnTo>
                  <a:lnTo>
                    <a:pt x="192239" y="19017"/>
                  </a:lnTo>
                  <a:lnTo>
                    <a:pt x="177793" y="60349"/>
                  </a:lnTo>
                  <a:close/>
                  <a:moveTo>
                    <a:pt x="244138" y="2832"/>
                  </a:moveTo>
                  <a:cubicBezTo>
                    <a:pt x="244050" y="2181"/>
                    <a:pt x="244507" y="1582"/>
                    <a:pt x="245157" y="1494"/>
                  </a:cubicBezTo>
                  <a:cubicBezTo>
                    <a:pt x="245263" y="1480"/>
                    <a:pt x="245370" y="1480"/>
                    <a:pt x="245476" y="1494"/>
                  </a:cubicBezTo>
                  <a:lnTo>
                    <a:pt x="254037" y="1494"/>
                  </a:lnTo>
                  <a:cubicBezTo>
                    <a:pt x="254998" y="1429"/>
                    <a:pt x="255900" y="1960"/>
                    <a:pt x="256311" y="2832"/>
                  </a:cubicBezTo>
                  <a:lnTo>
                    <a:pt x="297509" y="71050"/>
                  </a:lnTo>
                  <a:lnTo>
                    <a:pt x="298044" y="71050"/>
                  </a:lnTo>
                  <a:lnTo>
                    <a:pt x="298044" y="2832"/>
                  </a:lnTo>
                  <a:cubicBezTo>
                    <a:pt x="297955" y="2181"/>
                    <a:pt x="298413" y="1582"/>
                    <a:pt x="299064" y="1494"/>
                  </a:cubicBezTo>
                  <a:cubicBezTo>
                    <a:pt x="299168" y="1480"/>
                    <a:pt x="299275" y="1480"/>
                    <a:pt x="299382" y="1494"/>
                  </a:cubicBezTo>
                  <a:lnTo>
                    <a:pt x="307809" y="1494"/>
                  </a:lnTo>
                  <a:cubicBezTo>
                    <a:pt x="308460" y="1406"/>
                    <a:pt x="309057" y="1862"/>
                    <a:pt x="309146" y="2513"/>
                  </a:cubicBezTo>
                  <a:cubicBezTo>
                    <a:pt x="309161" y="2619"/>
                    <a:pt x="309161" y="2726"/>
                    <a:pt x="309146" y="2832"/>
                  </a:cubicBezTo>
                  <a:lnTo>
                    <a:pt x="309146" y="91114"/>
                  </a:lnTo>
                  <a:cubicBezTo>
                    <a:pt x="309236" y="91765"/>
                    <a:pt x="308778" y="92364"/>
                    <a:pt x="308127" y="92452"/>
                  </a:cubicBezTo>
                  <a:cubicBezTo>
                    <a:pt x="308023" y="92466"/>
                    <a:pt x="307916" y="92466"/>
                    <a:pt x="307809" y="92452"/>
                  </a:cubicBezTo>
                  <a:lnTo>
                    <a:pt x="299248" y="92452"/>
                  </a:lnTo>
                  <a:cubicBezTo>
                    <a:pt x="298288" y="92517"/>
                    <a:pt x="297384" y="91986"/>
                    <a:pt x="296974" y="91114"/>
                  </a:cubicBezTo>
                  <a:lnTo>
                    <a:pt x="255657" y="23164"/>
                  </a:lnTo>
                  <a:lnTo>
                    <a:pt x="255240" y="23164"/>
                  </a:lnTo>
                  <a:lnTo>
                    <a:pt x="255240" y="91114"/>
                  </a:lnTo>
                  <a:cubicBezTo>
                    <a:pt x="255328" y="91765"/>
                    <a:pt x="254872" y="92364"/>
                    <a:pt x="254222" y="92452"/>
                  </a:cubicBezTo>
                  <a:cubicBezTo>
                    <a:pt x="254116" y="92466"/>
                    <a:pt x="254009" y="92466"/>
                    <a:pt x="253903" y="92452"/>
                  </a:cubicBezTo>
                  <a:lnTo>
                    <a:pt x="245476" y="92452"/>
                  </a:lnTo>
                  <a:cubicBezTo>
                    <a:pt x="244825" y="92540"/>
                    <a:pt x="244226" y="92084"/>
                    <a:pt x="244138" y="91433"/>
                  </a:cubicBezTo>
                  <a:cubicBezTo>
                    <a:pt x="244124" y="91327"/>
                    <a:pt x="244124" y="91220"/>
                    <a:pt x="244138" y="91114"/>
                  </a:cubicBezTo>
                  <a:close/>
                  <a:moveTo>
                    <a:pt x="359173" y="93923"/>
                  </a:moveTo>
                  <a:cubicBezTo>
                    <a:pt x="355981" y="93926"/>
                    <a:pt x="352794" y="93613"/>
                    <a:pt x="349661" y="92987"/>
                  </a:cubicBezTo>
                  <a:cubicBezTo>
                    <a:pt x="346659" y="92395"/>
                    <a:pt x="343707" y="91567"/>
                    <a:pt x="340833" y="90511"/>
                  </a:cubicBezTo>
                  <a:cubicBezTo>
                    <a:pt x="338196" y="89540"/>
                    <a:pt x="335655" y="88331"/>
                    <a:pt x="333238" y="86899"/>
                  </a:cubicBezTo>
                  <a:cubicBezTo>
                    <a:pt x="331098" y="85646"/>
                    <a:pt x="329083" y="84191"/>
                    <a:pt x="327219" y="82554"/>
                  </a:cubicBezTo>
                  <a:cubicBezTo>
                    <a:pt x="326630" y="82073"/>
                    <a:pt x="326544" y="81206"/>
                    <a:pt x="327023" y="80617"/>
                  </a:cubicBezTo>
                  <a:cubicBezTo>
                    <a:pt x="327044" y="80593"/>
                    <a:pt x="327064" y="80570"/>
                    <a:pt x="327085" y="80547"/>
                  </a:cubicBezTo>
                  <a:lnTo>
                    <a:pt x="332971" y="73592"/>
                  </a:lnTo>
                  <a:cubicBezTo>
                    <a:pt x="333366" y="73043"/>
                    <a:pt x="334133" y="72920"/>
                    <a:pt x="334680" y="73317"/>
                  </a:cubicBezTo>
                  <a:cubicBezTo>
                    <a:pt x="334739" y="73359"/>
                    <a:pt x="334793" y="73406"/>
                    <a:pt x="334843" y="73458"/>
                  </a:cubicBezTo>
                  <a:cubicBezTo>
                    <a:pt x="338226" y="76036"/>
                    <a:pt x="341909" y="78192"/>
                    <a:pt x="345812" y="79878"/>
                  </a:cubicBezTo>
                  <a:cubicBezTo>
                    <a:pt x="350363" y="81878"/>
                    <a:pt x="355288" y="82881"/>
                    <a:pt x="360258" y="82821"/>
                  </a:cubicBezTo>
                  <a:cubicBezTo>
                    <a:pt x="365531" y="83142"/>
                    <a:pt x="370754" y="81630"/>
                    <a:pt x="375037" y="78541"/>
                  </a:cubicBezTo>
                  <a:cubicBezTo>
                    <a:pt x="378485" y="75848"/>
                    <a:pt x="380447" y="71677"/>
                    <a:pt x="380322" y="67305"/>
                  </a:cubicBezTo>
                  <a:cubicBezTo>
                    <a:pt x="380346" y="65479"/>
                    <a:pt x="380028" y="63664"/>
                    <a:pt x="379386" y="61954"/>
                  </a:cubicBezTo>
                  <a:cubicBezTo>
                    <a:pt x="378714" y="60285"/>
                    <a:pt x="377632" y="58813"/>
                    <a:pt x="376241" y="57674"/>
                  </a:cubicBezTo>
                  <a:cubicBezTo>
                    <a:pt x="374502" y="56275"/>
                    <a:pt x="372534" y="55189"/>
                    <a:pt x="370424" y="54464"/>
                  </a:cubicBezTo>
                  <a:cubicBezTo>
                    <a:pt x="367478" y="53450"/>
                    <a:pt x="364426" y="52777"/>
                    <a:pt x="361328" y="52457"/>
                  </a:cubicBezTo>
                  <a:lnTo>
                    <a:pt x="356780" y="51788"/>
                  </a:lnTo>
                  <a:cubicBezTo>
                    <a:pt x="338945" y="49381"/>
                    <a:pt x="330028" y="40998"/>
                    <a:pt x="330028" y="26641"/>
                  </a:cubicBezTo>
                  <a:cubicBezTo>
                    <a:pt x="329980" y="22883"/>
                    <a:pt x="330688" y="19153"/>
                    <a:pt x="332109" y="15673"/>
                  </a:cubicBezTo>
                  <a:cubicBezTo>
                    <a:pt x="333432" y="12453"/>
                    <a:pt x="335465" y="9573"/>
                    <a:pt x="338054" y="7246"/>
                  </a:cubicBezTo>
                  <a:cubicBezTo>
                    <a:pt x="340779" y="4847"/>
                    <a:pt x="343966" y="3026"/>
                    <a:pt x="347417" y="1895"/>
                  </a:cubicBezTo>
                  <a:cubicBezTo>
                    <a:pt x="351388" y="598"/>
                    <a:pt x="355547" y="-35"/>
                    <a:pt x="359723" y="23"/>
                  </a:cubicBezTo>
                  <a:cubicBezTo>
                    <a:pt x="364919" y="-2"/>
                    <a:pt x="370088" y="788"/>
                    <a:pt x="375040" y="2362"/>
                  </a:cubicBezTo>
                  <a:cubicBezTo>
                    <a:pt x="379460" y="3710"/>
                    <a:pt x="383634" y="5766"/>
                    <a:pt x="387397" y="8450"/>
                  </a:cubicBezTo>
                  <a:cubicBezTo>
                    <a:pt x="387971" y="8770"/>
                    <a:pt x="388176" y="9494"/>
                    <a:pt x="387855" y="10067"/>
                  </a:cubicBezTo>
                  <a:cubicBezTo>
                    <a:pt x="387804" y="10161"/>
                    <a:pt x="387739" y="10246"/>
                    <a:pt x="387664" y="10322"/>
                  </a:cubicBezTo>
                  <a:lnTo>
                    <a:pt x="383116" y="17679"/>
                  </a:lnTo>
                  <a:cubicBezTo>
                    <a:pt x="382700" y="18266"/>
                    <a:pt x="381889" y="18405"/>
                    <a:pt x="381300" y="17990"/>
                  </a:cubicBezTo>
                  <a:cubicBezTo>
                    <a:pt x="381282" y="17976"/>
                    <a:pt x="381262" y="17962"/>
                    <a:pt x="381244" y="17947"/>
                  </a:cubicBezTo>
                  <a:cubicBezTo>
                    <a:pt x="377855" y="15794"/>
                    <a:pt x="374217" y="14062"/>
                    <a:pt x="370409" y="12790"/>
                  </a:cubicBezTo>
                  <a:cubicBezTo>
                    <a:pt x="366818" y="11658"/>
                    <a:pt x="363073" y="11095"/>
                    <a:pt x="359307" y="11119"/>
                  </a:cubicBezTo>
                  <a:cubicBezTo>
                    <a:pt x="354664" y="10793"/>
                    <a:pt x="350071" y="12252"/>
                    <a:pt x="346466" y="15197"/>
                  </a:cubicBezTo>
                  <a:cubicBezTo>
                    <a:pt x="343517" y="17930"/>
                    <a:pt x="341906" y="21812"/>
                    <a:pt x="342052" y="25830"/>
                  </a:cubicBezTo>
                  <a:cubicBezTo>
                    <a:pt x="341960" y="29462"/>
                    <a:pt x="343538" y="32936"/>
                    <a:pt x="346332" y="35259"/>
                  </a:cubicBezTo>
                  <a:cubicBezTo>
                    <a:pt x="350722" y="38294"/>
                    <a:pt x="355853" y="40083"/>
                    <a:pt x="361180" y="40434"/>
                  </a:cubicBezTo>
                  <a:lnTo>
                    <a:pt x="365594" y="41102"/>
                  </a:lnTo>
                  <a:cubicBezTo>
                    <a:pt x="372939" y="41695"/>
                    <a:pt x="379930" y="44492"/>
                    <a:pt x="385658" y="49128"/>
                  </a:cubicBezTo>
                  <a:cubicBezTo>
                    <a:pt x="390301" y="53682"/>
                    <a:pt x="392741" y="60025"/>
                    <a:pt x="392346" y="66517"/>
                  </a:cubicBezTo>
                  <a:cubicBezTo>
                    <a:pt x="392388" y="70296"/>
                    <a:pt x="391680" y="74046"/>
                    <a:pt x="390265" y="77551"/>
                  </a:cubicBezTo>
                  <a:cubicBezTo>
                    <a:pt x="388889" y="80885"/>
                    <a:pt x="386731" y="83841"/>
                    <a:pt x="383979" y="86171"/>
                  </a:cubicBezTo>
                  <a:cubicBezTo>
                    <a:pt x="380902" y="88726"/>
                    <a:pt x="377359" y="90658"/>
                    <a:pt x="373545" y="91857"/>
                  </a:cubicBezTo>
                  <a:cubicBezTo>
                    <a:pt x="368896" y="93311"/>
                    <a:pt x="364042" y="94009"/>
                    <a:pt x="359173" y="93923"/>
                  </a:cubicBezTo>
                  <a:close/>
                  <a:moveTo>
                    <a:pt x="412009" y="92452"/>
                  </a:moveTo>
                  <a:cubicBezTo>
                    <a:pt x="411358" y="92540"/>
                    <a:pt x="410761" y="92084"/>
                    <a:pt x="410671" y="91433"/>
                  </a:cubicBezTo>
                  <a:cubicBezTo>
                    <a:pt x="410656" y="91327"/>
                    <a:pt x="410656" y="91220"/>
                    <a:pt x="410671" y="91114"/>
                  </a:cubicBezTo>
                  <a:lnTo>
                    <a:pt x="410671" y="2832"/>
                  </a:lnTo>
                  <a:cubicBezTo>
                    <a:pt x="410582" y="2181"/>
                    <a:pt x="411040" y="1582"/>
                    <a:pt x="411691" y="1494"/>
                  </a:cubicBezTo>
                  <a:cubicBezTo>
                    <a:pt x="411795" y="1480"/>
                    <a:pt x="411902" y="1480"/>
                    <a:pt x="412009" y="1494"/>
                  </a:cubicBezTo>
                  <a:lnTo>
                    <a:pt x="444379" y="1494"/>
                  </a:lnTo>
                  <a:cubicBezTo>
                    <a:pt x="448431" y="1442"/>
                    <a:pt x="452458" y="2099"/>
                    <a:pt x="456284" y="3435"/>
                  </a:cubicBezTo>
                  <a:cubicBezTo>
                    <a:pt x="459664" y="4614"/>
                    <a:pt x="462761" y="6482"/>
                    <a:pt x="465380" y="8919"/>
                  </a:cubicBezTo>
                  <a:cubicBezTo>
                    <a:pt x="467906" y="11326"/>
                    <a:pt x="469892" y="14245"/>
                    <a:pt x="471200" y="17480"/>
                  </a:cubicBezTo>
                  <a:cubicBezTo>
                    <a:pt x="472624" y="21030"/>
                    <a:pt x="473331" y="24826"/>
                    <a:pt x="473281" y="28651"/>
                  </a:cubicBezTo>
                  <a:cubicBezTo>
                    <a:pt x="473331" y="32474"/>
                    <a:pt x="472624" y="36269"/>
                    <a:pt x="471200" y="39818"/>
                  </a:cubicBezTo>
                  <a:cubicBezTo>
                    <a:pt x="469892" y="43054"/>
                    <a:pt x="467906" y="45972"/>
                    <a:pt x="465380" y="48379"/>
                  </a:cubicBezTo>
                  <a:cubicBezTo>
                    <a:pt x="462761" y="50817"/>
                    <a:pt x="459664" y="52684"/>
                    <a:pt x="456284" y="53863"/>
                  </a:cubicBezTo>
                  <a:cubicBezTo>
                    <a:pt x="452458" y="55200"/>
                    <a:pt x="448431" y="55857"/>
                    <a:pt x="444379" y="55804"/>
                  </a:cubicBezTo>
                  <a:lnTo>
                    <a:pt x="423379" y="55804"/>
                  </a:lnTo>
                  <a:cubicBezTo>
                    <a:pt x="422989" y="55750"/>
                    <a:pt x="422630" y="56020"/>
                    <a:pt x="422576" y="56409"/>
                  </a:cubicBezTo>
                  <a:cubicBezTo>
                    <a:pt x="422567" y="56474"/>
                    <a:pt x="422567" y="56541"/>
                    <a:pt x="422576" y="56607"/>
                  </a:cubicBezTo>
                  <a:lnTo>
                    <a:pt x="422576" y="91114"/>
                  </a:lnTo>
                  <a:cubicBezTo>
                    <a:pt x="422665" y="91765"/>
                    <a:pt x="422208" y="92364"/>
                    <a:pt x="421557" y="92452"/>
                  </a:cubicBezTo>
                  <a:cubicBezTo>
                    <a:pt x="421453" y="92466"/>
                    <a:pt x="421346" y="92466"/>
                    <a:pt x="421239" y="92452"/>
                  </a:cubicBezTo>
                  <a:close/>
                  <a:moveTo>
                    <a:pt x="443710" y="44699"/>
                  </a:moveTo>
                  <a:cubicBezTo>
                    <a:pt x="448466" y="44992"/>
                    <a:pt x="453154" y="43461"/>
                    <a:pt x="456819" y="40419"/>
                  </a:cubicBezTo>
                  <a:cubicBezTo>
                    <a:pt x="460023" y="37366"/>
                    <a:pt x="461733" y="33067"/>
                    <a:pt x="461501" y="28648"/>
                  </a:cubicBezTo>
                  <a:cubicBezTo>
                    <a:pt x="461733" y="24229"/>
                    <a:pt x="460023" y="19929"/>
                    <a:pt x="456819" y="16877"/>
                  </a:cubicBezTo>
                  <a:cubicBezTo>
                    <a:pt x="453154" y="13835"/>
                    <a:pt x="448466" y="12304"/>
                    <a:pt x="443710" y="12596"/>
                  </a:cubicBezTo>
                  <a:lnTo>
                    <a:pt x="423379" y="12596"/>
                  </a:lnTo>
                  <a:cubicBezTo>
                    <a:pt x="422989" y="12542"/>
                    <a:pt x="422630" y="12812"/>
                    <a:pt x="422576" y="13201"/>
                  </a:cubicBezTo>
                  <a:cubicBezTo>
                    <a:pt x="422567" y="13266"/>
                    <a:pt x="422567" y="13333"/>
                    <a:pt x="422576" y="13399"/>
                  </a:cubicBezTo>
                  <a:lnTo>
                    <a:pt x="422576" y="43897"/>
                  </a:lnTo>
                  <a:cubicBezTo>
                    <a:pt x="422523" y="44285"/>
                    <a:pt x="422793" y="44644"/>
                    <a:pt x="423180" y="44699"/>
                  </a:cubicBezTo>
                  <a:cubicBezTo>
                    <a:pt x="423245" y="44708"/>
                    <a:pt x="423313" y="44708"/>
                    <a:pt x="423379" y="44699"/>
                  </a:cubicBezTo>
                  <a:close/>
                  <a:moveTo>
                    <a:pt x="519955" y="93923"/>
                  </a:moveTo>
                  <a:cubicBezTo>
                    <a:pt x="513076" y="94146"/>
                    <a:pt x="506290" y="92281"/>
                    <a:pt x="500491" y="88573"/>
                  </a:cubicBezTo>
                  <a:cubicBezTo>
                    <a:pt x="494977" y="84724"/>
                    <a:pt x="490943" y="79109"/>
                    <a:pt x="489053" y="72655"/>
                  </a:cubicBezTo>
                  <a:cubicBezTo>
                    <a:pt x="488601" y="71289"/>
                    <a:pt x="488220" y="69900"/>
                    <a:pt x="487917" y="68494"/>
                  </a:cubicBezTo>
                  <a:cubicBezTo>
                    <a:pt x="487572" y="66839"/>
                    <a:pt x="487326" y="65164"/>
                    <a:pt x="487183" y="63479"/>
                  </a:cubicBezTo>
                  <a:cubicBezTo>
                    <a:pt x="487005" y="61563"/>
                    <a:pt x="486871" y="59266"/>
                    <a:pt x="486782" y="56589"/>
                  </a:cubicBezTo>
                  <a:cubicBezTo>
                    <a:pt x="486692" y="53912"/>
                    <a:pt x="486648" y="50701"/>
                    <a:pt x="486648" y="46958"/>
                  </a:cubicBezTo>
                  <a:cubicBezTo>
                    <a:pt x="486648" y="43213"/>
                    <a:pt x="486692" y="40003"/>
                    <a:pt x="486782" y="37327"/>
                  </a:cubicBezTo>
                  <a:cubicBezTo>
                    <a:pt x="486871" y="34652"/>
                    <a:pt x="487005" y="32356"/>
                    <a:pt x="487183" y="30440"/>
                  </a:cubicBezTo>
                  <a:cubicBezTo>
                    <a:pt x="487326" y="28755"/>
                    <a:pt x="487572" y="27081"/>
                    <a:pt x="487917" y="25426"/>
                  </a:cubicBezTo>
                  <a:cubicBezTo>
                    <a:pt x="488220" y="24019"/>
                    <a:pt x="488601" y="22630"/>
                    <a:pt x="489053" y="21264"/>
                  </a:cubicBezTo>
                  <a:cubicBezTo>
                    <a:pt x="490946" y="14815"/>
                    <a:pt x="494980" y="9204"/>
                    <a:pt x="500494" y="5358"/>
                  </a:cubicBezTo>
                  <a:cubicBezTo>
                    <a:pt x="512535" y="-1776"/>
                    <a:pt x="527511" y="-1776"/>
                    <a:pt x="539552" y="5358"/>
                  </a:cubicBezTo>
                  <a:cubicBezTo>
                    <a:pt x="545066" y="9207"/>
                    <a:pt x="549100" y="14823"/>
                    <a:pt x="550990" y="21276"/>
                  </a:cubicBezTo>
                  <a:cubicBezTo>
                    <a:pt x="551442" y="22642"/>
                    <a:pt x="551822" y="24031"/>
                    <a:pt x="552126" y="25437"/>
                  </a:cubicBezTo>
                  <a:cubicBezTo>
                    <a:pt x="552473" y="27093"/>
                    <a:pt x="552717" y="28769"/>
                    <a:pt x="552863" y="30455"/>
                  </a:cubicBezTo>
                  <a:cubicBezTo>
                    <a:pt x="553041" y="32373"/>
                    <a:pt x="553175" y="34669"/>
                    <a:pt x="553264" y="37342"/>
                  </a:cubicBezTo>
                  <a:cubicBezTo>
                    <a:pt x="553353" y="40015"/>
                    <a:pt x="553398" y="43226"/>
                    <a:pt x="553398" y="46973"/>
                  </a:cubicBezTo>
                  <a:cubicBezTo>
                    <a:pt x="553398" y="50718"/>
                    <a:pt x="553353" y="53929"/>
                    <a:pt x="553264" y="56604"/>
                  </a:cubicBezTo>
                  <a:cubicBezTo>
                    <a:pt x="553175" y="59279"/>
                    <a:pt x="553041" y="61576"/>
                    <a:pt x="552863" y="63494"/>
                  </a:cubicBezTo>
                  <a:cubicBezTo>
                    <a:pt x="552717" y="65180"/>
                    <a:pt x="552473" y="66855"/>
                    <a:pt x="552126" y="68512"/>
                  </a:cubicBezTo>
                  <a:cubicBezTo>
                    <a:pt x="551822" y="69918"/>
                    <a:pt x="551442" y="71307"/>
                    <a:pt x="550990" y="72673"/>
                  </a:cubicBezTo>
                  <a:cubicBezTo>
                    <a:pt x="549100" y="79126"/>
                    <a:pt x="545066" y="84742"/>
                    <a:pt x="539552" y="88591"/>
                  </a:cubicBezTo>
                  <a:cubicBezTo>
                    <a:pt x="533708" y="92304"/>
                    <a:pt x="526874" y="94163"/>
                    <a:pt x="519955" y="93923"/>
                  </a:cubicBezTo>
                  <a:close/>
                  <a:moveTo>
                    <a:pt x="519955" y="82821"/>
                  </a:moveTo>
                  <a:cubicBezTo>
                    <a:pt x="524366" y="83016"/>
                    <a:pt x="528723" y="81797"/>
                    <a:pt x="532394" y="79343"/>
                  </a:cubicBezTo>
                  <a:cubicBezTo>
                    <a:pt x="535735" y="76839"/>
                    <a:pt x="538176" y="73319"/>
                    <a:pt x="539350" y="69311"/>
                  </a:cubicBezTo>
                  <a:cubicBezTo>
                    <a:pt x="539662" y="68325"/>
                    <a:pt x="539909" y="67319"/>
                    <a:pt x="540087" y="66300"/>
                  </a:cubicBezTo>
                  <a:cubicBezTo>
                    <a:pt x="540310" y="65095"/>
                    <a:pt x="540533" y="63602"/>
                    <a:pt x="540756" y="61821"/>
                  </a:cubicBezTo>
                  <a:cubicBezTo>
                    <a:pt x="540979" y="60039"/>
                    <a:pt x="541136" y="57944"/>
                    <a:pt x="541226" y="55534"/>
                  </a:cubicBezTo>
                  <a:cubicBezTo>
                    <a:pt x="541315" y="53126"/>
                    <a:pt x="541359" y="50273"/>
                    <a:pt x="541359" y="46973"/>
                  </a:cubicBezTo>
                  <a:cubicBezTo>
                    <a:pt x="541359" y="43674"/>
                    <a:pt x="541315" y="40820"/>
                    <a:pt x="541226" y="38412"/>
                  </a:cubicBezTo>
                  <a:cubicBezTo>
                    <a:pt x="541136" y="36005"/>
                    <a:pt x="540979" y="33909"/>
                    <a:pt x="540756" y="32126"/>
                  </a:cubicBezTo>
                  <a:cubicBezTo>
                    <a:pt x="540533" y="30342"/>
                    <a:pt x="540310" y="28849"/>
                    <a:pt x="540087" y="27646"/>
                  </a:cubicBezTo>
                  <a:cubicBezTo>
                    <a:pt x="539909" y="26627"/>
                    <a:pt x="539662" y="25621"/>
                    <a:pt x="539350" y="24635"/>
                  </a:cubicBezTo>
                  <a:cubicBezTo>
                    <a:pt x="538176" y="20627"/>
                    <a:pt x="535735" y="17107"/>
                    <a:pt x="532394" y="14603"/>
                  </a:cubicBezTo>
                  <a:cubicBezTo>
                    <a:pt x="528723" y="12149"/>
                    <a:pt x="524366" y="10931"/>
                    <a:pt x="519955" y="11125"/>
                  </a:cubicBezTo>
                  <a:cubicBezTo>
                    <a:pt x="515564" y="10923"/>
                    <a:pt x="511224" y="12143"/>
                    <a:pt x="507580" y="14603"/>
                  </a:cubicBezTo>
                  <a:cubicBezTo>
                    <a:pt x="504272" y="17126"/>
                    <a:pt x="501858" y="20641"/>
                    <a:pt x="500693" y="24635"/>
                  </a:cubicBezTo>
                  <a:cubicBezTo>
                    <a:pt x="500381" y="25621"/>
                    <a:pt x="500134" y="26627"/>
                    <a:pt x="499959" y="27646"/>
                  </a:cubicBezTo>
                  <a:cubicBezTo>
                    <a:pt x="499736" y="28849"/>
                    <a:pt x="499513" y="30342"/>
                    <a:pt x="499290" y="32126"/>
                  </a:cubicBezTo>
                  <a:cubicBezTo>
                    <a:pt x="499067" y="33909"/>
                    <a:pt x="498909" y="36005"/>
                    <a:pt x="498820" y="38412"/>
                  </a:cubicBezTo>
                  <a:cubicBezTo>
                    <a:pt x="498731" y="40820"/>
                    <a:pt x="498686" y="43674"/>
                    <a:pt x="498686" y="46973"/>
                  </a:cubicBezTo>
                  <a:cubicBezTo>
                    <a:pt x="498686" y="50273"/>
                    <a:pt x="498731" y="53126"/>
                    <a:pt x="498820" y="55534"/>
                  </a:cubicBezTo>
                  <a:cubicBezTo>
                    <a:pt x="498909" y="57941"/>
                    <a:pt x="499067" y="60037"/>
                    <a:pt x="499290" y="61821"/>
                  </a:cubicBezTo>
                  <a:cubicBezTo>
                    <a:pt x="499513" y="63604"/>
                    <a:pt x="499736" y="65097"/>
                    <a:pt x="499959" y="66300"/>
                  </a:cubicBezTo>
                  <a:cubicBezTo>
                    <a:pt x="500134" y="67319"/>
                    <a:pt x="500381" y="68325"/>
                    <a:pt x="500693" y="69311"/>
                  </a:cubicBezTo>
                  <a:cubicBezTo>
                    <a:pt x="501858" y="73305"/>
                    <a:pt x="504272" y="76821"/>
                    <a:pt x="507580" y="79343"/>
                  </a:cubicBezTo>
                  <a:cubicBezTo>
                    <a:pt x="511224" y="81803"/>
                    <a:pt x="515564" y="83023"/>
                    <a:pt x="519955" y="82821"/>
                  </a:cubicBezTo>
                  <a:close/>
                  <a:moveTo>
                    <a:pt x="625359" y="92452"/>
                  </a:moveTo>
                  <a:cubicBezTo>
                    <a:pt x="624544" y="92446"/>
                    <a:pt x="623834" y="91899"/>
                    <a:pt x="623620" y="91114"/>
                  </a:cubicBezTo>
                  <a:lnTo>
                    <a:pt x="605428" y="53929"/>
                  </a:lnTo>
                  <a:lnTo>
                    <a:pt x="585364" y="53929"/>
                  </a:lnTo>
                  <a:cubicBezTo>
                    <a:pt x="584974" y="53874"/>
                    <a:pt x="584615" y="54144"/>
                    <a:pt x="584561" y="54533"/>
                  </a:cubicBezTo>
                  <a:cubicBezTo>
                    <a:pt x="584552" y="54599"/>
                    <a:pt x="584552" y="54666"/>
                    <a:pt x="584561" y="54731"/>
                  </a:cubicBezTo>
                  <a:lnTo>
                    <a:pt x="584561" y="91114"/>
                  </a:lnTo>
                  <a:cubicBezTo>
                    <a:pt x="584651" y="91765"/>
                    <a:pt x="584193" y="92364"/>
                    <a:pt x="583542" y="92452"/>
                  </a:cubicBezTo>
                  <a:cubicBezTo>
                    <a:pt x="583438" y="92466"/>
                    <a:pt x="583331" y="92466"/>
                    <a:pt x="583224" y="92452"/>
                  </a:cubicBezTo>
                  <a:lnTo>
                    <a:pt x="573994" y="92452"/>
                  </a:lnTo>
                  <a:cubicBezTo>
                    <a:pt x="573343" y="92540"/>
                    <a:pt x="572746" y="92084"/>
                    <a:pt x="572657" y="91433"/>
                  </a:cubicBezTo>
                  <a:cubicBezTo>
                    <a:pt x="572642" y="91327"/>
                    <a:pt x="572642" y="91220"/>
                    <a:pt x="572657" y="91114"/>
                  </a:cubicBezTo>
                  <a:lnTo>
                    <a:pt x="572657" y="2832"/>
                  </a:lnTo>
                  <a:cubicBezTo>
                    <a:pt x="572567" y="2181"/>
                    <a:pt x="573025" y="1582"/>
                    <a:pt x="573676" y="1494"/>
                  </a:cubicBezTo>
                  <a:cubicBezTo>
                    <a:pt x="573780" y="1480"/>
                    <a:pt x="573887" y="1480"/>
                    <a:pt x="573994" y="1494"/>
                  </a:cubicBezTo>
                  <a:lnTo>
                    <a:pt x="606900" y="1494"/>
                  </a:lnTo>
                  <a:cubicBezTo>
                    <a:pt x="610859" y="1441"/>
                    <a:pt x="614794" y="2075"/>
                    <a:pt x="618537" y="3367"/>
                  </a:cubicBezTo>
                  <a:cubicBezTo>
                    <a:pt x="621845" y="4516"/>
                    <a:pt x="624892" y="6312"/>
                    <a:pt x="627499" y="8652"/>
                  </a:cubicBezTo>
                  <a:cubicBezTo>
                    <a:pt x="630019" y="10959"/>
                    <a:pt x="632005" y="13790"/>
                    <a:pt x="633319" y="16945"/>
                  </a:cubicBezTo>
                  <a:cubicBezTo>
                    <a:pt x="634734" y="20356"/>
                    <a:pt x="635441" y="24019"/>
                    <a:pt x="635400" y="27711"/>
                  </a:cubicBezTo>
                  <a:cubicBezTo>
                    <a:pt x="635572" y="33317"/>
                    <a:pt x="633878" y="38822"/>
                    <a:pt x="630584" y="43361"/>
                  </a:cubicBezTo>
                  <a:cubicBezTo>
                    <a:pt x="627288" y="47703"/>
                    <a:pt x="622698" y="50888"/>
                    <a:pt x="617476" y="52457"/>
                  </a:cubicBezTo>
                  <a:lnTo>
                    <a:pt x="636871" y="90847"/>
                  </a:lnTo>
                  <a:cubicBezTo>
                    <a:pt x="637127" y="91170"/>
                    <a:pt x="637177" y="91609"/>
                    <a:pt x="637005" y="91982"/>
                  </a:cubicBezTo>
                  <a:cubicBezTo>
                    <a:pt x="636809" y="92305"/>
                    <a:pt x="636446" y="92488"/>
                    <a:pt x="636068" y="92452"/>
                  </a:cubicBezTo>
                  <a:close/>
                  <a:moveTo>
                    <a:pt x="606632" y="42826"/>
                  </a:moveTo>
                  <a:cubicBezTo>
                    <a:pt x="611126" y="43111"/>
                    <a:pt x="615564" y="41704"/>
                    <a:pt x="619072" y="38882"/>
                  </a:cubicBezTo>
                  <a:cubicBezTo>
                    <a:pt x="622122" y="35995"/>
                    <a:pt x="623739" y="31904"/>
                    <a:pt x="623486" y="27711"/>
                  </a:cubicBezTo>
                  <a:cubicBezTo>
                    <a:pt x="623739" y="23519"/>
                    <a:pt x="622122" y="19431"/>
                    <a:pt x="619072" y="16544"/>
                  </a:cubicBezTo>
                  <a:cubicBezTo>
                    <a:pt x="615564" y="13722"/>
                    <a:pt x="611126" y="12315"/>
                    <a:pt x="606632" y="12599"/>
                  </a:cubicBezTo>
                  <a:lnTo>
                    <a:pt x="585364" y="12599"/>
                  </a:lnTo>
                  <a:cubicBezTo>
                    <a:pt x="584974" y="12545"/>
                    <a:pt x="584615" y="12815"/>
                    <a:pt x="584561" y="13204"/>
                  </a:cubicBezTo>
                  <a:cubicBezTo>
                    <a:pt x="584552" y="13269"/>
                    <a:pt x="584552" y="13336"/>
                    <a:pt x="584561" y="13402"/>
                  </a:cubicBezTo>
                  <a:lnTo>
                    <a:pt x="584561" y="42027"/>
                  </a:lnTo>
                  <a:cubicBezTo>
                    <a:pt x="584508" y="42415"/>
                    <a:pt x="584778" y="42775"/>
                    <a:pt x="585165" y="42829"/>
                  </a:cubicBezTo>
                  <a:cubicBezTo>
                    <a:pt x="585230" y="42839"/>
                    <a:pt x="585299" y="42839"/>
                    <a:pt x="585364" y="42829"/>
                  </a:cubicBezTo>
                  <a:close/>
                  <a:moveTo>
                    <a:pt x="674717" y="92452"/>
                  </a:moveTo>
                  <a:cubicBezTo>
                    <a:pt x="674066" y="92540"/>
                    <a:pt x="673468" y="92084"/>
                    <a:pt x="673379" y="91433"/>
                  </a:cubicBezTo>
                  <a:cubicBezTo>
                    <a:pt x="673364" y="91327"/>
                    <a:pt x="673364" y="91220"/>
                    <a:pt x="673379" y="91114"/>
                  </a:cubicBezTo>
                  <a:lnTo>
                    <a:pt x="673379" y="13384"/>
                  </a:lnTo>
                  <a:cubicBezTo>
                    <a:pt x="673432" y="12996"/>
                    <a:pt x="673162" y="12636"/>
                    <a:pt x="672776" y="12581"/>
                  </a:cubicBezTo>
                  <a:cubicBezTo>
                    <a:pt x="672710" y="12572"/>
                    <a:pt x="672642" y="12572"/>
                    <a:pt x="672576" y="12581"/>
                  </a:cubicBezTo>
                  <a:lnTo>
                    <a:pt x="647697" y="12581"/>
                  </a:lnTo>
                  <a:cubicBezTo>
                    <a:pt x="647046" y="12670"/>
                    <a:pt x="646448" y="12213"/>
                    <a:pt x="646359" y="11563"/>
                  </a:cubicBezTo>
                  <a:cubicBezTo>
                    <a:pt x="646344" y="11457"/>
                    <a:pt x="646344" y="11350"/>
                    <a:pt x="646359" y="11244"/>
                  </a:cubicBezTo>
                  <a:lnTo>
                    <a:pt x="646359" y="2832"/>
                  </a:lnTo>
                  <a:cubicBezTo>
                    <a:pt x="646270" y="2181"/>
                    <a:pt x="646728" y="1582"/>
                    <a:pt x="647379" y="1494"/>
                  </a:cubicBezTo>
                  <a:cubicBezTo>
                    <a:pt x="647483" y="1480"/>
                    <a:pt x="647590" y="1480"/>
                    <a:pt x="647697" y="1494"/>
                  </a:cubicBezTo>
                  <a:lnTo>
                    <a:pt x="710966" y="1494"/>
                  </a:lnTo>
                  <a:cubicBezTo>
                    <a:pt x="711617" y="1406"/>
                    <a:pt x="712214" y="1862"/>
                    <a:pt x="712304" y="2513"/>
                  </a:cubicBezTo>
                  <a:cubicBezTo>
                    <a:pt x="712318" y="2619"/>
                    <a:pt x="712318" y="2726"/>
                    <a:pt x="712304" y="2832"/>
                  </a:cubicBezTo>
                  <a:lnTo>
                    <a:pt x="712304" y="11259"/>
                  </a:lnTo>
                  <a:cubicBezTo>
                    <a:pt x="712393" y="11909"/>
                    <a:pt x="711935" y="12508"/>
                    <a:pt x="711284" y="12596"/>
                  </a:cubicBezTo>
                  <a:cubicBezTo>
                    <a:pt x="711180" y="12611"/>
                    <a:pt x="711073" y="12611"/>
                    <a:pt x="710966" y="12596"/>
                  </a:cubicBezTo>
                  <a:lnTo>
                    <a:pt x="686086" y="12596"/>
                  </a:lnTo>
                  <a:cubicBezTo>
                    <a:pt x="685697" y="12542"/>
                    <a:pt x="685337" y="12812"/>
                    <a:pt x="685284" y="13201"/>
                  </a:cubicBezTo>
                  <a:cubicBezTo>
                    <a:pt x="685275" y="13266"/>
                    <a:pt x="685275" y="13333"/>
                    <a:pt x="685284" y="13399"/>
                  </a:cubicBezTo>
                  <a:lnTo>
                    <a:pt x="685284" y="91114"/>
                  </a:lnTo>
                  <a:cubicBezTo>
                    <a:pt x="685373" y="91765"/>
                    <a:pt x="684915" y="92364"/>
                    <a:pt x="684264" y="92452"/>
                  </a:cubicBezTo>
                  <a:cubicBezTo>
                    <a:pt x="684160" y="92466"/>
                    <a:pt x="684053" y="92466"/>
                    <a:pt x="683946" y="92452"/>
                  </a:cubicBezTo>
                  <a:close/>
                  <a:moveTo>
                    <a:pt x="740393" y="2832"/>
                  </a:moveTo>
                  <a:cubicBezTo>
                    <a:pt x="740524" y="2051"/>
                    <a:pt x="741208" y="1483"/>
                    <a:pt x="741999" y="1494"/>
                  </a:cubicBezTo>
                  <a:lnTo>
                    <a:pt x="750693" y="1494"/>
                  </a:lnTo>
                  <a:cubicBezTo>
                    <a:pt x="751525" y="1448"/>
                    <a:pt x="752263" y="2017"/>
                    <a:pt x="752432" y="2832"/>
                  </a:cubicBezTo>
                  <a:lnTo>
                    <a:pt x="783598" y="91114"/>
                  </a:lnTo>
                  <a:cubicBezTo>
                    <a:pt x="783866" y="92006"/>
                    <a:pt x="783554" y="92452"/>
                    <a:pt x="782662" y="92452"/>
                  </a:cubicBezTo>
                  <a:lnTo>
                    <a:pt x="773299" y="92452"/>
                  </a:lnTo>
                  <a:cubicBezTo>
                    <a:pt x="772467" y="92499"/>
                    <a:pt x="771729" y="91929"/>
                    <a:pt x="771560" y="91114"/>
                  </a:cubicBezTo>
                  <a:lnTo>
                    <a:pt x="764604" y="71318"/>
                  </a:lnTo>
                  <a:lnTo>
                    <a:pt x="727820" y="71318"/>
                  </a:lnTo>
                  <a:lnTo>
                    <a:pt x="720864" y="91114"/>
                  </a:lnTo>
                  <a:cubicBezTo>
                    <a:pt x="720650" y="91899"/>
                    <a:pt x="719940" y="92446"/>
                    <a:pt x="719125" y="92452"/>
                  </a:cubicBezTo>
                  <a:lnTo>
                    <a:pt x="709762" y="92452"/>
                  </a:lnTo>
                  <a:cubicBezTo>
                    <a:pt x="708870" y="92452"/>
                    <a:pt x="708558" y="92006"/>
                    <a:pt x="708826" y="91114"/>
                  </a:cubicBezTo>
                  <a:close/>
                  <a:moveTo>
                    <a:pt x="760725" y="60349"/>
                  </a:moveTo>
                  <a:lnTo>
                    <a:pt x="746413" y="19017"/>
                  </a:lnTo>
                  <a:lnTo>
                    <a:pt x="746145" y="19017"/>
                  </a:lnTo>
                  <a:lnTo>
                    <a:pt x="731699" y="60349"/>
                  </a:lnTo>
                  <a:close/>
                  <a:moveTo>
                    <a:pt x="808478" y="92452"/>
                  </a:moveTo>
                  <a:cubicBezTo>
                    <a:pt x="807827" y="92540"/>
                    <a:pt x="807230" y="92084"/>
                    <a:pt x="807140" y="91433"/>
                  </a:cubicBezTo>
                  <a:cubicBezTo>
                    <a:pt x="807126" y="91327"/>
                    <a:pt x="807126" y="91220"/>
                    <a:pt x="807140" y="91114"/>
                  </a:cubicBezTo>
                  <a:lnTo>
                    <a:pt x="807140" y="13384"/>
                  </a:lnTo>
                  <a:cubicBezTo>
                    <a:pt x="807194" y="12996"/>
                    <a:pt x="806923" y="12636"/>
                    <a:pt x="806537" y="12581"/>
                  </a:cubicBezTo>
                  <a:cubicBezTo>
                    <a:pt x="806472" y="12572"/>
                    <a:pt x="806403" y="12572"/>
                    <a:pt x="806338" y="12581"/>
                  </a:cubicBezTo>
                  <a:lnTo>
                    <a:pt x="781458" y="12581"/>
                  </a:lnTo>
                  <a:cubicBezTo>
                    <a:pt x="780807" y="12670"/>
                    <a:pt x="780210" y="12213"/>
                    <a:pt x="780121" y="11563"/>
                  </a:cubicBezTo>
                  <a:cubicBezTo>
                    <a:pt x="780106" y="11457"/>
                    <a:pt x="780106" y="11350"/>
                    <a:pt x="780121" y="11244"/>
                  </a:cubicBezTo>
                  <a:lnTo>
                    <a:pt x="780121" y="2832"/>
                  </a:lnTo>
                  <a:cubicBezTo>
                    <a:pt x="780031" y="2181"/>
                    <a:pt x="780489" y="1582"/>
                    <a:pt x="781140" y="1494"/>
                  </a:cubicBezTo>
                  <a:cubicBezTo>
                    <a:pt x="781244" y="1480"/>
                    <a:pt x="781351" y="1480"/>
                    <a:pt x="781458" y="1494"/>
                  </a:cubicBezTo>
                  <a:lnTo>
                    <a:pt x="844727" y="1494"/>
                  </a:lnTo>
                  <a:cubicBezTo>
                    <a:pt x="845378" y="1406"/>
                    <a:pt x="845976" y="1862"/>
                    <a:pt x="846065" y="2513"/>
                  </a:cubicBezTo>
                  <a:cubicBezTo>
                    <a:pt x="846080" y="2619"/>
                    <a:pt x="846080" y="2726"/>
                    <a:pt x="846065" y="2832"/>
                  </a:cubicBezTo>
                  <a:lnTo>
                    <a:pt x="846065" y="11259"/>
                  </a:lnTo>
                  <a:cubicBezTo>
                    <a:pt x="846154" y="11909"/>
                    <a:pt x="845696" y="12508"/>
                    <a:pt x="845046" y="12596"/>
                  </a:cubicBezTo>
                  <a:cubicBezTo>
                    <a:pt x="844941" y="12611"/>
                    <a:pt x="844834" y="12611"/>
                    <a:pt x="844727" y="12596"/>
                  </a:cubicBezTo>
                  <a:lnTo>
                    <a:pt x="819848" y="12596"/>
                  </a:lnTo>
                  <a:cubicBezTo>
                    <a:pt x="819458" y="12542"/>
                    <a:pt x="819099" y="12812"/>
                    <a:pt x="819045" y="13201"/>
                  </a:cubicBezTo>
                  <a:cubicBezTo>
                    <a:pt x="819036" y="13266"/>
                    <a:pt x="819036" y="13333"/>
                    <a:pt x="819045" y="13399"/>
                  </a:cubicBezTo>
                  <a:lnTo>
                    <a:pt x="819045" y="91114"/>
                  </a:lnTo>
                  <a:cubicBezTo>
                    <a:pt x="819134" y="91765"/>
                    <a:pt x="818677" y="92364"/>
                    <a:pt x="818026" y="92452"/>
                  </a:cubicBezTo>
                  <a:cubicBezTo>
                    <a:pt x="817922" y="92466"/>
                    <a:pt x="817815" y="92466"/>
                    <a:pt x="817708" y="92452"/>
                  </a:cubicBezTo>
                  <a:close/>
                  <a:moveTo>
                    <a:pt x="860259" y="2832"/>
                  </a:moveTo>
                  <a:cubicBezTo>
                    <a:pt x="860169" y="2181"/>
                    <a:pt x="860627" y="1582"/>
                    <a:pt x="861278" y="1494"/>
                  </a:cubicBezTo>
                  <a:cubicBezTo>
                    <a:pt x="861382" y="1480"/>
                    <a:pt x="861489" y="1480"/>
                    <a:pt x="861596" y="1494"/>
                  </a:cubicBezTo>
                  <a:lnTo>
                    <a:pt x="870811" y="1494"/>
                  </a:lnTo>
                  <a:cubicBezTo>
                    <a:pt x="871462" y="1406"/>
                    <a:pt x="872059" y="1862"/>
                    <a:pt x="872149" y="2513"/>
                  </a:cubicBezTo>
                  <a:cubicBezTo>
                    <a:pt x="872163" y="2619"/>
                    <a:pt x="872163" y="2726"/>
                    <a:pt x="872149" y="2832"/>
                  </a:cubicBezTo>
                  <a:lnTo>
                    <a:pt x="872149" y="91114"/>
                  </a:lnTo>
                  <a:cubicBezTo>
                    <a:pt x="872238" y="91765"/>
                    <a:pt x="871780" y="92364"/>
                    <a:pt x="871129" y="92452"/>
                  </a:cubicBezTo>
                  <a:cubicBezTo>
                    <a:pt x="871025" y="92466"/>
                    <a:pt x="870918" y="92466"/>
                    <a:pt x="870811" y="92452"/>
                  </a:cubicBezTo>
                  <a:lnTo>
                    <a:pt x="861596" y="92452"/>
                  </a:lnTo>
                  <a:cubicBezTo>
                    <a:pt x="860945" y="92540"/>
                    <a:pt x="860348" y="92084"/>
                    <a:pt x="860259" y="91433"/>
                  </a:cubicBezTo>
                  <a:cubicBezTo>
                    <a:pt x="860244" y="91327"/>
                    <a:pt x="860244" y="91220"/>
                    <a:pt x="860259" y="91114"/>
                  </a:cubicBezTo>
                  <a:close/>
                  <a:moveTo>
                    <a:pt x="924732" y="93923"/>
                  </a:moveTo>
                  <a:cubicBezTo>
                    <a:pt x="917853" y="94145"/>
                    <a:pt x="911070" y="92280"/>
                    <a:pt x="905271" y="88573"/>
                  </a:cubicBezTo>
                  <a:cubicBezTo>
                    <a:pt x="899757" y="84724"/>
                    <a:pt x="895723" y="79109"/>
                    <a:pt x="893833" y="72655"/>
                  </a:cubicBezTo>
                  <a:cubicBezTo>
                    <a:pt x="893381" y="71289"/>
                    <a:pt x="893000" y="69900"/>
                    <a:pt x="892694" y="68494"/>
                  </a:cubicBezTo>
                  <a:cubicBezTo>
                    <a:pt x="892350" y="66839"/>
                    <a:pt x="892103" y="65164"/>
                    <a:pt x="891960" y="63479"/>
                  </a:cubicBezTo>
                  <a:cubicBezTo>
                    <a:pt x="891782" y="61563"/>
                    <a:pt x="891648" y="59266"/>
                    <a:pt x="891559" y="56589"/>
                  </a:cubicBezTo>
                  <a:cubicBezTo>
                    <a:pt x="891470" y="53912"/>
                    <a:pt x="891425" y="50701"/>
                    <a:pt x="891425" y="46958"/>
                  </a:cubicBezTo>
                  <a:cubicBezTo>
                    <a:pt x="891425" y="43213"/>
                    <a:pt x="891470" y="40003"/>
                    <a:pt x="891559" y="37327"/>
                  </a:cubicBezTo>
                  <a:cubicBezTo>
                    <a:pt x="891648" y="34652"/>
                    <a:pt x="891782" y="32356"/>
                    <a:pt x="891960" y="30440"/>
                  </a:cubicBezTo>
                  <a:cubicBezTo>
                    <a:pt x="892103" y="28755"/>
                    <a:pt x="892350" y="27081"/>
                    <a:pt x="892694" y="25426"/>
                  </a:cubicBezTo>
                  <a:cubicBezTo>
                    <a:pt x="893000" y="24019"/>
                    <a:pt x="893381" y="22630"/>
                    <a:pt x="893833" y="21264"/>
                  </a:cubicBezTo>
                  <a:cubicBezTo>
                    <a:pt x="895720" y="14817"/>
                    <a:pt x="899751" y="9207"/>
                    <a:pt x="905256" y="5358"/>
                  </a:cubicBezTo>
                  <a:cubicBezTo>
                    <a:pt x="917298" y="-1776"/>
                    <a:pt x="932273" y="-1776"/>
                    <a:pt x="944314" y="5358"/>
                  </a:cubicBezTo>
                  <a:cubicBezTo>
                    <a:pt x="949828" y="9207"/>
                    <a:pt x="953862" y="14823"/>
                    <a:pt x="955752" y="21276"/>
                  </a:cubicBezTo>
                  <a:cubicBezTo>
                    <a:pt x="956204" y="22642"/>
                    <a:pt x="956585" y="24031"/>
                    <a:pt x="956891" y="25437"/>
                  </a:cubicBezTo>
                  <a:cubicBezTo>
                    <a:pt x="957236" y="27094"/>
                    <a:pt x="957482" y="28769"/>
                    <a:pt x="957625" y="30455"/>
                  </a:cubicBezTo>
                  <a:cubicBezTo>
                    <a:pt x="957803" y="32373"/>
                    <a:pt x="957937" y="34669"/>
                    <a:pt x="958026" y="37342"/>
                  </a:cubicBezTo>
                  <a:cubicBezTo>
                    <a:pt x="958116" y="40015"/>
                    <a:pt x="958160" y="43226"/>
                    <a:pt x="958160" y="46973"/>
                  </a:cubicBezTo>
                  <a:cubicBezTo>
                    <a:pt x="958160" y="50718"/>
                    <a:pt x="958116" y="53929"/>
                    <a:pt x="958026" y="56604"/>
                  </a:cubicBezTo>
                  <a:cubicBezTo>
                    <a:pt x="957937" y="59279"/>
                    <a:pt x="957803" y="61576"/>
                    <a:pt x="957625" y="63494"/>
                  </a:cubicBezTo>
                  <a:cubicBezTo>
                    <a:pt x="957482" y="65180"/>
                    <a:pt x="957236" y="66855"/>
                    <a:pt x="956891" y="68512"/>
                  </a:cubicBezTo>
                  <a:cubicBezTo>
                    <a:pt x="956585" y="69918"/>
                    <a:pt x="956204" y="71307"/>
                    <a:pt x="955752" y="72673"/>
                  </a:cubicBezTo>
                  <a:cubicBezTo>
                    <a:pt x="953862" y="79126"/>
                    <a:pt x="949828" y="84742"/>
                    <a:pt x="944314" y="88591"/>
                  </a:cubicBezTo>
                  <a:cubicBezTo>
                    <a:pt x="938470" y="92304"/>
                    <a:pt x="931637" y="94163"/>
                    <a:pt x="924717" y="93923"/>
                  </a:cubicBezTo>
                  <a:close/>
                  <a:moveTo>
                    <a:pt x="924732" y="82821"/>
                  </a:moveTo>
                  <a:cubicBezTo>
                    <a:pt x="929143" y="83016"/>
                    <a:pt x="933500" y="81797"/>
                    <a:pt x="937171" y="79343"/>
                  </a:cubicBezTo>
                  <a:cubicBezTo>
                    <a:pt x="940513" y="76839"/>
                    <a:pt x="942953" y="73319"/>
                    <a:pt x="944127" y="69311"/>
                  </a:cubicBezTo>
                  <a:cubicBezTo>
                    <a:pt x="944439" y="68325"/>
                    <a:pt x="944686" y="67319"/>
                    <a:pt x="944861" y="66300"/>
                  </a:cubicBezTo>
                  <a:cubicBezTo>
                    <a:pt x="945084" y="65095"/>
                    <a:pt x="945307" y="63602"/>
                    <a:pt x="945530" y="61821"/>
                  </a:cubicBezTo>
                  <a:cubicBezTo>
                    <a:pt x="945753" y="60039"/>
                    <a:pt x="945908" y="57944"/>
                    <a:pt x="946000" y="55534"/>
                  </a:cubicBezTo>
                  <a:cubicBezTo>
                    <a:pt x="946089" y="53126"/>
                    <a:pt x="946134" y="50273"/>
                    <a:pt x="946134" y="46973"/>
                  </a:cubicBezTo>
                  <a:cubicBezTo>
                    <a:pt x="946134" y="43674"/>
                    <a:pt x="946089" y="40820"/>
                    <a:pt x="946000" y="38412"/>
                  </a:cubicBezTo>
                  <a:cubicBezTo>
                    <a:pt x="945911" y="36005"/>
                    <a:pt x="945753" y="33909"/>
                    <a:pt x="945530" y="32126"/>
                  </a:cubicBezTo>
                  <a:cubicBezTo>
                    <a:pt x="945307" y="30342"/>
                    <a:pt x="945084" y="28849"/>
                    <a:pt x="944861" y="27646"/>
                  </a:cubicBezTo>
                  <a:cubicBezTo>
                    <a:pt x="944686" y="26627"/>
                    <a:pt x="944439" y="25621"/>
                    <a:pt x="944127" y="24635"/>
                  </a:cubicBezTo>
                  <a:cubicBezTo>
                    <a:pt x="942953" y="20627"/>
                    <a:pt x="940513" y="17107"/>
                    <a:pt x="937171" y="14603"/>
                  </a:cubicBezTo>
                  <a:cubicBezTo>
                    <a:pt x="933500" y="12149"/>
                    <a:pt x="929143" y="10931"/>
                    <a:pt x="924732" y="11125"/>
                  </a:cubicBezTo>
                  <a:cubicBezTo>
                    <a:pt x="920341" y="10923"/>
                    <a:pt x="916002" y="12143"/>
                    <a:pt x="912357" y="14603"/>
                  </a:cubicBezTo>
                  <a:cubicBezTo>
                    <a:pt x="909049" y="17125"/>
                    <a:pt x="906632" y="20641"/>
                    <a:pt x="905467" y="24635"/>
                  </a:cubicBezTo>
                  <a:cubicBezTo>
                    <a:pt x="905155" y="25621"/>
                    <a:pt x="904908" y="26627"/>
                    <a:pt x="904733" y="27646"/>
                  </a:cubicBezTo>
                  <a:cubicBezTo>
                    <a:pt x="904510" y="28849"/>
                    <a:pt x="904287" y="30342"/>
                    <a:pt x="904064" y="32126"/>
                  </a:cubicBezTo>
                  <a:cubicBezTo>
                    <a:pt x="903841" y="33909"/>
                    <a:pt x="903684" y="36005"/>
                    <a:pt x="903594" y="38412"/>
                  </a:cubicBezTo>
                  <a:cubicBezTo>
                    <a:pt x="903505" y="40820"/>
                    <a:pt x="903461" y="43674"/>
                    <a:pt x="903461" y="46973"/>
                  </a:cubicBezTo>
                  <a:cubicBezTo>
                    <a:pt x="903461" y="50273"/>
                    <a:pt x="903505" y="53126"/>
                    <a:pt x="903594" y="55534"/>
                  </a:cubicBezTo>
                  <a:cubicBezTo>
                    <a:pt x="903684" y="57941"/>
                    <a:pt x="903841" y="60037"/>
                    <a:pt x="904064" y="61821"/>
                  </a:cubicBezTo>
                  <a:cubicBezTo>
                    <a:pt x="904287" y="63604"/>
                    <a:pt x="904510" y="65097"/>
                    <a:pt x="904733" y="66300"/>
                  </a:cubicBezTo>
                  <a:cubicBezTo>
                    <a:pt x="904908" y="67319"/>
                    <a:pt x="905155" y="68325"/>
                    <a:pt x="905467" y="69311"/>
                  </a:cubicBezTo>
                  <a:cubicBezTo>
                    <a:pt x="906632" y="73305"/>
                    <a:pt x="909049" y="76821"/>
                    <a:pt x="912357" y="79343"/>
                  </a:cubicBezTo>
                  <a:cubicBezTo>
                    <a:pt x="915996" y="81800"/>
                    <a:pt x="920329" y="83020"/>
                    <a:pt x="924717" y="82821"/>
                  </a:cubicBezTo>
                  <a:close/>
                  <a:moveTo>
                    <a:pt x="977434" y="2832"/>
                  </a:moveTo>
                  <a:cubicBezTo>
                    <a:pt x="977345" y="2181"/>
                    <a:pt x="977802" y="1582"/>
                    <a:pt x="978453" y="1494"/>
                  </a:cubicBezTo>
                  <a:cubicBezTo>
                    <a:pt x="978557" y="1480"/>
                    <a:pt x="978664" y="1480"/>
                    <a:pt x="978771" y="1494"/>
                  </a:cubicBezTo>
                  <a:lnTo>
                    <a:pt x="987332" y="1494"/>
                  </a:lnTo>
                  <a:cubicBezTo>
                    <a:pt x="988292" y="1429"/>
                    <a:pt x="989196" y="1960"/>
                    <a:pt x="989606" y="2832"/>
                  </a:cubicBezTo>
                  <a:lnTo>
                    <a:pt x="1030790" y="71050"/>
                  </a:lnTo>
                  <a:lnTo>
                    <a:pt x="1031325" y="71050"/>
                  </a:lnTo>
                  <a:lnTo>
                    <a:pt x="1031325" y="2832"/>
                  </a:lnTo>
                  <a:cubicBezTo>
                    <a:pt x="1031236" y="2181"/>
                    <a:pt x="1031693" y="1582"/>
                    <a:pt x="1032344" y="1494"/>
                  </a:cubicBezTo>
                  <a:cubicBezTo>
                    <a:pt x="1032448" y="1480"/>
                    <a:pt x="1032555" y="1480"/>
                    <a:pt x="1032662" y="1494"/>
                  </a:cubicBezTo>
                  <a:lnTo>
                    <a:pt x="1041089" y="1494"/>
                  </a:lnTo>
                  <a:cubicBezTo>
                    <a:pt x="1041740" y="1406"/>
                    <a:pt x="1042338" y="1862"/>
                    <a:pt x="1042427" y="2513"/>
                  </a:cubicBezTo>
                  <a:cubicBezTo>
                    <a:pt x="1042442" y="2619"/>
                    <a:pt x="1042442" y="2726"/>
                    <a:pt x="1042427" y="2832"/>
                  </a:cubicBezTo>
                  <a:lnTo>
                    <a:pt x="1042427" y="91114"/>
                  </a:lnTo>
                  <a:cubicBezTo>
                    <a:pt x="1042516" y="91765"/>
                    <a:pt x="1042058" y="92364"/>
                    <a:pt x="1041407" y="92452"/>
                  </a:cubicBezTo>
                  <a:cubicBezTo>
                    <a:pt x="1041303" y="92466"/>
                    <a:pt x="1041196" y="92466"/>
                    <a:pt x="1041089" y="92452"/>
                  </a:cubicBezTo>
                  <a:lnTo>
                    <a:pt x="1032529" y="92452"/>
                  </a:lnTo>
                  <a:cubicBezTo>
                    <a:pt x="1031568" y="92517"/>
                    <a:pt x="1030665" y="91986"/>
                    <a:pt x="1030255" y="91114"/>
                  </a:cubicBezTo>
                  <a:lnTo>
                    <a:pt x="988937" y="23164"/>
                  </a:lnTo>
                  <a:lnTo>
                    <a:pt x="988536" y="23164"/>
                  </a:lnTo>
                  <a:lnTo>
                    <a:pt x="988536" y="91114"/>
                  </a:lnTo>
                  <a:cubicBezTo>
                    <a:pt x="988625" y="91765"/>
                    <a:pt x="988170" y="92365"/>
                    <a:pt x="987519" y="92454"/>
                  </a:cubicBezTo>
                  <a:cubicBezTo>
                    <a:pt x="987409" y="92469"/>
                    <a:pt x="987293" y="92469"/>
                    <a:pt x="987183" y="92452"/>
                  </a:cubicBezTo>
                  <a:lnTo>
                    <a:pt x="978756" y="92452"/>
                  </a:lnTo>
                  <a:cubicBezTo>
                    <a:pt x="978106" y="92540"/>
                    <a:pt x="977508" y="92084"/>
                    <a:pt x="977419" y="91433"/>
                  </a:cubicBezTo>
                  <a:cubicBezTo>
                    <a:pt x="977404" y="91327"/>
                    <a:pt x="977404" y="91220"/>
                    <a:pt x="977419" y="91114"/>
                  </a:cubicBezTo>
                  <a:close/>
                  <a:moveTo>
                    <a:pt x="1063041" y="79611"/>
                  </a:moveTo>
                  <a:cubicBezTo>
                    <a:pt x="1062952" y="78960"/>
                    <a:pt x="1063410" y="78361"/>
                    <a:pt x="1064061" y="78273"/>
                  </a:cubicBezTo>
                  <a:cubicBezTo>
                    <a:pt x="1064165" y="78259"/>
                    <a:pt x="1064272" y="78259"/>
                    <a:pt x="1064379" y="78273"/>
                  </a:cubicBezTo>
                  <a:lnTo>
                    <a:pt x="1074545" y="78273"/>
                  </a:lnTo>
                  <a:cubicBezTo>
                    <a:pt x="1075196" y="78185"/>
                    <a:pt x="1075793" y="78642"/>
                    <a:pt x="1075882" y="79292"/>
                  </a:cubicBezTo>
                  <a:cubicBezTo>
                    <a:pt x="1075897" y="79398"/>
                    <a:pt x="1075897" y="79505"/>
                    <a:pt x="1075882" y="79611"/>
                  </a:cubicBezTo>
                  <a:lnTo>
                    <a:pt x="1075882" y="91114"/>
                  </a:lnTo>
                  <a:cubicBezTo>
                    <a:pt x="1075971" y="91765"/>
                    <a:pt x="1075514" y="92364"/>
                    <a:pt x="1074863" y="92452"/>
                  </a:cubicBezTo>
                  <a:cubicBezTo>
                    <a:pt x="1074759" y="92466"/>
                    <a:pt x="1074652" y="92466"/>
                    <a:pt x="1074545" y="92452"/>
                  </a:cubicBezTo>
                  <a:lnTo>
                    <a:pt x="1064379" y="92452"/>
                  </a:lnTo>
                  <a:cubicBezTo>
                    <a:pt x="1063728" y="92540"/>
                    <a:pt x="1063130" y="92084"/>
                    <a:pt x="1063041" y="91433"/>
                  </a:cubicBezTo>
                  <a:cubicBezTo>
                    <a:pt x="1063026" y="91327"/>
                    <a:pt x="1063026" y="91220"/>
                    <a:pt x="1063041" y="91114"/>
                  </a:cubicBezTo>
                  <a:close/>
                </a:path>
              </a:pathLst>
            </a:custGeom>
            <a:solidFill>
              <a:schemeClr val="bg1"/>
            </a:solidFill>
            <a:ln w="2965" cap="flat">
              <a:noFill/>
              <a:prstDash val="solid"/>
              <a:miter/>
            </a:ln>
          </p:spPr>
          <p:txBody>
            <a:bodyPr rtlCol="0" anchor="ctr"/>
            <a:lstStyle/>
            <a:p>
              <a:endParaRPr lang="de-DE"/>
            </a:p>
          </p:txBody>
        </p:sp>
        <p:sp>
          <p:nvSpPr>
            <p:cNvPr id="45" name="Freeform: Shape 44">
              <a:extLst>
                <a:ext uri="{FF2B5EF4-FFF2-40B4-BE49-F238E27FC236}">
                  <a16:creationId xmlns:a16="http://schemas.microsoft.com/office/drawing/2014/main" id="{2639B7C7-7977-487D-B85C-088768A5E141}"/>
                </a:ext>
              </a:extLst>
            </p:cNvPr>
            <p:cNvSpPr/>
            <p:nvPr/>
          </p:nvSpPr>
          <p:spPr>
            <a:xfrm>
              <a:off x="10262813" y="751375"/>
              <a:ext cx="1193687" cy="93972"/>
            </a:xfrm>
            <a:custGeom>
              <a:avLst/>
              <a:gdLst>
                <a:gd name="connsiteX0" fmla="*/ 31941 w 1193687"/>
                <a:gd name="connsiteY0" fmla="*/ 2904 h 93972"/>
                <a:gd name="connsiteX1" fmla="*/ 33546 w 1193687"/>
                <a:gd name="connsiteY1" fmla="*/ 1567 h 93972"/>
                <a:gd name="connsiteX2" fmla="*/ 42240 w 1193687"/>
                <a:gd name="connsiteY2" fmla="*/ 1567 h 93972"/>
                <a:gd name="connsiteX3" fmla="*/ 43979 w 1193687"/>
                <a:gd name="connsiteY3" fmla="*/ 2904 h 93972"/>
                <a:gd name="connsiteX4" fmla="*/ 75145 w 1193687"/>
                <a:gd name="connsiteY4" fmla="*/ 91187 h 93972"/>
                <a:gd name="connsiteX5" fmla="*/ 74209 w 1193687"/>
                <a:gd name="connsiteY5" fmla="*/ 92524 h 93972"/>
                <a:gd name="connsiteX6" fmla="*/ 64846 w 1193687"/>
                <a:gd name="connsiteY6" fmla="*/ 92524 h 93972"/>
                <a:gd name="connsiteX7" fmla="*/ 63107 w 1193687"/>
                <a:gd name="connsiteY7" fmla="*/ 91187 h 93972"/>
                <a:gd name="connsiteX8" fmla="*/ 56151 w 1193687"/>
                <a:gd name="connsiteY8" fmla="*/ 71390 h 93972"/>
                <a:gd name="connsiteX9" fmla="*/ 19367 w 1193687"/>
                <a:gd name="connsiteY9" fmla="*/ 71390 h 93972"/>
                <a:gd name="connsiteX10" fmla="*/ 12411 w 1193687"/>
                <a:gd name="connsiteY10" fmla="*/ 91187 h 93972"/>
                <a:gd name="connsiteX11" fmla="*/ 10672 w 1193687"/>
                <a:gd name="connsiteY11" fmla="*/ 92524 h 93972"/>
                <a:gd name="connsiteX12" fmla="*/ 1309 w 1193687"/>
                <a:gd name="connsiteY12" fmla="*/ 92524 h 93972"/>
                <a:gd name="connsiteX13" fmla="*/ 373 w 1193687"/>
                <a:gd name="connsiteY13" fmla="*/ 91187 h 93972"/>
                <a:gd name="connsiteX14" fmla="*/ 52272 w 1193687"/>
                <a:gd name="connsiteY14" fmla="*/ 60422 h 93972"/>
                <a:gd name="connsiteX15" fmla="*/ 37960 w 1193687"/>
                <a:gd name="connsiteY15" fmla="*/ 19089 h 93972"/>
                <a:gd name="connsiteX16" fmla="*/ 37692 w 1193687"/>
                <a:gd name="connsiteY16" fmla="*/ 19089 h 93972"/>
                <a:gd name="connsiteX17" fmla="*/ 23246 w 1193687"/>
                <a:gd name="connsiteY17" fmla="*/ 60422 h 93972"/>
                <a:gd name="connsiteX18" fmla="*/ 105911 w 1193687"/>
                <a:gd name="connsiteY18" fmla="*/ 92524 h 93972"/>
                <a:gd name="connsiteX19" fmla="*/ 104305 w 1193687"/>
                <a:gd name="connsiteY19" fmla="*/ 91187 h 93972"/>
                <a:gd name="connsiteX20" fmla="*/ 74878 w 1193687"/>
                <a:gd name="connsiteY20" fmla="*/ 3172 h 93972"/>
                <a:gd name="connsiteX21" fmla="*/ 74878 w 1193687"/>
                <a:gd name="connsiteY21" fmla="*/ 1968 h 93972"/>
                <a:gd name="connsiteX22" fmla="*/ 75814 w 1193687"/>
                <a:gd name="connsiteY22" fmla="*/ 1567 h 93972"/>
                <a:gd name="connsiteX23" fmla="*/ 84910 w 1193687"/>
                <a:gd name="connsiteY23" fmla="*/ 1567 h 93972"/>
                <a:gd name="connsiteX24" fmla="*/ 86783 w 1193687"/>
                <a:gd name="connsiteY24" fmla="*/ 2904 h 93972"/>
                <a:gd name="connsiteX25" fmla="*/ 110057 w 1193687"/>
                <a:gd name="connsiteY25" fmla="*/ 73129 h 93972"/>
                <a:gd name="connsiteX26" fmla="*/ 110325 w 1193687"/>
                <a:gd name="connsiteY26" fmla="*/ 73129 h 93972"/>
                <a:gd name="connsiteX27" fmla="*/ 132797 w 1193687"/>
                <a:gd name="connsiteY27" fmla="*/ 2904 h 93972"/>
                <a:gd name="connsiteX28" fmla="*/ 134536 w 1193687"/>
                <a:gd name="connsiteY28" fmla="*/ 1567 h 93972"/>
                <a:gd name="connsiteX29" fmla="*/ 143750 w 1193687"/>
                <a:gd name="connsiteY29" fmla="*/ 1567 h 93972"/>
                <a:gd name="connsiteX30" fmla="*/ 144687 w 1193687"/>
                <a:gd name="connsiteY30" fmla="*/ 3172 h 93972"/>
                <a:gd name="connsiteX31" fmla="*/ 115408 w 1193687"/>
                <a:gd name="connsiteY31" fmla="*/ 91187 h 93972"/>
                <a:gd name="connsiteX32" fmla="*/ 113803 w 1193687"/>
                <a:gd name="connsiteY32" fmla="*/ 92524 h 93972"/>
                <a:gd name="connsiteX33" fmla="*/ 158613 w 1193687"/>
                <a:gd name="connsiteY33" fmla="*/ 2904 h 93972"/>
                <a:gd name="connsiteX34" fmla="*/ 159632 w 1193687"/>
                <a:gd name="connsiteY34" fmla="*/ 1567 h 93972"/>
                <a:gd name="connsiteX35" fmla="*/ 159950 w 1193687"/>
                <a:gd name="connsiteY35" fmla="*/ 1567 h 93972"/>
                <a:gd name="connsiteX36" fmla="*/ 169165 w 1193687"/>
                <a:gd name="connsiteY36" fmla="*/ 1567 h 93972"/>
                <a:gd name="connsiteX37" fmla="*/ 170503 w 1193687"/>
                <a:gd name="connsiteY37" fmla="*/ 2586 h 93972"/>
                <a:gd name="connsiteX38" fmla="*/ 170503 w 1193687"/>
                <a:gd name="connsiteY38" fmla="*/ 2904 h 93972"/>
                <a:gd name="connsiteX39" fmla="*/ 170503 w 1193687"/>
                <a:gd name="connsiteY39" fmla="*/ 91187 h 93972"/>
                <a:gd name="connsiteX40" fmla="*/ 169484 w 1193687"/>
                <a:gd name="connsiteY40" fmla="*/ 92524 h 93972"/>
                <a:gd name="connsiteX41" fmla="*/ 169165 w 1193687"/>
                <a:gd name="connsiteY41" fmla="*/ 92524 h 93972"/>
                <a:gd name="connsiteX42" fmla="*/ 159950 w 1193687"/>
                <a:gd name="connsiteY42" fmla="*/ 92524 h 93972"/>
                <a:gd name="connsiteX43" fmla="*/ 158613 w 1193687"/>
                <a:gd name="connsiteY43" fmla="*/ 91505 h 93972"/>
                <a:gd name="connsiteX44" fmla="*/ 158613 w 1193687"/>
                <a:gd name="connsiteY44" fmla="*/ 91187 h 93972"/>
                <a:gd name="connsiteX45" fmla="*/ 216531 w 1193687"/>
                <a:gd name="connsiteY45" fmla="*/ 2904 h 93972"/>
                <a:gd name="connsiteX46" fmla="*/ 218137 w 1193687"/>
                <a:gd name="connsiteY46" fmla="*/ 1567 h 93972"/>
                <a:gd name="connsiteX47" fmla="*/ 226831 w 1193687"/>
                <a:gd name="connsiteY47" fmla="*/ 1567 h 93972"/>
                <a:gd name="connsiteX48" fmla="*/ 228570 w 1193687"/>
                <a:gd name="connsiteY48" fmla="*/ 2904 h 93972"/>
                <a:gd name="connsiteX49" fmla="*/ 259736 w 1193687"/>
                <a:gd name="connsiteY49" fmla="*/ 91187 h 93972"/>
                <a:gd name="connsiteX50" fmla="*/ 258800 w 1193687"/>
                <a:gd name="connsiteY50" fmla="*/ 92524 h 93972"/>
                <a:gd name="connsiteX51" fmla="*/ 249437 w 1193687"/>
                <a:gd name="connsiteY51" fmla="*/ 92524 h 93972"/>
                <a:gd name="connsiteX52" fmla="*/ 247698 w 1193687"/>
                <a:gd name="connsiteY52" fmla="*/ 91187 h 93972"/>
                <a:gd name="connsiteX53" fmla="*/ 240742 w 1193687"/>
                <a:gd name="connsiteY53" fmla="*/ 71390 h 93972"/>
                <a:gd name="connsiteX54" fmla="*/ 203958 w 1193687"/>
                <a:gd name="connsiteY54" fmla="*/ 71390 h 93972"/>
                <a:gd name="connsiteX55" fmla="*/ 197002 w 1193687"/>
                <a:gd name="connsiteY55" fmla="*/ 91187 h 93972"/>
                <a:gd name="connsiteX56" fmla="*/ 195263 w 1193687"/>
                <a:gd name="connsiteY56" fmla="*/ 92524 h 93972"/>
                <a:gd name="connsiteX57" fmla="*/ 185900 w 1193687"/>
                <a:gd name="connsiteY57" fmla="*/ 92524 h 93972"/>
                <a:gd name="connsiteX58" fmla="*/ 184964 w 1193687"/>
                <a:gd name="connsiteY58" fmla="*/ 91187 h 93972"/>
                <a:gd name="connsiteX59" fmla="*/ 236863 w 1193687"/>
                <a:gd name="connsiteY59" fmla="*/ 60422 h 93972"/>
                <a:gd name="connsiteX60" fmla="*/ 222551 w 1193687"/>
                <a:gd name="connsiteY60" fmla="*/ 19089 h 93972"/>
                <a:gd name="connsiteX61" fmla="*/ 222283 w 1193687"/>
                <a:gd name="connsiteY61" fmla="*/ 19089 h 93972"/>
                <a:gd name="connsiteX62" fmla="*/ 207837 w 1193687"/>
                <a:gd name="connsiteY62" fmla="*/ 60422 h 93972"/>
                <a:gd name="connsiteX63" fmla="*/ 284616 w 1193687"/>
                <a:gd name="connsiteY63" fmla="*/ 92524 h 93972"/>
                <a:gd name="connsiteX64" fmla="*/ 283278 w 1193687"/>
                <a:gd name="connsiteY64" fmla="*/ 91505 h 93972"/>
                <a:gd name="connsiteX65" fmla="*/ 283278 w 1193687"/>
                <a:gd name="connsiteY65" fmla="*/ 91187 h 93972"/>
                <a:gd name="connsiteX66" fmla="*/ 283278 w 1193687"/>
                <a:gd name="connsiteY66" fmla="*/ 13457 h 93972"/>
                <a:gd name="connsiteX67" fmla="*/ 282674 w 1193687"/>
                <a:gd name="connsiteY67" fmla="*/ 12654 h 93972"/>
                <a:gd name="connsiteX68" fmla="*/ 282476 w 1193687"/>
                <a:gd name="connsiteY68" fmla="*/ 12654 h 93972"/>
                <a:gd name="connsiteX69" fmla="*/ 257596 w 1193687"/>
                <a:gd name="connsiteY69" fmla="*/ 12654 h 93972"/>
                <a:gd name="connsiteX70" fmla="*/ 256259 w 1193687"/>
                <a:gd name="connsiteY70" fmla="*/ 11635 h 93972"/>
                <a:gd name="connsiteX71" fmla="*/ 256259 w 1193687"/>
                <a:gd name="connsiteY71" fmla="*/ 11316 h 93972"/>
                <a:gd name="connsiteX72" fmla="*/ 256259 w 1193687"/>
                <a:gd name="connsiteY72" fmla="*/ 2904 h 93972"/>
                <a:gd name="connsiteX73" fmla="*/ 257278 w 1193687"/>
                <a:gd name="connsiteY73" fmla="*/ 1567 h 93972"/>
                <a:gd name="connsiteX74" fmla="*/ 257596 w 1193687"/>
                <a:gd name="connsiteY74" fmla="*/ 1567 h 93972"/>
                <a:gd name="connsiteX75" fmla="*/ 320865 w 1193687"/>
                <a:gd name="connsiteY75" fmla="*/ 1567 h 93972"/>
                <a:gd name="connsiteX76" fmla="*/ 322203 w 1193687"/>
                <a:gd name="connsiteY76" fmla="*/ 2586 h 93972"/>
                <a:gd name="connsiteX77" fmla="*/ 322203 w 1193687"/>
                <a:gd name="connsiteY77" fmla="*/ 2904 h 93972"/>
                <a:gd name="connsiteX78" fmla="*/ 322203 w 1193687"/>
                <a:gd name="connsiteY78" fmla="*/ 11331 h 93972"/>
                <a:gd name="connsiteX79" fmla="*/ 321183 w 1193687"/>
                <a:gd name="connsiteY79" fmla="*/ 12669 h 93972"/>
                <a:gd name="connsiteX80" fmla="*/ 320865 w 1193687"/>
                <a:gd name="connsiteY80" fmla="*/ 12669 h 93972"/>
                <a:gd name="connsiteX81" fmla="*/ 295986 w 1193687"/>
                <a:gd name="connsiteY81" fmla="*/ 12669 h 93972"/>
                <a:gd name="connsiteX82" fmla="*/ 295183 w 1193687"/>
                <a:gd name="connsiteY82" fmla="*/ 13273 h 93972"/>
                <a:gd name="connsiteX83" fmla="*/ 295183 w 1193687"/>
                <a:gd name="connsiteY83" fmla="*/ 13471 h 93972"/>
                <a:gd name="connsiteX84" fmla="*/ 295183 w 1193687"/>
                <a:gd name="connsiteY84" fmla="*/ 91187 h 93972"/>
                <a:gd name="connsiteX85" fmla="*/ 294164 w 1193687"/>
                <a:gd name="connsiteY85" fmla="*/ 92524 h 93972"/>
                <a:gd name="connsiteX86" fmla="*/ 293846 w 1193687"/>
                <a:gd name="connsiteY86" fmla="*/ 92524 h 93972"/>
                <a:gd name="connsiteX87" fmla="*/ 336382 w 1193687"/>
                <a:gd name="connsiteY87" fmla="*/ 2904 h 93972"/>
                <a:gd name="connsiteX88" fmla="*/ 337401 w 1193687"/>
                <a:gd name="connsiteY88" fmla="*/ 1567 h 93972"/>
                <a:gd name="connsiteX89" fmla="*/ 337719 w 1193687"/>
                <a:gd name="connsiteY89" fmla="*/ 1567 h 93972"/>
                <a:gd name="connsiteX90" fmla="*/ 346934 w 1193687"/>
                <a:gd name="connsiteY90" fmla="*/ 1567 h 93972"/>
                <a:gd name="connsiteX91" fmla="*/ 348272 w 1193687"/>
                <a:gd name="connsiteY91" fmla="*/ 2586 h 93972"/>
                <a:gd name="connsiteX92" fmla="*/ 348272 w 1193687"/>
                <a:gd name="connsiteY92" fmla="*/ 2904 h 93972"/>
                <a:gd name="connsiteX93" fmla="*/ 348272 w 1193687"/>
                <a:gd name="connsiteY93" fmla="*/ 91187 h 93972"/>
                <a:gd name="connsiteX94" fmla="*/ 347252 w 1193687"/>
                <a:gd name="connsiteY94" fmla="*/ 92524 h 93972"/>
                <a:gd name="connsiteX95" fmla="*/ 346934 w 1193687"/>
                <a:gd name="connsiteY95" fmla="*/ 92524 h 93972"/>
                <a:gd name="connsiteX96" fmla="*/ 337719 w 1193687"/>
                <a:gd name="connsiteY96" fmla="*/ 92524 h 93972"/>
                <a:gd name="connsiteX97" fmla="*/ 336382 w 1193687"/>
                <a:gd name="connsiteY97" fmla="*/ 91505 h 93972"/>
                <a:gd name="connsiteX98" fmla="*/ 336382 w 1193687"/>
                <a:gd name="connsiteY98" fmla="*/ 91187 h 93972"/>
                <a:gd name="connsiteX99" fmla="*/ 400855 w 1193687"/>
                <a:gd name="connsiteY99" fmla="*/ 93996 h 93972"/>
                <a:gd name="connsiteX100" fmla="*/ 381391 w 1193687"/>
                <a:gd name="connsiteY100" fmla="*/ 88645 h 93972"/>
                <a:gd name="connsiteX101" fmla="*/ 369956 w 1193687"/>
                <a:gd name="connsiteY101" fmla="*/ 72728 h 93972"/>
                <a:gd name="connsiteX102" fmla="*/ 368820 w 1193687"/>
                <a:gd name="connsiteY102" fmla="*/ 68566 h 93972"/>
                <a:gd name="connsiteX103" fmla="*/ 368083 w 1193687"/>
                <a:gd name="connsiteY103" fmla="*/ 63552 h 93972"/>
                <a:gd name="connsiteX104" fmla="*/ 367682 w 1193687"/>
                <a:gd name="connsiteY104" fmla="*/ 56661 h 93972"/>
                <a:gd name="connsiteX105" fmla="*/ 367533 w 1193687"/>
                <a:gd name="connsiteY105" fmla="*/ 47046 h 93972"/>
                <a:gd name="connsiteX106" fmla="*/ 367667 w 1193687"/>
                <a:gd name="connsiteY106" fmla="*/ 37415 h 93972"/>
                <a:gd name="connsiteX107" fmla="*/ 368068 w 1193687"/>
                <a:gd name="connsiteY107" fmla="*/ 30527 h 93972"/>
                <a:gd name="connsiteX108" fmla="*/ 368805 w 1193687"/>
                <a:gd name="connsiteY108" fmla="*/ 25513 h 93972"/>
                <a:gd name="connsiteX109" fmla="*/ 369941 w 1193687"/>
                <a:gd name="connsiteY109" fmla="*/ 21351 h 93972"/>
                <a:gd name="connsiteX110" fmla="*/ 381391 w 1193687"/>
                <a:gd name="connsiteY110" fmla="*/ 5431 h 93972"/>
                <a:gd name="connsiteX111" fmla="*/ 420449 w 1193687"/>
                <a:gd name="connsiteY111" fmla="*/ 5431 h 93972"/>
                <a:gd name="connsiteX112" fmla="*/ 431887 w 1193687"/>
                <a:gd name="connsiteY112" fmla="*/ 21348 h 93972"/>
                <a:gd name="connsiteX113" fmla="*/ 433023 w 1193687"/>
                <a:gd name="connsiteY113" fmla="*/ 25510 h 93972"/>
                <a:gd name="connsiteX114" fmla="*/ 433760 w 1193687"/>
                <a:gd name="connsiteY114" fmla="*/ 30527 h 93972"/>
                <a:gd name="connsiteX115" fmla="*/ 434161 w 1193687"/>
                <a:gd name="connsiteY115" fmla="*/ 37415 h 93972"/>
                <a:gd name="connsiteX116" fmla="*/ 434295 w 1193687"/>
                <a:gd name="connsiteY116" fmla="*/ 47046 h 93972"/>
                <a:gd name="connsiteX117" fmla="*/ 434161 w 1193687"/>
                <a:gd name="connsiteY117" fmla="*/ 56676 h 93972"/>
                <a:gd name="connsiteX118" fmla="*/ 433760 w 1193687"/>
                <a:gd name="connsiteY118" fmla="*/ 63567 h 93972"/>
                <a:gd name="connsiteX119" fmla="*/ 433023 w 1193687"/>
                <a:gd name="connsiteY119" fmla="*/ 68584 h 93972"/>
                <a:gd name="connsiteX120" fmla="*/ 431887 w 1193687"/>
                <a:gd name="connsiteY120" fmla="*/ 72746 h 93972"/>
                <a:gd name="connsiteX121" fmla="*/ 420449 w 1193687"/>
                <a:gd name="connsiteY121" fmla="*/ 88663 h 93972"/>
                <a:gd name="connsiteX122" fmla="*/ 400855 w 1193687"/>
                <a:gd name="connsiteY122" fmla="*/ 93996 h 93972"/>
                <a:gd name="connsiteX123" fmla="*/ 400855 w 1193687"/>
                <a:gd name="connsiteY123" fmla="*/ 82894 h 93972"/>
                <a:gd name="connsiteX124" fmla="*/ 413295 w 1193687"/>
                <a:gd name="connsiteY124" fmla="*/ 79416 h 93972"/>
                <a:gd name="connsiteX125" fmla="*/ 420250 w 1193687"/>
                <a:gd name="connsiteY125" fmla="*/ 69384 h 93972"/>
                <a:gd name="connsiteX126" fmla="*/ 420987 w 1193687"/>
                <a:gd name="connsiteY126" fmla="*/ 66373 h 93972"/>
                <a:gd name="connsiteX127" fmla="*/ 421656 w 1193687"/>
                <a:gd name="connsiteY127" fmla="*/ 61893 h 93972"/>
                <a:gd name="connsiteX128" fmla="*/ 422126 w 1193687"/>
                <a:gd name="connsiteY128" fmla="*/ 55606 h 93972"/>
                <a:gd name="connsiteX129" fmla="*/ 422260 w 1193687"/>
                <a:gd name="connsiteY129" fmla="*/ 47046 h 93972"/>
                <a:gd name="connsiteX130" fmla="*/ 422126 w 1193687"/>
                <a:gd name="connsiteY130" fmla="*/ 38485 h 93972"/>
                <a:gd name="connsiteX131" fmla="*/ 421656 w 1193687"/>
                <a:gd name="connsiteY131" fmla="*/ 32198 h 93972"/>
                <a:gd name="connsiteX132" fmla="*/ 420987 w 1193687"/>
                <a:gd name="connsiteY132" fmla="*/ 27718 h 93972"/>
                <a:gd name="connsiteX133" fmla="*/ 420250 w 1193687"/>
                <a:gd name="connsiteY133" fmla="*/ 24707 h 93972"/>
                <a:gd name="connsiteX134" fmla="*/ 413295 w 1193687"/>
                <a:gd name="connsiteY134" fmla="*/ 14675 h 93972"/>
                <a:gd name="connsiteX135" fmla="*/ 400855 w 1193687"/>
                <a:gd name="connsiteY135" fmla="*/ 11197 h 93972"/>
                <a:gd name="connsiteX136" fmla="*/ 388480 w 1193687"/>
                <a:gd name="connsiteY136" fmla="*/ 14675 h 93972"/>
                <a:gd name="connsiteX137" fmla="*/ 381593 w 1193687"/>
                <a:gd name="connsiteY137" fmla="*/ 24707 h 93972"/>
                <a:gd name="connsiteX138" fmla="*/ 380859 w 1193687"/>
                <a:gd name="connsiteY138" fmla="*/ 27718 h 93972"/>
                <a:gd name="connsiteX139" fmla="*/ 380190 w 1193687"/>
                <a:gd name="connsiteY139" fmla="*/ 32198 h 93972"/>
                <a:gd name="connsiteX140" fmla="*/ 379720 w 1193687"/>
                <a:gd name="connsiteY140" fmla="*/ 38485 h 93972"/>
                <a:gd name="connsiteX141" fmla="*/ 379587 w 1193687"/>
                <a:gd name="connsiteY141" fmla="*/ 47046 h 93972"/>
                <a:gd name="connsiteX142" fmla="*/ 379720 w 1193687"/>
                <a:gd name="connsiteY142" fmla="*/ 55606 h 93972"/>
                <a:gd name="connsiteX143" fmla="*/ 380190 w 1193687"/>
                <a:gd name="connsiteY143" fmla="*/ 61893 h 93972"/>
                <a:gd name="connsiteX144" fmla="*/ 380859 w 1193687"/>
                <a:gd name="connsiteY144" fmla="*/ 66373 h 93972"/>
                <a:gd name="connsiteX145" fmla="*/ 381593 w 1193687"/>
                <a:gd name="connsiteY145" fmla="*/ 69384 h 93972"/>
                <a:gd name="connsiteX146" fmla="*/ 388480 w 1193687"/>
                <a:gd name="connsiteY146" fmla="*/ 79416 h 93972"/>
                <a:gd name="connsiteX147" fmla="*/ 400855 w 1193687"/>
                <a:gd name="connsiteY147" fmla="*/ 82894 h 93972"/>
                <a:gd name="connsiteX148" fmla="*/ 453557 w 1193687"/>
                <a:gd name="connsiteY148" fmla="*/ 2904 h 93972"/>
                <a:gd name="connsiteX149" fmla="*/ 454576 w 1193687"/>
                <a:gd name="connsiteY149" fmla="*/ 1567 h 93972"/>
                <a:gd name="connsiteX150" fmla="*/ 454894 w 1193687"/>
                <a:gd name="connsiteY150" fmla="*/ 1567 h 93972"/>
                <a:gd name="connsiteX151" fmla="*/ 463455 w 1193687"/>
                <a:gd name="connsiteY151" fmla="*/ 1567 h 93972"/>
                <a:gd name="connsiteX152" fmla="*/ 465729 w 1193687"/>
                <a:gd name="connsiteY152" fmla="*/ 2904 h 93972"/>
                <a:gd name="connsiteX153" fmla="*/ 506928 w 1193687"/>
                <a:gd name="connsiteY153" fmla="*/ 71123 h 93972"/>
                <a:gd name="connsiteX154" fmla="*/ 507463 w 1193687"/>
                <a:gd name="connsiteY154" fmla="*/ 71123 h 93972"/>
                <a:gd name="connsiteX155" fmla="*/ 507463 w 1193687"/>
                <a:gd name="connsiteY155" fmla="*/ 2904 h 93972"/>
                <a:gd name="connsiteX156" fmla="*/ 508482 w 1193687"/>
                <a:gd name="connsiteY156" fmla="*/ 1567 h 93972"/>
                <a:gd name="connsiteX157" fmla="*/ 508800 w 1193687"/>
                <a:gd name="connsiteY157" fmla="*/ 1567 h 93972"/>
                <a:gd name="connsiteX158" fmla="*/ 517227 w 1193687"/>
                <a:gd name="connsiteY158" fmla="*/ 1567 h 93972"/>
                <a:gd name="connsiteX159" fmla="*/ 518565 w 1193687"/>
                <a:gd name="connsiteY159" fmla="*/ 2586 h 93972"/>
                <a:gd name="connsiteX160" fmla="*/ 518565 w 1193687"/>
                <a:gd name="connsiteY160" fmla="*/ 2904 h 93972"/>
                <a:gd name="connsiteX161" fmla="*/ 518565 w 1193687"/>
                <a:gd name="connsiteY161" fmla="*/ 91187 h 93972"/>
                <a:gd name="connsiteX162" fmla="*/ 517545 w 1193687"/>
                <a:gd name="connsiteY162" fmla="*/ 92524 h 93972"/>
                <a:gd name="connsiteX163" fmla="*/ 517227 w 1193687"/>
                <a:gd name="connsiteY163" fmla="*/ 92524 h 93972"/>
                <a:gd name="connsiteX164" fmla="*/ 508667 w 1193687"/>
                <a:gd name="connsiteY164" fmla="*/ 92524 h 93972"/>
                <a:gd name="connsiteX165" fmla="*/ 506393 w 1193687"/>
                <a:gd name="connsiteY165" fmla="*/ 91187 h 93972"/>
                <a:gd name="connsiteX166" fmla="*/ 465060 w 1193687"/>
                <a:gd name="connsiteY166" fmla="*/ 23236 h 93972"/>
                <a:gd name="connsiteX167" fmla="*/ 464659 w 1193687"/>
                <a:gd name="connsiteY167" fmla="*/ 23236 h 93972"/>
                <a:gd name="connsiteX168" fmla="*/ 464659 w 1193687"/>
                <a:gd name="connsiteY168" fmla="*/ 91187 h 93972"/>
                <a:gd name="connsiteX169" fmla="*/ 463639 w 1193687"/>
                <a:gd name="connsiteY169" fmla="*/ 92524 h 93972"/>
                <a:gd name="connsiteX170" fmla="*/ 463321 w 1193687"/>
                <a:gd name="connsiteY170" fmla="*/ 92524 h 93972"/>
                <a:gd name="connsiteX171" fmla="*/ 454894 w 1193687"/>
                <a:gd name="connsiteY171" fmla="*/ 92524 h 93972"/>
                <a:gd name="connsiteX172" fmla="*/ 453557 w 1193687"/>
                <a:gd name="connsiteY172" fmla="*/ 91505 h 93972"/>
                <a:gd name="connsiteX173" fmla="*/ 453557 w 1193687"/>
                <a:gd name="connsiteY173" fmla="*/ 91187 h 93972"/>
                <a:gd name="connsiteX174" fmla="*/ 539164 w 1193687"/>
                <a:gd name="connsiteY174" fmla="*/ 79683 h 93972"/>
                <a:gd name="connsiteX175" fmla="*/ 540184 w 1193687"/>
                <a:gd name="connsiteY175" fmla="*/ 78346 h 93972"/>
                <a:gd name="connsiteX176" fmla="*/ 540502 w 1193687"/>
                <a:gd name="connsiteY176" fmla="*/ 78346 h 93972"/>
                <a:gd name="connsiteX177" fmla="*/ 550668 w 1193687"/>
                <a:gd name="connsiteY177" fmla="*/ 78346 h 93972"/>
                <a:gd name="connsiteX178" fmla="*/ 552005 w 1193687"/>
                <a:gd name="connsiteY178" fmla="*/ 79365 h 93972"/>
                <a:gd name="connsiteX179" fmla="*/ 552005 w 1193687"/>
                <a:gd name="connsiteY179" fmla="*/ 79683 h 93972"/>
                <a:gd name="connsiteX180" fmla="*/ 552005 w 1193687"/>
                <a:gd name="connsiteY180" fmla="*/ 91187 h 93972"/>
                <a:gd name="connsiteX181" fmla="*/ 550986 w 1193687"/>
                <a:gd name="connsiteY181" fmla="*/ 92524 h 93972"/>
                <a:gd name="connsiteX182" fmla="*/ 550668 w 1193687"/>
                <a:gd name="connsiteY182" fmla="*/ 92524 h 93972"/>
                <a:gd name="connsiteX183" fmla="*/ 540502 w 1193687"/>
                <a:gd name="connsiteY183" fmla="*/ 92524 h 93972"/>
                <a:gd name="connsiteX184" fmla="*/ 539164 w 1193687"/>
                <a:gd name="connsiteY184" fmla="*/ 91505 h 93972"/>
                <a:gd name="connsiteX185" fmla="*/ 539164 w 1193687"/>
                <a:gd name="connsiteY185" fmla="*/ 91187 h 93972"/>
                <a:gd name="connsiteX186" fmla="*/ 601883 w 1193687"/>
                <a:gd name="connsiteY186" fmla="*/ 2904 h 93972"/>
                <a:gd name="connsiteX187" fmla="*/ 602903 w 1193687"/>
                <a:gd name="connsiteY187" fmla="*/ 1567 h 93972"/>
                <a:gd name="connsiteX188" fmla="*/ 603221 w 1193687"/>
                <a:gd name="connsiteY188" fmla="*/ 1567 h 93972"/>
                <a:gd name="connsiteX189" fmla="*/ 612465 w 1193687"/>
                <a:gd name="connsiteY189" fmla="*/ 1567 h 93972"/>
                <a:gd name="connsiteX190" fmla="*/ 613803 w 1193687"/>
                <a:gd name="connsiteY190" fmla="*/ 2586 h 93972"/>
                <a:gd name="connsiteX191" fmla="*/ 613803 w 1193687"/>
                <a:gd name="connsiteY191" fmla="*/ 2904 h 93972"/>
                <a:gd name="connsiteX192" fmla="*/ 613803 w 1193687"/>
                <a:gd name="connsiteY192" fmla="*/ 80620 h 93972"/>
                <a:gd name="connsiteX193" fmla="*/ 614406 w 1193687"/>
                <a:gd name="connsiteY193" fmla="*/ 81422 h 93972"/>
                <a:gd name="connsiteX194" fmla="*/ 614606 w 1193687"/>
                <a:gd name="connsiteY194" fmla="*/ 81422 h 93972"/>
                <a:gd name="connsiteX195" fmla="*/ 657944 w 1193687"/>
                <a:gd name="connsiteY195" fmla="*/ 81422 h 93972"/>
                <a:gd name="connsiteX196" fmla="*/ 659282 w 1193687"/>
                <a:gd name="connsiteY196" fmla="*/ 82441 h 93972"/>
                <a:gd name="connsiteX197" fmla="*/ 659282 w 1193687"/>
                <a:gd name="connsiteY197" fmla="*/ 82760 h 93972"/>
                <a:gd name="connsiteX198" fmla="*/ 659282 w 1193687"/>
                <a:gd name="connsiteY198" fmla="*/ 91187 h 93972"/>
                <a:gd name="connsiteX199" fmla="*/ 658262 w 1193687"/>
                <a:gd name="connsiteY199" fmla="*/ 92524 h 93972"/>
                <a:gd name="connsiteX200" fmla="*/ 657944 w 1193687"/>
                <a:gd name="connsiteY200" fmla="*/ 92524 h 93972"/>
                <a:gd name="connsiteX201" fmla="*/ 603251 w 1193687"/>
                <a:gd name="connsiteY201" fmla="*/ 92524 h 93972"/>
                <a:gd name="connsiteX202" fmla="*/ 601913 w 1193687"/>
                <a:gd name="connsiteY202" fmla="*/ 91505 h 93972"/>
                <a:gd name="connsiteX203" fmla="*/ 601913 w 1193687"/>
                <a:gd name="connsiteY203" fmla="*/ 91187 h 93972"/>
                <a:gd name="connsiteX204" fmla="*/ 703958 w 1193687"/>
                <a:gd name="connsiteY204" fmla="*/ 93996 h 93972"/>
                <a:gd name="connsiteX205" fmla="*/ 684495 w 1193687"/>
                <a:gd name="connsiteY205" fmla="*/ 88645 h 93972"/>
                <a:gd name="connsiteX206" fmla="*/ 673056 w 1193687"/>
                <a:gd name="connsiteY206" fmla="*/ 72728 h 93972"/>
                <a:gd name="connsiteX207" fmla="*/ 671921 w 1193687"/>
                <a:gd name="connsiteY207" fmla="*/ 68566 h 93972"/>
                <a:gd name="connsiteX208" fmla="*/ 671187 w 1193687"/>
                <a:gd name="connsiteY208" fmla="*/ 63552 h 93972"/>
                <a:gd name="connsiteX209" fmla="*/ 670785 w 1193687"/>
                <a:gd name="connsiteY209" fmla="*/ 56661 h 93972"/>
                <a:gd name="connsiteX210" fmla="*/ 670652 w 1193687"/>
                <a:gd name="connsiteY210" fmla="*/ 47031 h 93972"/>
                <a:gd name="connsiteX211" fmla="*/ 670785 w 1193687"/>
                <a:gd name="connsiteY211" fmla="*/ 37400 h 93972"/>
                <a:gd name="connsiteX212" fmla="*/ 671187 w 1193687"/>
                <a:gd name="connsiteY212" fmla="*/ 30513 h 93972"/>
                <a:gd name="connsiteX213" fmla="*/ 671915 w 1193687"/>
                <a:gd name="connsiteY213" fmla="*/ 25510 h 93972"/>
                <a:gd name="connsiteX214" fmla="*/ 673051 w 1193687"/>
                <a:gd name="connsiteY214" fmla="*/ 21348 h 93972"/>
                <a:gd name="connsiteX215" fmla="*/ 684495 w 1193687"/>
                <a:gd name="connsiteY215" fmla="*/ 5431 h 93972"/>
                <a:gd name="connsiteX216" fmla="*/ 723553 w 1193687"/>
                <a:gd name="connsiteY216" fmla="*/ 5431 h 93972"/>
                <a:gd name="connsiteX217" fmla="*/ 734991 w 1193687"/>
                <a:gd name="connsiteY217" fmla="*/ 21348 h 93972"/>
                <a:gd name="connsiteX218" fmla="*/ 736126 w 1193687"/>
                <a:gd name="connsiteY218" fmla="*/ 25510 h 93972"/>
                <a:gd name="connsiteX219" fmla="*/ 736864 w 1193687"/>
                <a:gd name="connsiteY219" fmla="*/ 30527 h 93972"/>
                <a:gd name="connsiteX220" fmla="*/ 737265 w 1193687"/>
                <a:gd name="connsiteY220" fmla="*/ 37415 h 93972"/>
                <a:gd name="connsiteX221" fmla="*/ 737399 w 1193687"/>
                <a:gd name="connsiteY221" fmla="*/ 47046 h 93972"/>
                <a:gd name="connsiteX222" fmla="*/ 737265 w 1193687"/>
                <a:gd name="connsiteY222" fmla="*/ 56676 h 93972"/>
                <a:gd name="connsiteX223" fmla="*/ 736864 w 1193687"/>
                <a:gd name="connsiteY223" fmla="*/ 63567 h 93972"/>
                <a:gd name="connsiteX224" fmla="*/ 736126 w 1193687"/>
                <a:gd name="connsiteY224" fmla="*/ 68584 h 93972"/>
                <a:gd name="connsiteX225" fmla="*/ 734991 w 1193687"/>
                <a:gd name="connsiteY225" fmla="*/ 72746 h 93972"/>
                <a:gd name="connsiteX226" fmla="*/ 723553 w 1193687"/>
                <a:gd name="connsiteY226" fmla="*/ 88663 h 93972"/>
                <a:gd name="connsiteX227" fmla="*/ 703958 w 1193687"/>
                <a:gd name="connsiteY227" fmla="*/ 93996 h 93972"/>
                <a:gd name="connsiteX228" fmla="*/ 703958 w 1193687"/>
                <a:gd name="connsiteY228" fmla="*/ 82894 h 93972"/>
                <a:gd name="connsiteX229" fmla="*/ 716398 w 1193687"/>
                <a:gd name="connsiteY229" fmla="*/ 79416 h 93972"/>
                <a:gd name="connsiteX230" fmla="*/ 723354 w 1193687"/>
                <a:gd name="connsiteY230" fmla="*/ 69384 h 93972"/>
                <a:gd name="connsiteX231" fmla="*/ 724091 w 1193687"/>
                <a:gd name="connsiteY231" fmla="*/ 66373 h 93972"/>
                <a:gd name="connsiteX232" fmla="*/ 724760 w 1193687"/>
                <a:gd name="connsiteY232" fmla="*/ 61893 h 93972"/>
                <a:gd name="connsiteX233" fmla="*/ 725229 w 1193687"/>
                <a:gd name="connsiteY233" fmla="*/ 55606 h 93972"/>
                <a:gd name="connsiteX234" fmla="*/ 725363 w 1193687"/>
                <a:gd name="connsiteY234" fmla="*/ 47046 h 93972"/>
                <a:gd name="connsiteX235" fmla="*/ 725229 w 1193687"/>
                <a:gd name="connsiteY235" fmla="*/ 38485 h 93972"/>
                <a:gd name="connsiteX236" fmla="*/ 724760 w 1193687"/>
                <a:gd name="connsiteY236" fmla="*/ 32198 h 93972"/>
                <a:gd name="connsiteX237" fmla="*/ 724091 w 1193687"/>
                <a:gd name="connsiteY237" fmla="*/ 27718 h 93972"/>
                <a:gd name="connsiteX238" fmla="*/ 723354 w 1193687"/>
                <a:gd name="connsiteY238" fmla="*/ 24707 h 93972"/>
                <a:gd name="connsiteX239" fmla="*/ 716398 w 1193687"/>
                <a:gd name="connsiteY239" fmla="*/ 14675 h 93972"/>
                <a:gd name="connsiteX240" fmla="*/ 703958 w 1193687"/>
                <a:gd name="connsiteY240" fmla="*/ 11197 h 93972"/>
                <a:gd name="connsiteX241" fmla="*/ 691584 w 1193687"/>
                <a:gd name="connsiteY241" fmla="*/ 14675 h 93972"/>
                <a:gd name="connsiteX242" fmla="*/ 684697 w 1193687"/>
                <a:gd name="connsiteY242" fmla="*/ 24707 h 93972"/>
                <a:gd name="connsiteX243" fmla="*/ 683962 w 1193687"/>
                <a:gd name="connsiteY243" fmla="*/ 27718 h 93972"/>
                <a:gd name="connsiteX244" fmla="*/ 683294 w 1193687"/>
                <a:gd name="connsiteY244" fmla="*/ 32198 h 93972"/>
                <a:gd name="connsiteX245" fmla="*/ 682824 w 1193687"/>
                <a:gd name="connsiteY245" fmla="*/ 38485 h 93972"/>
                <a:gd name="connsiteX246" fmla="*/ 682690 w 1193687"/>
                <a:gd name="connsiteY246" fmla="*/ 47046 h 93972"/>
                <a:gd name="connsiteX247" fmla="*/ 682824 w 1193687"/>
                <a:gd name="connsiteY247" fmla="*/ 55606 h 93972"/>
                <a:gd name="connsiteX248" fmla="*/ 683294 w 1193687"/>
                <a:gd name="connsiteY248" fmla="*/ 61893 h 93972"/>
                <a:gd name="connsiteX249" fmla="*/ 683962 w 1193687"/>
                <a:gd name="connsiteY249" fmla="*/ 66373 h 93972"/>
                <a:gd name="connsiteX250" fmla="*/ 684697 w 1193687"/>
                <a:gd name="connsiteY250" fmla="*/ 69384 h 93972"/>
                <a:gd name="connsiteX251" fmla="*/ 691584 w 1193687"/>
                <a:gd name="connsiteY251" fmla="*/ 79416 h 93972"/>
                <a:gd name="connsiteX252" fmla="*/ 703958 w 1193687"/>
                <a:gd name="connsiteY252" fmla="*/ 82894 h 93972"/>
                <a:gd name="connsiteX253" fmla="*/ 755858 w 1193687"/>
                <a:gd name="connsiteY253" fmla="*/ 72728 h 93972"/>
                <a:gd name="connsiteX254" fmla="*/ 754788 w 1193687"/>
                <a:gd name="connsiteY254" fmla="*/ 68566 h 93972"/>
                <a:gd name="connsiteX255" fmla="*/ 754053 w 1193687"/>
                <a:gd name="connsiteY255" fmla="*/ 63552 h 93972"/>
                <a:gd name="connsiteX256" fmla="*/ 753584 w 1193687"/>
                <a:gd name="connsiteY256" fmla="*/ 56661 h 93972"/>
                <a:gd name="connsiteX257" fmla="*/ 753450 w 1193687"/>
                <a:gd name="connsiteY257" fmla="*/ 47031 h 93972"/>
                <a:gd name="connsiteX258" fmla="*/ 753584 w 1193687"/>
                <a:gd name="connsiteY258" fmla="*/ 37400 h 93972"/>
                <a:gd name="connsiteX259" fmla="*/ 754053 w 1193687"/>
                <a:gd name="connsiteY259" fmla="*/ 30513 h 93972"/>
                <a:gd name="connsiteX260" fmla="*/ 754788 w 1193687"/>
                <a:gd name="connsiteY260" fmla="*/ 25498 h 93972"/>
                <a:gd name="connsiteX261" fmla="*/ 755858 w 1193687"/>
                <a:gd name="connsiteY261" fmla="*/ 21337 h 93972"/>
                <a:gd name="connsiteX262" fmla="*/ 767361 w 1193687"/>
                <a:gd name="connsiteY262" fmla="*/ 5431 h 93972"/>
                <a:gd name="connsiteX263" fmla="*/ 787024 w 1193687"/>
                <a:gd name="connsiteY263" fmla="*/ 80 h 93972"/>
                <a:gd name="connsiteX264" fmla="*/ 797859 w 1193687"/>
                <a:gd name="connsiteY264" fmla="*/ 1483 h 93972"/>
                <a:gd name="connsiteX265" fmla="*/ 806420 w 1193687"/>
                <a:gd name="connsiteY265" fmla="*/ 5362 h 93972"/>
                <a:gd name="connsiteX266" fmla="*/ 812840 w 1193687"/>
                <a:gd name="connsiteY266" fmla="*/ 11114 h 93972"/>
                <a:gd name="connsiteX267" fmla="*/ 817254 w 1193687"/>
                <a:gd name="connsiteY267" fmla="*/ 18135 h 93972"/>
                <a:gd name="connsiteX268" fmla="*/ 817061 w 1193687"/>
                <a:gd name="connsiteY268" fmla="*/ 19873 h 93972"/>
                <a:gd name="connsiteX269" fmla="*/ 816853 w 1193687"/>
                <a:gd name="connsiteY269" fmla="*/ 20008 h 93972"/>
                <a:gd name="connsiteX270" fmla="*/ 808827 w 1193687"/>
                <a:gd name="connsiteY270" fmla="*/ 23872 h 93972"/>
                <a:gd name="connsiteX271" fmla="*/ 806955 w 1193687"/>
                <a:gd name="connsiteY271" fmla="*/ 23203 h 93972"/>
                <a:gd name="connsiteX272" fmla="*/ 798929 w 1193687"/>
                <a:gd name="connsiteY272" fmla="*/ 14107 h 93972"/>
                <a:gd name="connsiteX273" fmla="*/ 787039 w 1193687"/>
                <a:gd name="connsiteY273" fmla="*/ 11165 h 93972"/>
                <a:gd name="connsiteX274" fmla="*/ 774397 w 1193687"/>
                <a:gd name="connsiteY274" fmla="*/ 14643 h 93972"/>
                <a:gd name="connsiteX275" fmla="*/ 767373 w 1193687"/>
                <a:gd name="connsiteY275" fmla="*/ 24675 h 93972"/>
                <a:gd name="connsiteX276" fmla="*/ 766571 w 1193687"/>
                <a:gd name="connsiteY276" fmla="*/ 27617 h 93972"/>
                <a:gd name="connsiteX277" fmla="*/ 765976 w 1193687"/>
                <a:gd name="connsiteY277" fmla="*/ 31898 h 93972"/>
                <a:gd name="connsiteX278" fmla="*/ 765643 w 1193687"/>
                <a:gd name="connsiteY278" fmla="*/ 38116 h 93972"/>
                <a:gd name="connsiteX279" fmla="*/ 765489 w 1193687"/>
                <a:gd name="connsiteY279" fmla="*/ 47046 h 93972"/>
                <a:gd name="connsiteX280" fmla="*/ 765622 w 1193687"/>
                <a:gd name="connsiteY280" fmla="*/ 55942 h 93972"/>
                <a:gd name="connsiteX281" fmla="*/ 765955 w 1193687"/>
                <a:gd name="connsiteY281" fmla="*/ 62161 h 93972"/>
                <a:gd name="connsiteX282" fmla="*/ 766550 w 1193687"/>
                <a:gd name="connsiteY282" fmla="*/ 66441 h 93972"/>
                <a:gd name="connsiteX283" fmla="*/ 767352 w 1193687"/>
                <a:gd name="connsiteY283" fmla="*/ 69384 h 93972"/>
                <a:gd name="connsiteX284" fmla="*/ 774376 w 1193687"/>
                <a:gd name="connsiteY284" fmla="*/ 79416 h 93972"/>
                <a:gd name="connsiteX285" fmla="*/ 787018 w 1193687"/>
                <a:gd name="connsiteY285" fmla="*/ 82894 h 93972"/>
                <a:gd name="connsiteX286" fmla="*/ 799205 w 1193687"/>
                <a:gd name="connsiteY286" fmla="*/ 79550 h 93972"/>
                <a:gd name="connsiteX287" fmla="*/ 806562 w 1193687"/>
                <a:gd name="connsiteY287" fmla="*/ 69785 h 93972"/>
                <a:gd name="connsiteX288" fmla="*/ 807751 w 1193687"/>
                <a:gd name="connsiteY288" fmla="*/ 64033 h 93972"/>
                <a:gd name="connsiteX289" fmla="*/ 808286 w 1193687"/>
                <a:gd name="connsiteY289" fmla="*/ 55472 h 93972"/>
                <a:gd name="connsiteX290" fmla="*/ 807683 w 1193687"/>
                <a:gd name="connsiteY290" fmla="*/ 54670 h 93972"/>
                <a:gd name="connsiteX291" fmla="*/ 807484 w 1193687"/>
                <a:gd name="connsiteY291" fmla="*/ 54670 h 93972"/>
                <a:gd name="connsiteX292" fmla="*/ 789827 w 1193687"/>
                <a:gd name="connsiteY292" fmla="*/ 54670 h 93972"/>
                <a:gd name="connsiteX293" fmla="*/ 788490 w 1193687"/>
                <a:gd name="connsiteY293" fmla="*/ 53651 h 93972"/>
                <a:gd name="connsiteX294" fmla="*/ 788490 w 1193687"/>
                <a:gd name="connsiteY294" fmla="*/ 53332 h 93972"/>
                <a:gd name="connsiteX295" fmla="*/ 788490 w 1193687"/>
                <a:gd name="connsiteY295" fmla="*/ 45559 h 93972"/>
                <a:gd name="connsiteX296" fmla="*/ 789509 w 1193687"/>
                <a:gd name="connsiteY296" fmla="*/ 44222 h 93972"/>
                <a:gd name="connsiteX297" fmla="*/ 789827 w 1193687"/>
                <a:gd name="connsiteY297" fmla="*/ 44222 h 93972"/>
                <a:gd name="connsiteX298" fmla="*/ 818854 w 1193687"/>
                <a:gd name="connsiteY298" fmla="*/ 44222 h 93972"/>
                <a:gd name="connsiteX299" fmla="*/ 820191 w 1193687"/>
                <a:gd name="connsiteY299" fmla="*/ 45241 h 93972"/>
                <a:gd name="connsiteX300" fmla="*/ 820191 w 1193687"/>
                <a:gd name="connsiteY300" fmla="*/ 45559 h 93972"/>
                <a:gd name="connsiteX301" fmla="*/ 820191 w 1193687"/>
                <a:gd name="connsiteY301" fmla="*/ 52396 h 93972"/>
                <a:gd name="connsiteX302" fmla="*/ 819597 w 1193687"/>
                <a:gd name="connsiteY302" fmla="*/ 63831 h 93972"/>
                <a:gd name="connsiteX303" fmla="*/ 817926 w 1193687"/>
                <a:gd name="connsiteY303" fmla="*/ 72451 h 93972"/>
                <a:gd name="connsiteX304" fmla="*/ 806488 w 1193687"/>
                <a:gd name="connsiteY304" fmla="*/ 88434 h 93972"/>
                <a:gd name="connsiteX305" fmla="*/ 787027 w 1193687"/>
                <a:gd name="connsiteY305" fmla="*/ 93987 h 93972"/>
                <a:gd name="connsiteX306" fmla="*/ 767364 w 1193687"/>
                <a:gd name="connsiteY306" fmla="*/ 88636 h 93972"/>
                <a:gd name="connsiteX307" fmla="*/ 755858 w 1193687"/>
                <a:gd name="connsiteY307" fmla="*/ 72728 h 93972"/>
                <a:gd name="connsiteX308" fmla="*/ 839459 w 1193687"/>
                <a:gd name="connsiteY308" fmla="*/ 2904 h 93972"/>
                <a:gd name="connsiteX309" fmla="*/ 840478 w 1193687"/>
                <a:gd name="connsiteY309" fmla="*/ 1567 h 93972"/>
                <a:gd name="connsiteX310" fmla="*/ 840796 w 1193687"/>
                <a:gd name="connsiteY310" fmla="*/ 1567 h 93972"/>
                <a:gd name="connsiteX311" fmla="*/ 850011 w 1193687"/>
                <a:gd name="connsiteY311" fmla="*/ 1567 h 93972"/>
                <a:gd name="connsiteX312" fmla="*/ 851349 w 1193687"/>
                <a:gd name="connsiteY312" fmla="*/ 2586 h 93972"/>
                <a:gd name="connsiteX313" fmla="*/ 851349 w 1193687"/>
                <a:gd name="connsiteY313" fmla="*/ 2904 h 93972"/>
                <a:gd name="connsiteX314" fmla="*/ 851349 w 1193687"/>
                <a:gd name="connsiteY314" fmla="*/ 91187 h 93972"/>
                <a:gd name="connsiteX315" fmla="*/ 850329 w 1193687"/>
                <a:gd name="connsiteY315" fmla="*/ 92524 h 93972"/>
                <a:gd name="connsiteX316" fmla="*/ 850011 w 1193687"/>
                <a:gd name="connsiteY316" fmla="*/ 92524 h 93972"/>
                <a:gd name="connsiteX317" fmla="*/ 840796 w 1193687"/>
                <a:gd name="connsiteY317" fmla="*/ 92524 h 93972"/>
                <a:gd name="connsiteX318" fmla="*/ 839459 w 1193687"/>
                <a:gd name="connsiteY318" fmla="*/ 91505 h 93972"/>
                <a:gd name="connsiteX319" fmla="*/ 839459 w 1193687"/>
                <a:gd name="connsiteY319" fmla="*/ 91187 h 93972"/>
                <a:gd name="connsiteX320" fmla="*/ 901390 w 1193687"/>
                <a:gd name="connsiteY320" fmla="*/ 93996 h 93972"/>
                <a:gd name="connsiteX321" fmla="*/ 891893 w 1193687"/>
                <a:gd name="connsiteY321" fmla="*/ 93059 h 93972"/>
                <a:gd name="connsiteX322" fmla="*/ 883065 w 1193687"/>
                <a:gd name="connsiteY322" fmla="*/ 90583 h 93972"/>
                <a:gd name="connsiteX323" fmla="*/ 875441 w 1193687"/>
                <a:gd name="connsiteY323" fmla="*/ 86972 h 93972"/>
                <a:gd name="connsiteX324" fmla="*/ 869421 w 1193687"/>
                <a:gd name="connsiteY324" fmla="*/ 82626 h 93972"/>
                <a:gd name="connsiteX325" fmla="*/ 869225 w 1193687"/>
                <a:gd name="connsiteY325" fmla="*/ 80689 h 93972"/>
                <a:gd name="connsiteX326" fmla="*/ 869288 w 1193687"/>
                <a:gd name="connsiteY326" fmla="*/ 80620 h 93972"/>
                <a:gd name="connsiteX327" fmla="*/ 875173 w 1193687"/>
                <a:gd name="connsiteY327" fmla="*/ 73664 h 93972"/>
                <a:gd name="connsiteX328" fmla="*/ 876882 w 1193687"/>
                <a:gd name="connsiteY328" fmla="*/ 73389 h 93972"/>
                <a:gd name="connsiteX329" fmla="*/ 877046 w 1193687"/>
                <a:gd name="connsiteY329" fmla="*/ 73530 h 93972"/>
                <a:gd name="connsiteX330" fmla="*/ 888014 w 1193687"/>
                <a:gd name="connsiteY330" fmla="*/ 79951 h 93972"/>
                <a:gd name="connsiteX331" fmla="*/ 902460 w 1193687"/>
                <a:gd name="connsiteY331" fmla="*/ 82894 h 93972"/>
                <a:gd name="connsiteX332" fmla="*/ 917242 w 1193687"/>
                <a:gd name="connsiteY332" fmla="*/ 78613 h 93972"/>
                <a:gd name="connsiteX333" fmla="*/ 922525 w 1193687"/>
                <a:gd name="connsiteY333" fmla="*/ 67377 h 93972"/>
                <a:gd name="connsiteX334" fmla="*/ 921588 w 1193687"/>
                <a:gd name="connsiteY334" fmla="*/ 62027 h 93972"/>
                <a:gd name="connsiteX335" fmla="*/ 918446 w 1193687"/>
                <a:gd name="connsiteY335" fmla="*/ 57746 h 93972"/>
                <a:gd name="connsiteX336" fmla="*/ 912626 w 1193687"/>
                <a:gd name="connsiteY336" fmla="*/ 54536 h 93972"/>
                <a:gd name="connsiteX337" fmla="*/ 903531 w 1193687"/>
                <a:gd name="connsiteY337" fmla="*/ 52530 h 93972"/>
                <a:gd name="connsiteX338" fmla="*/ 898983 w 1193687"/>
                <a:gd name="connsiteY338" fmla="*/ 51861 h 93972"/>
                <a:gd name="connsiteX339" fmla="*/ 872230 w 1193687"/>
                <a:gd name="connsiteY339" fmla="*/ 26714 h 93972"/>
                <a:gd name="connsiteX340" fmla="*/ 874311 w 1193687"/>
                <a:gd name="connsiteY340" fmla="*/ 15745 h 93972"/>
                <a:gd name="connsiteX341" fmla="*/ 880256 w 1193687"/>
                <a:gd name="connsiteY341" fmla="*/ 7318 h 93972"/>
                <a:gd name="connsiteX342" fmla="*/ 889619 w 1193687"/>
                <a:gd name="connsiteY342" fmla="*/ 1968 h 93972"/>
                <a:gd name="connsiteX343" fmla="*/ 901925 w 1193687"/>
                <a:gd name="connsiteY343" fmla="*/ 95 h 93972"/>
                <a:gd name="connsiteX344" fmla="*/ 917240 w 1193687"/>
                <a:gd name="connsiteY344" fmla="*/ 2435 h 93972"/>
                <a:gd name="connsiteX345" fmla="*/ 929629 w 1193687"/>
                <a:gd name="connsiteY345" fmla="*/ 8522 h 93972"/>
                <a:gd name="connsiteX346" fmla="*/ 930087 w 1193687"/>
                <a:gd name="connsiteY346" fmla="*/ 10140 h 93972"/>
                <a:gd name="connsiteX347" fmla="*/ 929896 w 1193687"/>
                <a:gd name="connsiteY347" fmla="*/ 10395 h 93972"/>
                <a:gd name="connsiteX348" fmla="*/ 925348 w 1193687"/>
                <a:gd name="connsiteY348" fmla="*/ 17752 h 93972"/>
                <a:gd name="connsiteX349" fmla="*/ 923532 w 1193687"/>
                <a:gd name="connsiteY349" fmla="*/ 18063 h 93972"/>
                <a:gd name="connsiteX350" fmla="*/ 923476 w 1193687"/>
                <a:gd name="connsiteY350" fmla="*/ 18019 h 93972"/>
                <a:gd name="connsiteX351" fmla="*/ 912626 w 1193687"/>
                <a:gd name="connsiteY351" fmla="*/ 12862 h 93972"/>
                <a:gd name="connsiteX352" fmla="*/ 901524 w 1193687"/>
                <a:gd name="connsiteY352" fmla="*/ 11191 h 93972"/>
                <a:gd name="connsiteX353" fmla="*/ 888683 w 1193687"/>
                <a:gd name="connsiteY353" fmla="*/ 15270 h 93972"/>
                <a:gd name="connsiteX354" fmla="*/ 884269 w 1193687"/>
                <a:gd name="connsiteY354" fmla="*/ 25902 h 93972"/>
                <a:gd name="connsiteX355" fmla="*/ 888549 w 1193687"/>
                <a:gd name="connsiteY355" fmla="*/ 35331 h 93972"/>
                <a:gd name="connsiteX356" fmla="*/ 903397 w 1193687"/>
                <a:gd name="connsiteY356" fmla="*/ 40482 h 93972"/>
                <a:gd name="connsiteX357" fmla="*/ 907811 w 1193687"/>
                <a:gd name="connsiteY357" fmla="*/ 41151 h 93972"/>
                <a:gd name="connsiteX358" fmla="*/ 927875 w 1193687"/>
                <a:gd name="connsiteY358" fmla="*/ 49177 h 93972"/>
                <a:gd name="connsiteX359" fmla="*/ 934563 w 1193687"/>
                <a:gd name="connsiteY359" fmla="*/ 66566 h 93972"/>
                <a:gd name="connsiteX360" fmla="*/ 932482 w 1193687"/>
                <a:gd name="connsiteY360" fmla="*/ 77600 h 93972"/>
                <a:gd name="connsiteX361" fmla="*/ 926196 w 1193687"/>
                <a:gd name="connsiteY361" fmla="*/ 86220 h 93972"/>
                <a:gd name="connsiteX362" fmla="*/ 915762 w 1193687"/>
                <a:gd name="connsiteY362" fmla="*/ 91906 h 93972"/>
                <a:gd name="connsiteX363" fmla="*/ 901390 w 1193687"/>
                <a:gd name="connsiteY363" fmla="*/ 93996 h 93972"/>
                <a:gd name="connsiteX364" fmla="*/ 971348 w 1193687"/>
                <a:gd name="connsiteY364" fmla="*/ 92524 h 93972"/>
                <a:gd name="connsiteX365" fmla="*/ 970010 w 1193687"/>
                <a:gd name="connsiteY365" fmla="*/ 91505 h 93972"/>
                <a:gd name="connsiteX366" fmla="*/ 970010 w 1193687"/>
                <a:gd name="connsiteY366" fmla="*/ 91187 h 93972"/>
                <a:gd name="connsiteX367" fmla="*/ 970010 w 1193687"/>
                <a:gd name="connsiteY367" fmla="*/ 13457 h 93972"/>
                <a:gd name="connsiteX368" fmla="*/ 969407 w 1193687"/>
                <a:gd name="connsiteY368" fmla="*/ 12654 h 93972"/>
                <a:gd name="connsiteX369" fmla="*/ 969207 w 1193687"/>
                <a:gd name="connsiteY369" fmla="*/ 12654 h 93972"/>
                <a:gd name="connsiteX370" fmla="*/ 944328 w 1193687"/>
                <a:gd name="connsiteY370" fmla="*/ 12654 h 93972"/>
                <a:gd name="connsiteX371" fmla="*/ 942990 w 1193687"/>
                <a:gd name="connsiteY371" fmla="*/ 11635 h 93972"/>
                <a:gd name="connsiteX372" fmla="*/ 942990 w 1193687"/>
                <a:gd name="connsiteY372" fmla="*/ 11316 h 93972"/>
                <a:gd name="connsiteX373" fmla="*/ 942990 w 1193687"/>
                <a:gd name="connsiteY373" fmla="*/ 2904 h 93972"/>
                <a:gd name="connsiteX374" fmla="*/ 944010 w 1193687"/>
                <a:gd name="connsiteY374" fmla="*/ 1567 h 93972"/>
                <a:gd name="connsiteX375" fmla="*/ 944328 w 1193687"/>
                <a:gd name="connsiteY375" fmla="*/ 1567 h 93972"/>
                <a:gd name="connsiteX376" fmla="*/ 1007597 w 1193687"/>
                <a:gd name="connsiteY376" fmla="*/ 1567 h 93972"/>
                <a:gd name="connsiteX377" fmla="*/ 1008935 w 1193687"/>
                <a:gd name="connsiteY377" fmla="*/ 2586 h 93972"/>
                <a:gd name="connsiteX378" fmla="*/ 1008935 w 1193687"/>
                <a:gd name="connsiteY378" fmla="*/ 2904 h 93972"/>
                <a:gd name="connsiteX379" fmla="*/ 1008935 w 1193687"/>
                <a:gd name="connsiteY379" fmla="*/ 11331 h 93972"/>
                <a:gd name="connsiteX380" fmla="*/ 1007915 w 1193687"/>
                <a:gd name="connsiteY380" fmla="*/ 12669 h 93972"/>
                <a:gd name="connsiteX381" fmla="*/ 1007597 w 1193687"/>
                <a:gd name="connsiteY381" fmla="*/ 12669 h 93972"/>
                <a:gd name="connsiteX382" fmla="*/ 982717 w 1193687"/>
                <a:gd name="connsiteY382" fmla="*/ 12669 h 93972"/>
                <a:gd name="connsiteX383" fmla="*/ 981915 w 1193687"/>
                <a:gd name="connsiteY383" fmla="*/ 13273 h 93972"/>
                <a:gd name="connsiteX384" fmla="*/ 981915 w 1193687"/>
                <a:gd name="connsiteY384" fmla="*/ 13471 h 93972"/>
                <a:gd name="connsiteX385" fmla="*/ 981915 w 1193687"/>
                <a:gd name="connsiteY385" fmla="*/ 91187 h 93972"/>
                <a:gd name="connsiteX386" fmla="*/ 980895 w 1193687"/>
                <a:gd name="connsiteY386" fmla="*/ 92524 h 93972"/>
                <a:gd name="connsiteX387" fmla="*/ 980577 w 1193687"/>
                <a:gd name="connsiteY387" fmla="*/ 92524 h 93972"/>
                <a:gd name="connsiteX388" fmla="*/ 1023113 w 1193687"/>
                <a:gd name="connsiteY388" fmla="*/ 2904 h 93972"/>
                <a:gd name="connsiteX389" fmla="*/ 1024133 w 1193687"/>
                <a:gd name="connsiteY389" fmla="*/ 1567 h 93972"/>
                <a:gd name="connsiteX390" fmla="*/ 1024451 w 1193687"/>
                <a:gd name="connsiteY390" fmla="*/ 1567 h 93972"/>
                <a:gd name="connsiteX391" fmla="*/ 1033666 w 1193687"/>
                <a:gd name="connsiteY391" fmla="*/ 1567 h 93972"/>
                <a:gd name="connsiteX392" fmla="*/ 1035003 w 1193687"/>
                <a:gd name="connsiteY392" fmla="*/ 2586 h 93972"/>
                <a:gd name="connsiteX393" fmla="*/ 1035003 w 1193687"/>
                <a:gd name="connsiteY393" fmla="*/ 2904 h 93972"/>
                <a:gd name="connsiteX394" fmla="*/ 1035003 w 1193687"/>
                <a:gd name="connsiteY394" fmla="*/ 91187 h 93972"/>
                <a:gd name="connsiteX395" fmla="*/ 1033984 w 1193687"/>
                <a:gd name="connsiteY395" fmla="*/ 92524 h 93972"/>
                <a:gd name="connsiteX396" fmla="*/ 1033666 w 1193687"/>
                <a:gd name="connsiteY396" fmla="*/ 92524 h 93972"/>
                <a:gd name="connsiteX397" fmla="*/ 1024451 w 1193687"/>
                <a:gd name="connsiteY397" fmla="*/ 92524 h 93972"/>
                <a:gd name="connsiteX398" fmla="*/ 1023113 w 1193687"/>
                <a:gd name="connsiteY398" fmla="*/ 91505 h 93972"/>
                <a:gd name="connsiteX399" fmla="*/ 1023113 w 1193687"/>
                <a:gd name="connsiteY399" fmla="*/ 91187 h 93972"/>
                <a:gd name="connsiteX400" fmla="*/ 1056702 w 1193687"/>
                <a:gd name="connsiteY400" fmla="*/ 72594 h 93972"/>
                <a:gd name="connsiteX401" fmla="*/ 1055564 w 1193687"/>
                <a:gd name="connsiteY401" fmla="*/ 68516 h 93972"/>
                <a:gd name="connsiteX402" fmla="*/ 1054830 w 1193687"/>
                <a:gd name="connsiteY402" fmla="*/ 63567 h 93972"/>
                <a:gd name="connsiteX403" fmla="*/ 1054428 w 1193687"/>
                <a:gd name="connsiteY403" fmla="*/ 56676 h 93972"/>
                <a:gd name="connsiteX404" fmla="*/ 1054295 w 1193687"/>
                <a:gd name="connsiteY404" fmla="*/ 47046 h 93972"/>
                <a:gd name="connsiteX405" fmla="*/ 1054428 w 1193687"/>
                <a:gd name="connsiteY405" fmla="*/ 37415 h 93972"/>
                <a:gd name="connsiteX406" fmla="*/ 1054830 w 1193687"/>
                <a:gd name="connsiteY406" fmla="*/ 30527 h 93972"/>
                <a:gd name="connsiteX407" fmla="*/ 1055564 w 1193687"/>
                <a:gd name="connsiteY407" fmla="*/ 25578 h 93972"/>
                <a:gd name="connsiteX408" fmla="*/ 1056702 w 1193687"/>
                <a:gd name="connsiteY408" fmla="*/ 21500 h 93972"/>
                <a:gd name="connsiteX409" fmla="*/ 1067938 w 1193687"/>
                <a:gd name="connsiteY409" fmla="*/ 5383 h 93972"/>
                <a:gd name="connsiteX410" fmla="*/ 1086932 w 1193687"/>
                <a:gd name="connsiteY410" fmla="*/ 98 h 93972"/>
                <a:gd name="connsiteX411" fmla="*/ 1104654 w 1193687"/>
                <a:gd name="connsiteY411" fmla="*/ 4854 h 93972"/>
                <a:gd name="connsiteX412" fmla="*/ 1116092 w 1193687"/>
                <a:gd name="connsiteY412" fmla="*/ 18429 h 93972"/>
                <a:gd name="connsiteX413" fmla="*/ 1115557 w 1193687"/>
                <a:gd name="connsiteY413" fmla="*/ 20168 h 93972"/>
                <a:gd name="connsiteX414" fmla="*/ 1107532 w 1193687"/>
                <a:gd name="connsiteY414" fmla="*/ 24047 h 93972"/>
                <a:gd name="connsiteX415" fmla="*/ 1105867 w 1193687"/>
                <a:gd name="connsiteY415" fmla="*/ 23816 h 93972"/>
                <a:gd name="connsiteX416" fmla="*/ 1105659 w 1193687"/>
                <a:gd name="connsiteY416" fmla="*/ 23379 h 93972"/>
                <a:gd name="connsiteX417" fmla="*/ 1098570 w 1193687"/>
                <a:gd name="connsiteY417" fmla="*/ 14619 h 93972"/>
                <a:gd name="connsiteX418" fmla="*/ 1086932 w 1193687"/>
                <a:gd name="connsiteY418" fmla="*/ 11209 h 93972"/>
                <a:gd name="connsiteX419" fmla="*/ 1074894 w 1193687"/>
                <a:gd name="connsiteY419" fmla="*/ 14687 h 93972"/>
                <a:gd name="connsiteX420" fmla="*/ 1068057 w 1193687"/>
                <a:gd name="connsiteY420" fmla="*/ 24585 h 93972"/>
                <a:gd name="connsiteX421" fmla="*/ 1067323 w 1193687"/>
                <a:gd name="connsiteY421" fmla="*/ 27730 h 93972"/>
                <a:gd name="connsiteX422" fmla="*/ 1066788 w 1193687"/>
                <a:gd name="connsiteY422" fmla="*/ 31892 h 93972"/>
                <a:gd name="connsiteX423" fmla="*/ 1066455 w 1193687"/>
                <a:gd name="connsiteY423" fmla="*/ 38045 h 93972"/>
                <a:gd name="connsiteX424" fmla="*/ 1066321 w 1193687"/>
                <a:gd name="connsiteY424" fmla="*/ 47075 h 93972"/>
                <a:gd name="connsiteX425" fmla="*/ 1066455 w 1193687"/>
                <a:gd name="connsiteY425" fmla="*/ 56103 h 93972"/>
                <a:gd name="connsiteX426" fmla="*/ 1066788 w 1193687"/>
                <a:gd name="connsiteY426" fmla="*/ 62256 h 93972"/>
                <a:gd name="connsiteX427" fmla="*/ 1067323 w 1193687"/>
                <a:gd name="connsiteY427" fmla="*/ 66471 h 93972"/>
                <a:gd name="connsiteX428" fmla="*/ 1068057 w 1193687"/>
                <a:gd name="connsiteY428" fmla="*/ 69547 h 93972"/>
                <a:gd name="connsiteX429" fmla="*/ 1074894 w 1193687"/>
                <a:gd name="connsiteY429" fmla="*/ 79446 h 93972"/>
                <a:gd name="connsiteX430" fmla="*/ 1086932 w 1193687"/>
                <a:gd name="connsiteY430" fmla="*/ 82923 h 93972"/>
                <a:gd name="connsiteX431" fmla="*/ 1098570 w 1193687"/>
                <a:gd name="connsiteY431" fmla="*/ 79511 h 93972"/>
                <a:gd name="connsiteX432" fmla="*/ 1105659 w 1193687"/>
                <a:gd name="connsiteY432" fmla="*/ 70751 h 93972"/>
                <a:gd name="connsiteX433" fmla="*/ 1107095 w 1193687"/>
                <a:gd name="connsiteY433" fmla="*/ 69875 h 93972"/>
                <a:gd name="connsiteX434" fmla="*/ 1107532 w 1193687"/>
                <a:gd name="connsiteY434" fmla="*/ 70082 h 93972"/>
                <a:gd name="connsiteX435" fmla="*/ 1115557 w 1193687"/>
                <a:gd name="connsiteY435" fmla="*/ 73946 h 93972"/>
                <a:gd name="connsiteX436" fmla="*/ 1116092 w 1193687"/>
                <a:gd name="connsiteY436" fmla="*/ 75685 h 93972"/>
                <a:gd name="connsiteX437" fmla="*/ 1104654 w 1193687"/>
                <a:gd name="connsiteY437" fmla="*/ 89261 h 93972"/>
                <a:gd name="connsiteX438" fmla="*/ 1086932 w 1193687"/>
                <a:gd name="connsiteY438" fmla="*/ 94017 h 93972"/>
                <a:gd name="connsiteX439" fmla="*/ 1067938 w 1193687"/>
                <a:gd name="connsiteY439" fmla="*/ 88732 h 93972"/>
                <a:gd name="connsiteX440" fmla="*/ 1056687 w 1193687"/>
                <a:gd name="connsiteY440" fmla="*/ 72609 h 93972"/>
                <a:gd name="connsiteX441" fmla="*/ 1160769 w 1193687"/>
                <a:gd name="connsiteY441" fmla="*/ 93996 h 93972"/>
                <a:gd name="connsiteX442" fmla="*/ 1151272 w 1193687"/>
                <a:gd name="connsiteY442" fmla="*/ 93059 h 93972"/>
                <a:gd name="connsiteX443" fmla="*/ 1142443 w 1193687"/>
                <a:gd name="connsiteY443" fmla="*/ 90583 h 93972"/>
                <a:gd name="connsiteX444" fmla="*/ 1134819 w 1193687"/>
                <a:gd name="connsiteY444" fmla="*/ 86972 h 93972"/>
                <a:gd name="connsiteX445" fmla="*/ 1128785 w 1193687"/>
                <a:gd name="connsiteY445" fmla="*/ 82626 h 93972"/>
                <a:gd name="connsiteX446" fmla="*/ 1128589 w 1193687"/>
                <a:gd name="connsiteY446" fmla="*/ 80689 h 93972"/>
                <a:gd name="connsiteX447" fmla="*/ 1128651 w 1193687"/>
                <a:gd name="connsiteY447" fmla="*/ 80620 h 93972"/>
                <a:gd name="connsiteX448" fmla="*/ 1134537 w 1193687"/>
                <a:gd name="connsiteY448" fmla="*/ 73664 h 93972"/>
                <a:gd name="connsiteX449" fmla="*/ 1136246 w 1193687"/>
                <a:gd name="connsiteY449" fmla="*/ 73389 h 93972"/>
                <a:gd name="connsiteX450" fmla="*/ 1136409 w 1193687"/>
                <a:gd name="connsiteY450" fmla="*/ 73530 h 93972"/>
                <a:gd name="connsiteX451" fmla="*/ 1147378 w 1193687"/>
                <a:gd name="connsiteY451" fmla="*/ 79951 h 93972"/>
                <a:gd name="connsiteX452" fmla="*/ 1161824 w 1193687"/>
                <a:gd name="connsiteY452" fmla="*/ 82894 h 93972"/>
                <a:gd name="connsiteX453" fmla="*/ 1176606 w 1193687"/>
                <a:gd name="connsiteY453" fmla="*/ 78613 h 93972"/>
                <a:gd name="connsiteX454" fmla="*/ 1181888 w 1193687"/>
                <a:gd name="connsiteY454" fmla="*/ 67377 h 93972"/>
                <a:gd name="connsiteX455" fmla="*/ 1180952 w 1193687"/>
                <a:gd name="connsiteY455" fmla="*/ 62027 h 93972"/>
                <a:gd name="connsiteX456" fmla="*/ 1177810 w 1193687"/>
                <a:gd name="connsiteY456" fmla="*/ 57746 h 93972"/>
                <a:gd name="connsiteX457" fmla="*/ 1171990 w 1193687"/>
                <a:gd name="connsiteY457" fmla="*/ 54536 h 93972"/>
                <a:gd name="connsiteX458" fmla="*/ 1162894 w 1193687"/>
                <a:gd name="connsiteY458" fmla="*/ 52530 h 93972"/>
                <a:gd name="connsiteX459" fmla="*/ 1158346 w 1193687"/>
                <a:gd name="connsiteY459" fmla="*/ 51861 h 93972"/>
                <a:gd name="connsiteX460" fmla="*/ 1131594 w 1193687"/>
                <a:gd name="connsiteY460" fmla="*/ 26714 h 93972"/>
                <a:gd name="connsiteX461" fmla="*/ 1133675 w 1193687"/>
                <a:gd name="connsiteY461" fmla="*/ 15745 h 93972"/>
                <a:gd name="connsiteX462" fmla="*/ 1139620 w 1193687"/>
                <a:gd name="connsiteY462" fmla="*/ 7318 h 93972"/>
                <a:gd name="connsiteX463" fmla="*/ 1148983 w 1193687"/>
                <a:gd name="connsiteY463" fmla="*/ 1968 h 93972"/>
                <a:gd name="connsiteX464" fmla="*/ 1161289 w 1193687"/>
                <a:gd name="connsiteY464" fmla="*/ 95 h 93972"/>
                <a:gd name="connsiteX465" fmla="*/ 1176603 w 1193687"/>
                <a:gd name="connsiteY465" fmla="*/ 2435 h 93972"/>
                <a:gd name="connsiteX466" fmla="*/ 1188978 w 1193687"/>
                <a:gd name="connsiteY466" fmla="*/ 8522 h 93972"/>
                <a:gd name="connsiteX467" fmla="*/ 1189435 w 1193687"/>
                <a:gd name="connsiteY467" fmla="*/ 10140 h 93972"/>
                <a:gd name="connsiteX468" fmla="*/ 1189245 w 1193687"/>
                <a:gd name="connsiteY468" fmla="*/ 10395 h 93972"/>
                <a:gd name="connsiteX469" fmla="*/ 1184697 w 1193687"/>
                <a:gd name="connsiteY469" fmla="*/ 17752 h 93972"/>
                <a:gd name="connsiteX470" fmla="*/ 1182881 w 1193687"/>
                <a:gd name="connsiteY470" fmla="*/ 18063 h 93972"/>
                <a:gd name="connsiteX471" fmla="*/ 1182825 w 1193687"/>
                <a:gd name="connsiteY471" fmla="*/ 18019 h 93972"/>
                <a:gd name="connsiteX472" fmla="*/ 1171990 w 1193687"/>
                <a:gd name="connsiteY472" fmla="*/ 12862 h 93972"/>
                <a:gd name="connsiteX473" fmla="*/ 1160888 w 1193687"/>
                <a:gd name="connsiteY473" fmla="*/ 11197 h 93972"/>
                <a:gd name="connsiteX474" fmla="*/ 1148047 w 1193687"/>
                <a:gd name="connsiteY474" fmla="*/ 15276 h 93972"/>
                <a:gd name="connsiteX475" fmla="*/ 1143647 w 1193687"/>
                <a:gd name="connsiteY475" fmla="*/ 25911 h 93972"/>
                <a:gd name="connsiteX476" fmla="*/ 1147928 w 1193687"/>
                <a:gd name="connsiteY476" fmla="*/ 35340 h 93972"/>
                <a:gd name="connsiteX477" fmla="*/ 1162760 w 1193687"/>
                <a:gd name="connsiteY477" fmla="*/ 40506 h 93972"/>
                <a:gd name="connsiteX478" fmla="*/ 1167174 w 1193687"/>
                <a:gd name="connsiteY478" fmla="*/ 41175 h 93972"/>
                <a:gd name="connsiteX479" fmla="*/ 1187239 w 1193687"/>
                <a:gd name="connsiteY479" fmla="*/ 49201 h 93972"/>
                <a:gd name="connsiteX480" fmla="*/ 1193927 w 1193687"/>
                <a:gd name="connsiteY480" fmla="*/ 66590 h 93972"/>
                <a:gd name="connsiteX481" fmla="*/ 1191846 w 1193687"/>
                <a:gd name="connsiteY481" fmla="*/ 77623 h 93972"/>
                <a:gd name="connsiteX482" fmla="*/ 1185559 w 1193687"/>
                <a:gd name="connsiteY482" fmla="*/ 86244 h 93972"/>
                <a:gd name="connsiteX483" fmla="*/ 1175126 w 1193687"/>
                <a:gd name="connsiteY483" fmla="*/ 91930 h 93972"/>
                <a:gd name="connsiteX484" fmla="*/ 1160754 w 1193687"/>
                <a:gd name="connsiteY484" fmla="*/ 93996 h 93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Lst>
              <a:rect l="l" t="t" r="r" b="b"/>
              <a:pathLst>
                <a:path w="1193687" h="93972">
                  <a:moveTo>
                    <a:pt x="31941" y="2904"/>
                  </a:moveTo>
                  <a:cubicBezTo>
                    <a:pt x="32072" y="2123"/>
                    <a:pt x="32754" y="1556"/>
                    <a:pt x="33546" y="1567"/>
                  </a:cubicBezTo>
                  <a:lnTo>
                    <a:pt x="42240" y="1567"/>
                  </a:lnTo>
                  <a:cubicBezTo>
                    <a:pt x="43071" y="1520"/>
                    <a:pt x="43811" y="2089"/>
                    <a:pt x="43979" y="2904"/>
                  </a:cubicBezTo>
                  <a:lnTo>
                    <a:pt x="75145" y="91187"/>
                  </a:lnTo>
                  <a:cubicBezTo>
                    <a:pt x="75413" y="92079"/>
                    <a:pt x="75101" y="92524"/>
                    <a:pt x="74209" y="92524"/>
                  </a:cubicBezTo>
                  <a:lnTo>
                    <a:pt x="64846" y="92524"/>
                  </a:lnTo>
                  <a:cubicBezTo>
                    <a:pt x="64015" y="92571"/>
                    <a:pt x="63275" y="92002"/>
                    <a:pt x="63107" y="91187"/>
                  </a:cubicBezTo>
                  <a:lnTo>
                    <a:pt x="56151" y="71390"/>
                  </a:lnTo>
                  <a:lnTo>
                    <a:pt x="19367" y="71390"/>
                  </a:lnTo>
                  <a:lnTo>
                    <a:pt x="12411" y="91187"/>
                  </a:lnTo>
                  <a:cubicBezTo>
                    <a:pt x="12197" y="91972"/>
                    <a:pt x="11486" y="92518"/>
                    <a:pt x="10672" y="92524"/>
                  </a:cubicBezTo>
                  <a:lnTo>
                    <a:pt x="1309" y="92524"/>
                  </a:lnTo>
                  <a:cubicBezTo>
                    <a:pt x="417" y="92524"/>
                    <a:pt x="105" y="92079"/>
                    <a:pt x="373" y="91187"/>
                  </a:cubicBezTo>
                  <a:close/>
                  <a:moveTo>
                    <a:pt x="52272" y="60422"/>
                  </a:moveTo>
                  <a:lnTo>
                    <a:pt x="37960" y="19089"/>
                  </a:lnTo>
                  <a:lnTo>
                    <a:pt x="37692" y="19089"/>
                  </a:lnTo>
                  <a:lnTo>
                    <a:pt x="23246" y="60422"/>
                  </a:lnTo>
                  <a:close/>
                  <a:moveTo>
                    <a:pt x="105911" y="92524"/>
                  </a:moveTo>
                  <a:cubicBezTo>
                    <a:pt x="105119" y="92535"/>
                    <a:pt x="104437" y="91968"/>
                    <a:pt x="104305" y="91187"/>
                  </a:cubicBezTo>
                  <a:lnTo>
                    <a:pt x="74878" y="3172"/>
                  </a:lnTo>
                  <a:cubicBezTo>
                    <a:pt x="74695" y="2791"/>
                    <a:pt x="74695" y="2348"/>
                    <a:pt x="74878" y="1968"/>
                  </a:cubicBezTo>
                  <a:cubicBezTo>
                    <a:pt x="75099" y="1680"/>
                    <a:pt x="75453" y="1528"/>
                    <a:pt x="75814" y="1567"/>
                  </a:cubicBezTo>
                  <a:lnTo>
                    <a:pt x="84910" y="1567"/>
                  </a:lnTo>
                  <a:cubicBezTo>
                    <a:pt x="85780" y="1487"/>
                    <a:pt x="86576" y="2056"/>
                    <a:pt x="86783" y="2904"/>
                  </a:cubicBezTo>
                  <a:lnTo>
                    <a:pt x="110057" y="73129"/>
                  </a:lnTo>
                  <a:lnTo>
                    <a:pt x="110325" y="73129"/>
                  </a:lnTo>
                  <a:lnTo>
                    <a:pt x="132797" y="2904"/>
                  </a:lnTo>
                  <a:cubicBezTo>
                    <a:pt x="132965" y="2089"/>
                    <a:pt x="133704" y="1520"/>
                    <a:pt x="134536" y="1567"/>
                  </a:cubicBezTo>
                  <a:lnTo>
                    <a:pt x="143750" y="1567"/>
                  </a:lnTo>
                  <a:cubicBezTo>
                    <a:pt x="144741" y="1567"/>
                    <a:pt x="145053" y="2102"/>
                    <a:pt x="144687" y="3172"/>
                  </a:cubicBezTo>
                  <a:lnTo>
                    <a:pt x="115408" y="91187"/>
                  </a:lnTo>
                  <a:cubicBezTo>
                    <a:pt x="115276" y="91968"/>
                    <a:pt x="114594" y="92535"/>
                    <a:pt x="113803" y="92524"/>
                  </a:cubicBezTo>
                  <a:close/>
                  <a:moveTo>
                    <a:pt x="158613" y="2904"/>
                  </a:moveTo>
                  <a:cubicBezTo>
                    <a:pt x="158525" y="2253"/>
                    <a:pt x="158981" y="1655"/>
                    <a:pt x="159632" y="1567"/>
                  </a:cubicBezTo>
                  <a:cubicBezTo>
                    <a:pt x="159737" y="1552"/>
                    <a:pt x="159844" y="1552"/>
                    <a:pt x="159950" y="1567"/>
                  </a:cubicBezTo>
                  <a:lnTo>
                    <a:pt x="169165" y="1567"/>
                  </a:lnTo>
                  <a:cubicBezTo>
                    <a:pt x="169816" y="1479"/>
                    <a:pt x="170415" y="1935"/>
                    <a:pt x="170503" y="2586"/>
                  </a:cubicBezTo>
                  <a:cubicBezTo>
                    <a:pt x="170517" y="2691"/>
                    <a:pt x="170517" y="2798"/>
                    <a:pt x="170503" y="2904"/>
                  </a:cubicBezTo>
                  <a:lnTo>
                    <a:pt x="170503" y="91187"/>
                  </a:lnTo>
                  <a:cubicBezTo>
                    <a:pt x="170591" y="91837"/>
                    <a:pt x="170134" y="92436"/>
                    <a:pt x="169484" y="92524"/>
                  </a:cubicBezTo>
                  <a:cubicBezTo>
                    <a:pt x="169378" y="92539"/>
                    <a:pt x="169271" y="92539"/>
                    <a:pt x="169165" y="92524"/>
                  </a:cubicBezTo>
                  <a:lnTo>
                    <a:pt x="159950" y="92524"/>
                  </a:lnTo>
                  <a:cubicBezTo>
                    <a:pt x="159300" y="92612"/>
                    <a:pt x="158701" y="92156"/>
                    <a:pt x="158613" y="91505"/>
                  </a:cubicBezTo>
                  <a:cubicBezTo>
                    <a:pt x="158598" y="91400"/>
                    <a:pt x="158598" y="91293"/>
                    <a:pt x="158613" y="91187"/>
                  </a:cubicBezTo>
                  <a:close/>
                  <a:moveTo>
                    <a:pt x="216531" y="2904"/>
                  </a:moveTo>
                  <a:cubicBezTo>
                    <a:pt x="216663" y="2123"/>
                    <a:pt x="217345" y="1556"/>
                    <a:pt x="218137" y="1567"/>
                  </a:cubicBezTo>
                  <a:lnTo>
                    <a:pt x="226831" y="1567"/>
                  </a:lnTo>
                  <a:cubicBezTo>
                    <a:pt x="227662" y="1520"/>
                    <a:pt x="228402" y="2089"/>
                    <a:pt x="228570" y="2904"/>
                  </a:cubicBezTo>
                  <a:lnTo>
                    <a:pt x="259736" y="91187"/>
                  </a:lnTo>
                  <a:cubicBezTo>
                    <a:pt x="260004" y="92079"/>
                    <a:pt x="259692" y="92524"/>
                    <a:pt x="258800" y="92524"/>
                  </a:cubicBezTo>
                  <a:lnTo>
                    <a:pt x="249437" y="92524"/>
                  </a:lnTo>
                  <a:cubicBezTo>
                    <a:pt x="248606" y="92571"/>
                    <a:pt x="247866" y="92002"/>
                    <a:pt x="247698" y="91187"/>
                  </a:cubicBezTo>
                  <a:lnTo>
                    <a:pt x="240742" y="71390"/>
                  </a:lnTo>
                  <a:lnTo>
                    <a:pt x="203958" y="71390"/>
                  </a:lnTo>
                  <a:lnTo>
                    <a:pt x="197002" y="91187"/>
                  </a:lnTo>
                  <a:cubicBezTo>
                    <a:pt x="196788" y="91972"/>
                    <a:pt x="196077" y="92518"/>
                    <a:pt x="195263" y="92524"/>
                  </a:cubicBezTo>
                  <a:lnTo>
                    <a:pt x="185900" y="92524"/>
                  </a:lnTo>
                  <a:cubicBezTo>
                    <a:pt x="185008" y="92524"/>
                    <a:pt x="184696" y="92079"/>
                    <a:pt x="184964" y="91187"/>
                  </a:cubicBezTo>
                  <a:close/>
                  <a:moveTo>
                    <a:pt x="236863" y="60422"/>
                  </a:moveTo>
                  <a:lnTo>
                    <a:pt x="222551" y="19089"/>
                  </a:lnTo>
                  <a:lnTo>
                    <a:pt x="222283" y="19089"/>
                  </a:lnTo>
                  <a:lnTo>
                    <a:pt x="207837" y="60422"/>
                  </a:lnTo>
                  <a:close/>
                  <a:moveTo>
                    <a:pt x="284616" y="92524"/>
                  </a:moveTo>
                  <a:cubicBezTo>
                    <a:pt x="283965" y="92612"/>
                    <a:pt x="283366" y="92156"/>
                    <a:pt x="283278" y="91505"/>
                  </a:cubicBezTo>
                  <a:cubicBezTo>
                    <a:pt x="283264" y="91400"/>
                    <a:pt x="283264" y="91293"/>
                    <a:pt x="283278" y="91187"/>
                  </a:cubicBezTo>
                  <a:lnTo>
                    <a:pt x="283278" y="13457"/>
                  </a:lnTo>
                  <a:cubicBezTo>
                    <a:pt x="283333" y="13068"/>
                    <a:pt x="283063" y="12709"/>
                    <a:pt x="282674" y="12654"/>
                  </a:cubicBezTo>
                  <a:cubicBezTo>
                    <a:pt x="282608" y="12645"/>
                    <a:pt x="282542" y="12645"/>
                    <a:pt x="282476" y="12654"/>
                  </a:cubicBezTo>
                  <a:lnTo>
                    <a:pt x="257596" y="12654"/>
                  </a:lnTo>
                  <a:cubicBezTo>
                    <a:pt x="256946" y="12742"/>
                    <a:pt x="256347" y="12286"/>
                    <a:pt x="256259" y="11635"/>
                  </a:cubicBezTo>
                  <a:cubicBezTo>
                    <a:pt x="256244" y="11529"/>
                    <a:pt x="256244" y="11422"/>
                    <a:pt x="256259" y="11316"/>
                  </a:cubicBezTo>
                  <a:lnTo>
                    <a:pt x="256259" y="2904"/>
                  </a:lnTo>
                  <a:cubicBezTo>
                    <a:pt x="256171" y="2253"/>
                    <a:pt x="256627" y="1655"/>
                    <a:pt x="257278" y="1567"/>
                  </a:cubicBezTo>
                  <a:cubicBezTo>
                    <a:pt x="257383" y="1552"/>
                    <a:pt x="257490" y="1552"/>
                    <a:pt x="257596" y="1567"/>
                  </a:cubicBezTo>
                  <a:lnTo>
                    <a:pt x="320865" y="1567"/>
                  </a:lnTo>
                  <a:cubicBezTo>
                    <a:pt x="321516" y="1479"/>
                    <a:pt x="322114" y="1935"/>
                    <a:pt x="322203" y="2586"/>
                  </a:cubicBezTo>
                  <a:cubicBezTo>
                    <a:pt x="322218" y="2691"/>
                    <a:pt x="322218" y="2798"/>
                    <a:pt x="322203" y="2904"/>
                  </a:cubicBezTo>
                  <a:lnTo>
                    <a:pt x="322203" y="11331"/>
                  </a:lnTo>
                  <a:cubicBezTo>
                    <a:pt x="322292" y="11982"/>
                    <a:pt x="321834" y="12581"/>
                    <a:pt x="321183" y="12669"/>
                  </a:cubicBezTo>
                  <a:cubicBezTo>
                    <a:pt x="321079" y="12683"/>
                    <a:pt x="320972" y="12683"/>
                    <a:pt x="320865" y="12669"/>
                  </a:cubicBezTo>
                  <a:lnTo>
                    <a:pt x="295986" y="12669"/>
                  </a:lnTo>
                  <a:cubicBezTo>
                    <a:pt x="295596" y="12614"/>
                    <a:pt x="295237" y="12885"/>
                    <a:pt x="295183" y="13273"/>
                  </a:cubicBezTo>
                  <a:cubicBezTo>
                    <a:pt x="295174" y="13339"/>
                    <a:pt x="295174" y="13406"/>
                    <a:pt x="295183" y="13471"/>
                  </a:cubicBezTo>
                  <a:lnTo>
                    <a:pt x="295183" y="91187"/>
                  </a:lnTo>
                  <a:cubicBezTo>
                    <a:pt x="295272" y="91837"/>
                    <a:pt x="294815" y="92436"/>
                    <a:pt x="294164" y="92524"/>
                  </a:cubicBezTo>
                  <a:cubicBezTo>
                    <a:pt x="294058" y="92539"/>
                    <a:pt x="293951" y="92539"/>
                    <a:pt x="293846" y="92524"/>
                  </a:cubicBezTo>
                  <a:close/>
                  <a:moveTo>
                    <a:pt x="336382" y="2904"/>
                  </a:moveTo>
                  <a:cubicBezTo>
                    <a:pt x="336293" y="2253"/>
                    <a:pt x="336750" y="1655"/>
                    <a:pt x="337401" y="1567"/>
                  </a:cubicBezTo>
                  <a:cubicBezTo>
                    <a:pt x="337505" y="1552"/>
                    <a:pt x="337612" y="1552"/>
                    <a:pt x="337719" y="1567"/>
                  </a:cubicBezTo>
                  <a:lnTo>
                    <a:pt x="346934" y="1567"/>
                  </a:lnTo>
                  <a:cubicBezTo>
                    <a:pt x="347585" y="1479"/>
                    <a:pt x="348182" y="1935"/>
                    <a:pt x="348272" y="2586"/>
                  </a:cubicBezTo>
                  <a:cubicBezTo>
                    <a:pt x="348286" y="2691"/>
                    <a:pt x="348286" y="2798"/>
                    <a:pt x="348272" y="2904"/>
                  </a:cubicBezTo>
                  <a:lnTo>
                    <a:pt x="348272" y="91187"/>
                  </a:lnTo>
                  <a:cubicBezTo>
                    <a:pt x="348361" y="91837"/>
                    <a:pt x="347903" y="92436"/>
                    <a:pt x="347252" y="92524"/>
                  </a:cubicBezTo>
                  <a:cubicBezTo>
                    <a:pt x="347148" y="92539"/>
                    <a:pt x="347041" y="92539"/>
                    <a:pt x="346934" y="92524"/>
                  </a:cubicBezTo>
                  <a:lnTo>
                    <a:pt x="337719" y="92524"/>
                  </a:lnTo>
                  <a:cubicBezTo>
                    <a:pt x="337068" y="92612"/>
                    <a:pt x="336471" y="92156"/>
                    <a:pt x="336382" y="91505"/>
                  </a:cubicBezTo>
                  <a:cubicBezTo>
                    <a:pt x="336367" y="91400"/>
                    <a:pt x="336367" y="91293"/>
                    <a:pt x="336382" y="91187"/>
                  </a:cubicBezTo>
                  <a:close/>
                  <a:moveTo>
                    <a:pt x="400855" y="93996"/>
                  </a:moveTo>
                  <a:cubicBezTo>
                    <a:pt x="393976" y="94218"/>
                    <a:pt x="387190" y="92353"/>
                    <a:pt x="381391" y="88645"/>
                  </a:cubicBezTo>
                  <a:cubicBezTo>
                    <a:pt x="375877" y="84796"/>
                    <a:pt x="371843" y="79181"/>
                    <a:pt x="369956" y="72728"/>
                  </a:cubicBezTo>
                  <a:cubicBezTo>
                    <a:pt x="369504" y="71362"/>
                    <a:pt x="369124" y="69973"/>
                    <a:pt x="368820" y="68566"/>
                  </a:cubicBezTo>
                  <a:cubicBezTo>
                    <a:pt x="368473" y="66911"/>
                    <a:pt x="368229" y="65236"/>
                    <a:pt x="368083" y="63552"/>
                  </a:cubicBezTo>
                  <a:cubicBezTo>
                    <a:pt x="367905" y="61635"/>
                    <a:pt x="367771" y="59339"/>
                    <a:pt x="367682" y="56661"/>
                  </a:cubicBezTo>
                  <a:cubicBezTo>
                    <a:pt x="367593" y="53984"/>
                    <a:pt x="367542" y="50779"/>
                    <a:pt x="367533" y="47046"/>
                  </a:cubicBezTo>
                  <a:cubicBezTo>
                    <a:pt x="367533" y="43300"/>
                    <a:pt x="367578" y="40090"/>
                    <a:pt x="367667" y="37415"/>
                  </a:cubicBezTo>
                  <a:cubicBezTo>
                    <a:pt x="367756" y="34739"/>
                    <a:pt x="367890" y="32444"/>
                    <a:pt x="368068" y="30527"/>
                  </a:cubicBezTo>
                  <a:cubicBezTo>
                    <a:pt x="368214" y="28843"/>
                    <a:pt x="368458" y="27168"/>
                    <a:pt x="368805" y="25513"/>
                  </a:cubicBezTo>
                  <a:cubicBezTo>
                    <a:pt x="369109" y="24107"/>
                    <a:pt x="369489" y="22717"/>
                    <a:pt x="369941" y="21351"/>
                  </a:cubicBezTo>
                  <a:cubicBezTo>
                    <a:pt x="371831" y="14895"/>
                    <a:pt x="375871" y="9279"/>
                    <a:pt x="381391" y="5431"/>
                  </a:cubicBezTo>
                  <a:cubicBezTo>
                    <a:pt x="393432" y="-1703"/>
                    <a:pt x="408408" y="-1703"/>
                    <a:pt x="420449" y="5431"/>
                  </a:cubicBezTo>
                  <a:cubicBezTo>
                    <a:pt x="425963" y="9280"/>
                    <a:pt x="429997" y="14895"/>
                    <a:pt x="431887" y="21348"/>
                  </a:cubicBezTo>
                  <a:cubicBezTo>
                    <a:pt x="432339" y="22714"/>
                    <a:pt x="432720" y="24104"/>
                    <a:pt x="433023" y="25510"/>
                  </a:cubicBezTo>
                  <a:cubicBezTo>
                    <a:pt x="433371" y="27166"/>
                    <a:pt x="433614" y="28841"/>
                    <a:pt x="433760" y="30527"/>
                  </a:cubicBezTo>
                  <a:cubicBezTo>
                    <a:pt x="433938" y="32446"/>
                    <a:pt x="434072" y="34742"/>
                    <a:pt x="434161" y="37415"/>
                  </a:cubicBezTo>
                  <a:cubicBezTo>
                    <a:pt x="434251" y="40088"/>
                    <a:pt x="434295" y="43298"/>
                    <a:pt x="434295" y="47046"/>
                  </a:cubicBezTo>
                  <a:cubicBezTo>
                    <a:pt x="434295" y="50791"/>
                    <a:pt x="434251" y="54001"/>
                    <a:pt x="434161" y="56676"/>
                  </a:cubicBezTo>
                  <a:cubicBezTo>
                    <a:pt x="434072" y="59352"/>
                    <a:pt x="433938" y="61648"/>
                    <a:pt x="433760" y="63567"/>
                  </a:cubicBezTo>
                  <a:cubicBezTo>
                    <a:pt x="433614" y="65253"/>
                    <a:pt x="433371" y="66928"/>
                    <a:pt x="433023" y="68584"/>
                  </a:cubicBezTo>
                  <a:cubicBezTo>
                    <a:pt x="432720" y="69990"/>
                    <a:pt x="432339" y="71380"/>
                    <a:pt x="431887" y="72746"/>
                  </a:cubicBezTo>
                  <a:cubicBezTo>
                    <a:pt x="429997" y="79199"/>
                    <a:pt x="425963" y="84814"/>
                    <a:pt x="420449" y="88663"/>
                  </a:cubicBezTo>
                  <a:cubicBezTo>
                    <a:pt x="414605" y="92376"/>
                    <a:pt x="407775" y="94235"/>
                    <a:pt x="400855" y="93996"/>
                  </a:cubicBezTo>
                  <a:close/>
                  <a:moveTo>
                    <a:pt x="400855" y="82894"/>
                  </a:moveTo>
                  <a:cubicBezTo>
                    <a:pt x="405266" y="83088"/>
                    <a:pt x="409624" y="81870"/>
                    <a:pt x="413295" y="79416"/>
                  </a:cubicBezTo>
                  <a:cubicBezTo>
                    <a:pt x="416636" y="76911"/>
                    <a:pt x="419076" y="73391"/>
                    <a:pt x="420250" y="69384"/>
                  </a:cubicBezTo>
                  <a:cubicBezTo>
                    <a:pt x="420562" y="68398"/>
                    <a:pt x="420809" y="67392"/>
                    <a:pt x="420987" y="66373"/>
                  </a:cubicBezTo>
                  <a:cubicBezTo>
                    <a:pt x="421210" y="65168"/>
                    <a:pt x="421433" y="63674"/>
                    <a:pt x="421656" y="61893"/>
                  </a:cubicBezTo>
                  <a:cubicBezTo>
                    <a:pt x="421879" y="60112"/>
                    <a:pt x="422037" y="58016"/>
                    <a:pt x="422126" y="55606"/>
                  </a:cubicBezTo>
                  <a:cubicBezTo>
                    <a:pt x="422215" y="53199"/>
                    <a:pt x="422260" y="50345"/>
                    <a:pt x="422260" y="47046"/>
                  </a:cubicBezTo>
                  <a:cubicBezTo>
                    <a:pt x="422260" y="43746"/>
                    <a:pt x="422215" y="40892"/>
                    <a:pt x="422126" y="38485"/>
                  </a:cubicBezTo>
                  <a:cubicBezTo>
                    <a:pt x="422037" y="36077"/>
                    <a:pt x="421879" y="33981"/>
                    <a:pt x="421656" y="32198"/>
                  </a:cubicBezTo>
                  <a:cubicBezTo>
                    <a:pt x="421433" y="30415"/>
                    <a:pt x="421210" y="28921"/>
                    <a:pt x="420987" y="27718"/>
                  </a:cubicBezTo>
                  <a:cubicBezTo>
                    <a:pt x="420809" y="26699"/>
                    <a:pt x="420562" y="25693"/>
                    <a:pt x="420250" y="24707"/>
                  </a:cubicBezTo>
                  <a:cubicBezTo>
                    <a:pt x="419076" y="20699"/>
                    <a:pt x="416636" y="17180"/>
                    <a:pt x="413295" y="14675"/>
                  </a:cubicBezTo>
                  <a:cubicBezTo>
                    <a:pt x="409624" y="12221"/>
                    <a:pt x="405266" y="11003"/>
                    <a:pt x="400855" y="11197"/>
                  </a:cubicBezTo>
                  <a:cubicBezTo>
                    <a:pt x="396464" y="10996"/>
                    <a:pt x="392125" y="12215"/>
                    <a:pt x="388480" y="14675"/>
                  </a:cubicBezTo>
                  <a:cubicBezTo>
                    <a:pt x="385172" y="17198"/>
                    <a:pt x="382758" y="20714"/>
                    <a:pt x="381593" y="24707"/>
                  </a:cubicBezTo>
                  <a:cubicBezTo>
                    <a:pt x="381281" y="25693"/>
                    <a:pt x="381034" y="26699"/>
                    <a:pt x="380859" y="27718"/>
                  </a:cubicBezTo>
                  <a:cubicBezTo>
                    <a:pt x="380636" y="28921"/>
                    <a:pt x="380413" y="30415"/>
                    <a:pt x="380190" y="32198"/>
                  </a:cubicBezTo>
                  <a:cubicBezTo>
                    <a:pt x="379967" y="33981"/>
                    <a:pt x="379810" y="36077"/>
                    <a:pt x="379720" y="38485"/>
                  </a:cubicBezTo>
                  <a:cubicBezTo>
                    <a:pt x="379631" y="40892"/>
                    <a:pt x="379587" y="43746"/>
                    <a:pt x="379587" y="47046"/>
                  </a:cubicBezTo>
                  <a:cubicBezTo>
                    <a:pt x="379587" y="50345"/>
                    <a:pt x="379631" y="53199"/>
                    <a:pt x="379720" y="55606"/>
                  </a:cubicBezTo>
                  <a:cubicBezTo>
                    <a:pt x="379810" y="58014"/>
                    <a:pt x="379967" y="60110"/>
                    <a:pt x="380190" y="61893"/>
                  </a:cubicBezTo>
                  <a:cubicBezTo>
                    <a:pt x="380413" y="63677"/>
                    <a:pt x="380636" y="65170"/>
                    <a:pt x="380859" y="66373"/>
                  </a:cubicBezTo>
                  <a:cubicBezTo>
                    <a:pt x="381034" y="67392"/>
                    <a:pt x="381281" y="68398"/>
                    <a:pt x="381593" y="69384"/>
                  </a:cubicBezTo>
                  <a:cubicBezTo>
                    <a:pt x="382758" y="73377"/>
                    <a:pt x="385172" y="76893"/>
                    <a:pt x="388480" y="79416"/>
                  </a:cubicBezTo>
                  <a:cubicBezTo>
                    <a:pt x="392125" y="81876"/>
                    <a:pt x="396464" y="83095"/>
                    <a:pt x="400855" y="82894"/>
                  </a:cubicBezTo>
                  <a:close/>
                  <a:moveTo>
                    <a:pt x="453557" y="2904"/>
                  </a:moveTo>
                  <a:cubicBezTo>
                    <a:pt x="453468" y="2253"/>
                    <a:pt x="453925" y="1655"/>
                    <a:pt x="454576" y="1567"/>
                  </a:cubicBezTo>
                  <a:cubicBezTo>
                    <a:pt x="454680" y="1552"/>
                    <a:pt x="454787" y="1552"/>
                    <a:pt x="454894" y="1567"/>
                  </a:cubicBezTo>
                  <a:lnTo>
                    <a:pt x="463455" y="1567"/>
                  </a:lnTo>
                  <a:cubicBezTo>
                    <a:pt x="464415" y="1502"/>
                    <a:pt x="465319" y="2033"/>
                    <a:pt x="465729" y="2904"/>
                  </a:cubicBezTo>
                  <a:lnTo>
                    <a:pt x="506928" y="71123"/>
                  </a:lnTo>
                  <a:lnTo>
                    <a:pt x="507463" y="71123"/>
                  </a:lnTo>
                  <a:lnTo>
                    <a:pt x="507463" y="2904"/>
                  </a:lnTo>
                  <a:cubicBezTo>
                    <a:pt x="507373" y="2253"/>
                    <a:pt x="507831" y="1655"/>
                    <a:pt x="508482" y="1567"/>
                  </a:cubicBezTo>
                  <a:cubicBezTo>
                    <a:pt x="508586" y="1552"/>
                    <a:pt x="508693" y="1552"/>
                    <a:pt x="508800" y="1567"/>
                  </a:cubicBezTo>
                  <a:lnTo>
                    <a:pt x="517227" y="1567"/>
                  </a:lnTo>
                  <a:cubicBezTo>
                    <a:pt x="517878" y="1479"/>
                    <a:pt x="518476" y="1935"/>
                    <a:pt x="518565" y="2586"/>
                  </a:cubicBezTo>
                  <a:cubicBezTo>
                    <a:pt x="518580" y="2691"/>
                    <a:pt x="518580" y="2798"/>
                    <a:pt x="518565" y="2904"/>
                  </a:cubicBezTo>
                  <a:lnTo>
                    <a:pt x="518565" y="91187"/>
                  </a:lnTo>
                  <a:cubicBezTo>
                    <a:pt x="518654" y="91837"/>
                    <a:pt x="518196" y="92436"/>
                    <a:pt x="517545" y="92524"/>
                  </a:cubicBezTo>
                  <a:cubicBezTo>
                    <a:pt x="517441" y="92539"/>
                    <a:pt x="517334" y="92539"/>
                    <a:pt x="517227" y="92524"/>
                  </a:cubicBezTo>
                  <a:lnTo>
                    <a:pt x="508667" y="92524"/>
                  </a:lnTo>
                  <a:cubicBezTo>
                    <a:pt x="507706" y="92589"/>
                    <a:pt x="506803" y="92058"/>
                    <a:pt x="506393" y="91187"/>
                  </a:cubicBezTo>
                  <a:lnTo>
                    <a:pt x="465060" y="23236"/>
                  </a:lnTo>
                  <a:lnTo>
                    <a:pt x="464659" y="23236"/>
                  </a:lnTo>
                  <a:lnTo>
                    <a:pt x="464659" y="91187"/>
                  </a:lnTo>
                  <a:cubicBezTo>
                    <a:pt x="464748" y="91837"/>
                    <a:pt x="464290" y="92436"/>
                    <a:pt x="463639" y="92524"/>
                  </a:cubicBezTo>
                  <a:cubicBezTo>
                    <a:pt x="463535" y="92539"/>
                    <a:pt x="463428" y="92539"/>
                    <a:pt x="463321" y="92524"/>
                  </a:cubicBezTo>
                  <a:lnTo>
                    <a:pt x="454894" y="92524"/>
                  </a:lnTo>
                  <a:cubicBezTo>
                    <a:pt x="454243" y="92612"/>
                    <a:pt x="453646" y="92156"/>
                    <a:pt x="453557" y="91505"/>
                  </a:cubicBezTo>
                  <a:cubicBezTo>
                    <a:pt x="453542" y="91400"/>
                    <a:pt x="453542" y="91293"/>
                    <a:pt x="453557" y="91187"/>
                  </a:cubicBezTo>
                  <a:close/>
                  <a:moveTo>
                    <a:pt x="539164" y="79683"/>
                  </a:moveTo>
                  <a:cubicBezTo>
                    <a:pt x="539075" y="79033"/>
                    <a:pt x="539533" y="78434"/>
                    <a:pt x="540184" y="78346"/>
                  </a:cubicBezTo>
                  <a:cubicBezTo>
                    <a:pt x="540288" y="78331"/>
                    <a:pt x="540395" y="78331"/>
                    <a:pt x="540502" y="78346"/>
                  </a:cubicBezTo>
                  <a:lnTo>
                    <a:pt x="550668" y="78346"/>
                  </a:lnTo>
                  <a:cubicBezTo>
                    <a:pt x="551319" y="78258"/>
                    <a:pt x="551916" y="78714"/>
                    <a:pt x="552005" y="79365"/>
                  </a:cubicBezTo>
                  <a:cubicBezTo>
                    <a:pt x="552020" y="79470"/>
                    <a:pt x="552020" y="79577"/>
                    <a:pt x="552005" y="79683"/>
                  </a:cubicBezTo>
                  <a:lnTo>
                    <a:pt x="552005" y="91187"/>
                  </a:lnTo>
                  <a:cubicBezTo>
                    <a:pt x="552094" y="91837"/>
                    <a:pt x="551637" y="92436"/>
                    <a:pt x="550986" y="92524"/>
                  </a:cubicBezTo>
                  <a:cubicBezTo>
                    <a:pt x="550882" y="92539"/>
                    <a:pt x="550775" y="92539"/>
                    <a:pt x="550668" y="92524"/>
                  </a:cubicBezTo>
                  <a:lnTo>
                    <a:pt x="540502" y="92524"/>
                  </a:lnTo>
                  <a:cubicBezTo>
                    <a:pt x="539851" y="92612"/>
                    <a:pt x="539253" y="92156"/>
                    <a:pt x="539164" y="91505"/>
                  </a:cubicBezTo>
                  <a:cubicBezTo>
                    <a:pt x="539149" y="91400"/>
                    <a:pt x="539149" y="91293"/>
                    <a:pt x="539164" y="91187"/>
                  </a:cubicBezTo>
                  <a:close/>
                  <a:moveTo>
                    <a:pt x="601883" y="2904"/>
                  </a:moveTo>
                  <a:cubicBezTo>
                    <a:pt x="601794" y="2253"/>
                    <a:pt x="602252" y="1655"/>
                    <a:pt x="602903" y="1567"/>
                  </a:cubicBezTo>
                  <a:cubicBezTo>
                    <a:pt x="603007" y="1552"/>
                    <a:pt x="603114" y="1552"/>
                    <a:pt x="603221" y="1567"/>
                  </a:cubicBezTo>
                  <a:lnTo>
                    <a:pt x="612465" y="1567"/>
                  </a:lnTo>
                  <a:cubicBezTo>
                    <a:pt x="613116" y="1479"/>
                    <a:pt x="613714" y="1935"/>
                    <a:pt x="613803" y="2586"/>
                  </a:cubicBezTo>
                  <a:cubicBezTo>
                    <a:pt x="613818" y="2691"/>
                    <a:pt x="613818" y="2798"/>
                    <a:pt x="613803" y="2904"/>
                  </a:cubicBezTo>
                  <a:lnTo>
                    <a:pt x="613803" y="80620"/>
                  </a:lnTo>
                  <a:cubicBezTo>
                    <a:pt x="613750" y="81008"/>
                    <a:pt x="614020" y="81368"/>
                    <a:pt x="614406" y="81422"/>
                  </a:cubicBezTo>
                  <a:cubicBezTo>
                    <a:pt x="614472" y="81431"/>
                    <a:pt x="614540" y="81431"/>
                    <a:pt x="614606" y="81422"/>
                  </a:cubicBezTo>
                  <a:lnTo>
                    <a:pt x="657944" y="81422"/>
                  </a:lnTo>
                  <a:cubicBezTo>
                    <a:pt x="658595" y="81334"/>
                    <a:pt x="659193" y="81791"/>
                    <a:pt x="659282" y="82441"/>
                  </a:cubicBezTo>
                  <a:cubicBezTo>
                    <a:pt x="659297" y="82547"/>
                    <a:pt x="659297" y="82654"/>
                    <a:pt x="659282" y="82760"/>
                  </a:cubicBezTo>
                  <a:lnTo>
                    <a:pt x="659282" y="91187"/>
                  </a:lnTo>
                  <a:cubicBezTo>
                    <a:pt x="659371" y="91837"/>
                    <a:pt x="658913" y="92436"/>
                    <a:pt x="658262" y="92524"/>
                  </a:cubicBezTo>
                  <a:cubicBezTo>
                    <a:pt x="658158" y="92539"/>
                    <a:pt x="658051" y="92539"/>
                    <a:pt x="657944" y="92524"/>
                  </a:cubicBezTo>
                  <a:lnTo>
                    <a:pt x="603251" y="92524"/>
                  </a:lnTo>
                  <a:cubicBezTo>
                    <a:pt x="602600" y="92612"/>
                    <a:pt x="602002" y="92156"/>
                    <a:pt x="601913" y="91505"/>
                  </a:cubicBezTo>
                  <a:cubicBezTo>
                    <a:pt x="601898" y="91400"/>
                    <a:pt x="601898" y="91293"/>
                    <a:pt x="601913" y="91187"/>
                  </a:cubicBezTo>
                  <a:close/>
                  <a:moveTo>
                    <a:pt x="703958" y="93996"/>
                  </a:moveTo>
                  <a:cubicBezTo>
                    <a:pt x="697080" y="94218"/>
                    <a:pt x="690294" y="92353"/>
                    <a:pt x="684495" y="88645"/>
                  </a:cubicBezTo>
                  <a:cubicBezTo>
                    <a:pt x="678981" y="84796"/>
                    <a:pt x="674947" y="79181"/>
                    <a:pt x="673056" y="72728"/>
                  </a:cubicBezTo>
                  <a:cubicBezTo>
                    <a:pt x="672605" y="71362"/>
                    <a:pt x="672224" y="69973"/>
                    <a:pt x="671921" y="68566"/>
                  </a:cubicBezTo>
                  <a:cubicBezTo>
                    <a:pt x="671576" y="66911"/>
                    <a:pt x="671329" y="65236"/>
                    <a:pt x="671187" y="63552"/>
                  </a:cubicBezTo>
                  <a:cubicBezTo>
                    <a:pt x="671008" y="61635"/>
                    <a:pt x="670875" y="59339"/>
                    <a:pt x="670785" y="56661"/>
                  </a:cubicBezTo>
                  <a:cubicBezTo>
                    <a:pt x="670696" y="53984"/>
                    <a:pt x="670652" y="50774"/>
                    <a:pt x="670652" y="47031"/>
                  </a:cubicBezTo>
                  <a:cubicBezTo>
                    <a:pt x="670652" y="43285"/>
                    <a:pt x="670696" y="40075"/>
                    <a:pt x="670785" y="37400"/>
                  </a:cubicBezTo>
                  <a:cubicBezTo>
                    <a:pt x="670875" y="34725"/>
                    <a:pt x="671008" y="32429"/>
                    <a:pt x="671187" y="30513"/>
                  </a:cubicBezTo>
                  <a:cubicBezTo>
                    <a:pt x="671329" y="28832"/>
                    <a:pt x="671573" y="27161"/>
                    <a:pt x="671915" y="25510"/>
                  </a:cubicBezTo>
                  <a:cubicBezTo>
                    <a:pt x="672218" y="24104"/>
                    <a:pt x="672599" y="22714"/>
                    <a:pt x="673051" y="21348"/>
                  </a:cubicBezTo>
                  <a:cubicBezTo>
                    <a:pt x="674941" y="14894"/>
                    <a:pt x="678978" y="9279"/>
                    <a:pt x="684495" y="5431"/>
                  </a:cubicBezTo>
                  <a:cubicBezTo>
                    <a:pt x="696536" y="-1703"/>
                    <a:pt x="711511" y="-1703"/>
                    <a:pt x="723553" y="5431"/>
                  </a:cubicBezTo>
                  <a:cubicBezTo>
                    <a:pt x="729067" y="9280"/>
                    <a:pt x="733100" y="14895"/>
                    <a:pt x="734991" y="21348"/>
                  </a:cubicBezTo>
                  <a:cubicBezTo>
                    <a:pt x="735443" y="22714"/>
                    <a:pt x="735823" y="24104"/>
                    <a:pt x="736126" y="25510"/>
                  </a:cubicBezTo>
                  <a:cubicBezTo>
                    <a:pt x="736474" y="27166"/>
                    <a:pt x="736718" y="28841"/>
                    <a:pt x="736864" y="30527"/>
                  </a:cubicBezTo>
                  <a:cubicBezTo>
                    <a:pt x="737042" y="32446"/>
                    <a:pt x="737176" y="34742"/>
                    <a:pt x="737265" y="37415"/>
                  </a:cubicBezTo>
                  <a:cubicBezTo>
                    <a:pt x="737354" y="40088"/>
                    <a:pt x="737399" y="43298"/>
                    <a:pt x="737399" y="47046"/>
                  </a:cubicBezTo>
                  <a:cubicBezTo>
                    <a:pt x="737399" y="50791"/>
                    <a:pt x="737354" y="54001"/>
                    <a:pt x="737265" y="56676"/>
                  </a:cubicBezTo>
                  <a:cubicBezTo>
                    <a:pt x="737176" y="59352"/>
                    <a:pt x="737042" y="61648"/>
                    <a:pt x="736864" y="63567"/>
                  </a:cubicBezTo>
                  <a:cubicBezTo>
                    <a:pt x="736718" y="65253"/>
                    <a:pt x="736474" y="66928"/>
                    <a:pt x="736126" y="68584"/>
                  </a:cubicBezTo>
                  <a:cubicBezTo>
                    <a:pt x="735823" y="69990"/>
                    <a:pt x="735443" y="71380"/>
                    <a:pt x="734991" y="72746"/>
                  </a:cubicBezTo>
                  <a:cubicBezTo>
                    <a:pt x="733100" y="79199"/>
                    <a:pt x="729067" y="84814"/>
                    <a:pt x="723553" y="88663"/>
                  </a:cubicBezTo>
                  <a:cubicBezTo>
                    <a:pt x="717709" y="92376"/>
                    <a:pt x="710878" y="94235"/>
                    <a:pt x="703958" y="93996"/>
                  </a:cubicBezTo>
                  <a:close/>
                  <a:moveTo>
                    <a:pt x="703958" y="82894"/>
                  </a:moveTo>
                  <a:cubicBezTo>
                    <a:pt x="708369" y="83088"/>
                    <a:pt x="712727" y="81870"/>
                    <a:pt x="716398" y="79416"/>
                  </a:cubicBezTo>
                  <a:cubicBezTo>
                    <a:pt x="719739" y="76911"/>
                    <a:pt x="722180" y="73391"/>
                    <a:pt x="723354" y="69384"/>
                  </a:cubicBezTo>
                  <a:cubicBezTo>
                    <a:pt x="723666" y="68398"/>
                    <a:pt x="723913" y="67392"/>
                    <a:pt x="724091" y="66373"/>
                  </a:cubicBezTo>
                  <a:cubicBezTo>
                    <a:pt x="724314" y="65168"/>
                    <a:pt x="724537" y="63674"/>
                    <a:pt x="724760" y="61893"/>
                  </a:cubicBezTo>
                  <a:cubicBezTo>
                    <a:pt x="724983" y="60112"/>
                    <a:pt x="725140" y="58016"/>
                    <a:pt x="725229" y="55606"/>
                  </a:cubicBezTo>
                  <a:cubicBezTo>
                    <a:pt x="725319" y="53199"/>
                    <a:pt x="725363" y="50345"/>
                    <a:pt x="725363" y="47046"/>
                  </a:cubicBezTo>
                  <a:cubicBezTo>
                    <a:pt x="725363" y="43746"/>
                    <a:pt x="725319" y="40892"/>
                    <a:pt x="725229" y="38485"/>
                  </a:cubicBezTo>
                  <a:cubicBezTo>
                    <a:pt x="725140" y="36077"/>
                    <a:pt x="724983" y="33981"/>
                    <a:pt x="724760" y="32198"/>
                  </a:cubicBezTo>
                  <a:cubicBezTo>
                    <a:pt x="724537" y="30415"/>
                    <a:pt x="724314" y="28921"/>
                    <a:pt x="724091" y="27718"/>
                  </a:cubicBezTo>
                  <a:cubicBezTo>
                    <a:pt x="723913" y="26699"/>
                    <a:pt x="723666" y="25693"/>
                    <a:pt x="723354" y="24707"/>
                  </a:cubicBezTo>
                  <a:cubicBezTo>
                    <a:pt x="722180" y="20699"/>
                    <a:pt x="719739" y="17180"/>
                    <a:pt x="716398" y="14675"/>
                  </a:cubicBezTo>
                  <a:cubicBezTo>
                    <a:pt x="712727" y="12221"/>
                    <a:pt x="708369" y="11003"/>
                    <a:pt x="703958" y="11197"/>
                  </a:cubicBezTo>
                  <a:cubicBezTo>
                    <a:pt x="699568" y="10996"/>
                    <a:pt x="695228" y="12215"/>
                    <a:pt x="691584" y="14675"/>
                  </a:cubicBezTo>
                  <a:cubicBezTo>
                    <a:pt x="688276" y="17198"/>
                    <a:pt x="685862" y="20714"/>
                    <a:pt x="684697" y="24707"/>
                  </a:cubicBezTo>
                  <a:cubicBezTo>
                    <a:pt x="684385" y="25693"/>
                    <a:pt x="684138" y="26699"/>
                    <a:pt x="683962" y="27718"/>
                  </a:cubicBezTo>
                  <a:cubicBezTo>
                    <a:pt x="683740" y="28921"/>
                    <a:pt x="683517" y="30415"/>
                    <a:pt x="683294" y="32198"/>
                  </a:cubicBezTo>
                  <a:cubicBezTo>
                    <a:pt x="683071" y="33981"/>
                    <a:pt x="682913" y="36077"/>
                    <a:pt x="682824" y="38485"/>
                  </a:cubicBezTo>
                  <a:cubicBezTo>
                    <a:pt x="682735" y="40892"/>
                    <a:pt x="682690" y="43746"/>
                    <a:pt x="682690" y="47046"/>
                  </a:cubicBezTo>
                  <a:cubicBezTo>
                    <a:pt x="682690" y="50345"/>
                    <a:pt x="682735" y="53199"/>
                    <a:pt x="682824" y="55606"/>
                  </a:cubicBezTo>
                  <a:cubicBezTo>
                    <a:pt x="682913" y="58014"/>
                    <a:pt x="683071" y="60110"/>
                    <a:pt x="683294" y="61893"/>
                  </a:cubicBezTo>
                  <a:cubicBezTo>
                    <a:pt x="683517" y="63677"/>
                    <a:pt x="683740" y="65170"/>
                    <a:pt x="683962" y="66373"/>
                  </a:cubicBezTo>
                  <a:cubicBezTo>
                    <a:pt x="684138" y="67392"/>
                    <a:pt x="684385" y="68398"/>
                    <a:pt x="684697" y="69384"/>
                  </a:cubicBezTo>
                  <a:cubicBezTo>
                    <a:pt x="685862" y="73377"/>
                    <a:pt x="688276" y="76893"/>
                    <a:pt x="691584" y="79416"/>
                  </a:cubicBezTo>
                  <a:cubicBezTo>
                    <a:pt x="695228" y="81876"/>
                    <a:pt x="699568" y="83095"/>
                    <a:pt x="703958" y="82894"/>
                  </a:cubicBezTo>
                  <a:close/>
                  <a:moveTo>
                    <a:pt x="755858" y="72728"/>
                  </a:moveTo>
                  <a:cubicBezTo>
                    <a:pt x="755406" y="71367"/>
                    <a:pt x="755049" y="69976"/>
                    <a:pt x="754788" y="68566"/>
                  </a:cubicBezTo>
                  <a:cubicBezTo>
                    <a:pt x="754520" y="67139"/>
                    <a:pt x="754276" y="65468"/>
                    <a:pt x="754053" y="63552"/>
                  </a:cubicBezTo>
                  <a:cubicBezTo>
                    <a:pt x="753831" y="61635"/>
                    <a:pt x="753676" y="59339"/>
                    <a:pt x="753584" y="56661"/>
                  </a:cubicBezTo>
                  <a:cubicBezTo>
                    <a:pt x="753495" y="53986"/>
                    <a:pt x="753450" y="50776"/>
                    <a:pt x="753450" y="47031"/>
                  </a:cubicBezTo>
                  <a:cubicBezTo>
                    <a:pt x="753450" y="43285"/>
                    <a:pt x="753495" y="40075"/>
                    <a:pt x="753584" y="37400"/>
                  </a:cubicBezTo>
                  <a:cubicBezTo>
                    <a:pt x="753673" y="34725"/>
                    <a:pt x="753831" y="32429"/>
                    <a:pt x="754053" y="30513"/>
                  </a:cubicBezTo>
                  <a:cubicBezTo>
                    <a:pt x="754276" y="28596"/>
                    <a:pt x="754523" y="26925"/>
                    <a:pt x="754788" y="25498"/>
                  </a:cubicBezTo>
                  <a:cubicBezTo>
                    <a:pt x="755049" y="24088"/>
                    <a:pt x="755406" y="22698"/>
                    <a:pt x="755858" y="21337"/>
                  </a:cubicBezTo>
                  <a:cubicBezTo>
                    <a:pt x="757757" y="14874"/>
                    <a:pt x="761818" y="9259"/>
                    <a:pt x="767361" y="5431"/>
                  </a:cubicBezTo>
                  <a:cubicBezTo>
                    <a:pt x="773232" y="1717"/>
                    <a:pt x="780081" y="-147"/>
                    <a:pt x="787024" y="80"/>
                  </a:cubicBezTo>
                  <a:cubicBezTo>
                    <a:pt x="790683" y="33"/>
                    <a:pt x="794331" y="505"/>
                    <a:pt x="797859" y="1483"/>
                  </a:cubicBezTo>
                  <a:cubicBezTo>
                    <a:pt x="800891" y="2339"/>
                    <a:pt x="803777" y="3646"/>
                    <a:pt x="806420" y="5362"/>
                  </a:cubicBezTo>
                  <a:cubicBezTo>
                    <a:pt x="808839" y="6943"/>
                    <a:pt x="811003" y="8882"/>
                    <a:pt x="812840" y="11114"/>
                  </a:cubicBezTo>
                  <a:cubicBezTo>
                    <a:pt x="814600" y="13260"/>
                    <a:pt x="816083" y="15619"/>
                    <a:pt x="817254" y="18135"/>
                  </a:cubicBezTo>
                  <a:cubicBezTo>
                    <a:pt x="817682" y="18669"/>
                    <a:pt x="817593" y="19447"/>
                    <a:pt x="817061" y="19873"/>
                  </a:cubicBezTo>
                  <a:cubicBezTo>
                    <a:pt x="816996" y="19925"/>
                    <a:pt x="816927" y="19970"/>
                    <a:pt x="816853" y="20008"/>
                  </a:cubicBezTo>
                  <a:lnTo>
                    <a:pt x="808827" y="23872"/>
                  </a:lnTo>
                  <a:cubicBezTo>
                    <a:pt x="808034" y="24318"/>
                    <a:pt x="807409" y="24095"/>
                    <a:pt x="806955" y="23203"/>
                  </a:cubicBezTo>
                  <a:cubicBezTo>
                    <a:pt x="805109" y="19530"/>
                    <a:pt x="802344" y="16396"/>
                    <a:pt x="798929" y="14107"/>
                  </a:cubicBezTo>
                  <a:cubicBezTo>
                    <a:pt x="795323" y="12022"/>
                    <a:pt x="791201" y="11001"/>
                    <a:pt x="787039" y="11165"/>
                  </a:cubicBezTo>
                  <a:cubicBezTo>
                    <a:pt x="782566" y="10966"/>
                    <a:pt x="778139" y="12183"/>
                    <a:pt x="774397" y="14643"/>
                  </a:cubicBezTo>
                  <a:cubicBezTo>
                    <a:pt x="771020" y="17129"/>
                    <a:pt x="768553" y="20653"/>
                    <a:pt x="767373" y="24675"/>
                  </a:cubicBezTo>
                  <a:cubicBezTo>
                    <a:pt x="767106" y="25477"/>
                    <a:pt x="766838" y="26458"/>
                    <a:pt x="766571" y="27617"/>
                  </a:cubicBezTo>
                  <a:cubicBezTo>
                    <a:pt x="766270" y="29028"/>
                    <a:pt x="766071" y="30458"/>
                    <a:pt x="765976" y="31898"/>
                  </a:cubicBezTo>
                  <a:cubicBezTo>
                    <a:pt x="765842" y="33592"/>
                    <a:pt x="765732" y="35665"/>
                    <a:pt x="765643" y="38116"/>
                  </a:cubicBezTo>
                  <a:cubicBezTo>
                    <a:pt x="765554" y="40568"/>
                    <a:pt x="765503" y="43544"/>
                    <a:pt x="765489" y="47046"/>
                  </a:cubicBezTo>
                  <a:cubicBezTo>
                    <a:pt x="765489" y="50523"/>
                    <a:pt x="765533" y="53489"/>
                    <a:pt x="765622" y="55942"/>
                  </a:cubicBezTo>
                  <a:cubicBezTo>
                    <a:pt x="765712" y="58395"/>
                    <a:pt x="765822" y="60468"/>
                    <a:pt x="765955" y="62161"/>
                  </a:cubicBezTo>
                  <a:cubicBezTo>
                    <a:pt x="766050" y="63600"/>
                    <a:pt x="766250" y="65030"/>
                    <a:pt x="766550" y="66441"/>
                  </a:cubicBezTo>
                  <a:cubicBezTo>
                    <a:pt x="766817" y="67600"/>
                    <a:pt x="767085" y="68581"/>
                    <a:pt x="767352" y="69384"/>
                  </a:cubicBezTo>
                  <a:cubicBezTo>
                    <a:pt x="768532" y="73406"/>
                    <a:pt x="771003" y="76930"/>
                    <a:pt x="774376" y="79416"/>
                  </a:cubicBezTo>
                  <a:cubicBezTo>
                    <a:pt x="778119" y="81876"/>
                    <a:pt x="782545" y="83093"/>
                    <a:pt x="787018" y="82894"/>
                  </a:cubicBezTo>
                  <a:cubicBezTo>
                    <a:pt x="791319" y="82991"/>
                    <a:pt x="795555" y="81829"/>
                    <a:pt x="799205" y="79550"/>
                  </a:cubicBezTo>
                  <a:cubicBezTo>
                    <a:pt x="802728" y="77261"/>
                    <a:pt x="805335" y="73803"/>
                    <a:pt x="806562" y="69785"/>
                  </a:cubicBezTo>
                  <a:cubicBezTo>
                    <a:pt x="807082" y="67895"/>
                    <a:pt x="807481" y="65974"/>
                    <a:pt x="807751" y="64033"/>
                  </a:cubicBezTo>
                  <a:cubicBezTo>
                    <a:pt x="808141" y="61197"/>
                    <a:pt x="808322" y="58335"/>
                    <a:pt x="808286" y="55472"/>
                  </a:cubicBezTo>
                  <a:cubicBezTo>
                    <a:pt x="808340" y="55084"/>
                    <a:pt x="808069" y="54725"/>
                    <a:pt x="807683" y="54670"/>
                  </a:cubicBezTo>
                  <a:cubicBezTo>
                    <a:pt x="807618" y="54661"/>
                    <a:pt x="807549" y="54661"/>
                    <a:pt x="807484" y="54670"/>
                  </a:cubicBezTo>
                  <a:lnTo>
                    <a:pt x="789827" y="54670"/>
                  </a:lnTo>
                  <a:cubicBezTo>
                    <a:pt x="789176" y="54758"/>
                    <a:pt x="788579" y="54302"/>
                    <a:pt x="788490" y="53651"/>
                  </a:cubicBezTo>
                  <a:cubicBezTo>
                    <a:pt x="788475" y="53545"/>
                    <a:pt x="788475" y="53438"/>
                    <a:pt x="788490" y="53332"/>
                  </a:cubicBezTo>
                  <a:lnTo>
                    <a:pt x="788490" y="45559"/>
                  </a:lnTo>
                  <a:cubicBezTo>
                    <a:pt x="788400" y="44909"/>
                    <a:pt x="788858" y="44310"/>
                    <a:pt x="789509" y="44222"/>
                  </a:cubicBezTo>
                  <a:cubicBezTo>
                    <a:pt x="789613" y="44207"/>
                    <a:pt x="789720" y="44207"/>
                    <a:pt x="789827" y="44222"/>
                  </a:cubicBezTo>
                  <a:lnTo>
                    <a:pt x="818854" y="44222"/>
                  </a:lnTo>
                  <a:cubicBezTo>
                    <a:pt x="819504" y="44134"/>
                    <a:pt x="820102" y="44590"/>
                    <a:pt x="820191" y="45241"/>
                  </a:cubicBezTo>
                  <a:cubicBezTo>
                    <a:pt x="820206" y="45346"/>
                    <a:pt x="820206" y="45453"/>
                    <a:pt x="820191" y="45559"/>
                  </a:cubicBezTo>
                  <a:lnTo>
                    <a:pt x="820191" y="52396"/>
                  </a:lnTo>
                  <a:cubicBezTo>
                    <a:pt x="820209" y="56216"/>
                    <a:pt x="820010" y="60034"/>
                    <a:pt x="819597" y="63831"/>
                  </a:cubicBezTo>
                  <a:cubicBezTo>
                    <a:pt x="819314" y="66751"/>
                    <a:pt x="818755" y="69638"/>
                    <a:pt x="817926" y="72451"/>
                  </a:cubicBezTo>
                  <a:cubicBezTo>
                    <a:pt x="816042" y="78925"/>
                    <a:pt x="812008" y="84563"/>
                    <a:pt x="806488" y="88434"/>
                  </a:cubicBezTo>
                  <a:cubicBezTo>
                    <a:pt x="800727" y="92243"/>
                    <a:pt x="793932" y="94182"/>
                    <a:pt x="787027" y="93987"/>
                  </a:cubicBezTo>
                  <a:cubicBezTo>
                    <a:pt x="780084" y="94214"/>
                    <a:pt x="773235" y="92350"/>
                    <a:pt x="767364" y="88636"/>
                  </a:cubicBezTo>
                  <a:cubicBezTo>
                    <a:pt x="761821" y="84808"/>
                    <a:pt x="757757" y="79192"/>
                    <a:pt x="755858" y="72728"/>
                  </a:cubicBezTo>
                  <a:close/>
                  <a:moveTo>
                    <a:pt x="839459" y="2904"/>
                  </a:moveTo>
                  <a:cubicBezTo>
                    <a:pt x="839370" y="2253"/>
                    <a:pt x="839827" y="1655"/>
                    <a:pt x="840478" y="1567"/>
                  </a:cubicBezTo>
                  <a:cubicBezTo>
                    <a:pt x="840582" y="1552"/>
                    <a:pt x="840689" y="1552"/>
                    <a:pt x="840796" y="1567"/>
                  </a:cubicBezTo>
                  <a:lnTo>
                    <a:pt x="850011" y="1567"/>
                  </a:lnTo>
                  <a:cubicBezTo>
                    <a:pt x="850662" y="1479"/>
                    <a:pt x="851259" y="1935"/>
                    <a:pt x="851349" y="2586"/>
                  </a:cubicBezTo>
                  <a:cubicBezTo>
                    <a:pt x="851363" y="2691"/>
                    <a:pt x="851363" y="2798"/>
                    <a:pt x="851349" y="2904"/>
                  </a:cubicBezTo>
                  <a:lnTo>
                    <a:pt x="851349" y="91187"/>
                  </a:lnTo>
                  <a:cubicBezTo>
                    <a:pt x="851438" y="91837"/>
                    <a:pt x="850980" y="92436"/>
                    <a:pt x="850329" y="92524"/>
                  </a:cubicBezTo>
                  <a:cubicBezTo>
                    <a:pt x="850225" y="92539"/>
                    <a:pt x="850118" y="92539"/>
                    <a:pt x="850011" y="92524"/>
                  </a:cubicBezTo>
                  <a:lnTo>
                    <a:pt x="840796" y="92524"/>
                  </a:lnTo>
                  <a:cubicBezTo>
                    <a:pt x="840145" y="92612"/>
                    <a:pt x="839548" y="92156"/>
                    <a:pt x="839459" y="91505"/>
                  </a:cubicBezTo>
                  <a:cubicBezTo>
                    <a:pt x="839444" y="91400"/>
                    <a:pt x="839444" y="91293"/>
                    <a:pt x="839459" y="91187"/>
                  </a:cubicBezTo>
                  <a:close/>
                  <a:moveTo>
                    <a:pt x="901390" y="93996"/>
                  </a:moveTo>
                  <a:cubicBezTo>
                    <a:pt x="898201" y="93998"/>
                    <a:pt x="895020" y="93684"/>
                    <a:pt x="891893" y="93059"/>
                  </a:cubicBezTo>
                  <a:cubicBezTo>
                    <a:pt x="888891" y="92468"/>
                    <a:pt x="885939" y="91640"/>
                    <a:pt x="883065" y="90583"/>
                  </a:cubicBezTo>
                  <a:cubicBezTo>
                    <a:pt x="880419" y="89614"/>
                    <a:pt x="877866" y="88405"/>
                    <a:pt x="875441" y="86972"/>
                  </a:cubicBezTo>
                  <a:cubicBezTo>
                    <a:pt x="873300" y="85719"/>
                    <a:pt x="871285" y="84264"/>
                    <a:pt x="869421" y="82626"/>
                  </a:cubicBezTo>
                  <a:cubicBezTo>
                    <a:pt x="868833" y="82145"/>
                    <a:pt x="868747" y="81278"/>
                    <a:pt x="869225" y="80689"/>
                  </a:cubicBezTo>
                  <a:cubicBezTo>
                    <a:pt x="869246" y="80665"/>
                    <a:pt x="869267" y="80642"/>
                    <a:pt x="869288" y="80620"/>
                  </a:cubicBezTo>
                  <a:lnTo>
                    <a:pt x="875173" y="73664"/>
                  </a:lnTo>
                  <a:cubicBezTo>
                    <a:pt x="875568" y="73116"/>
                    <a:pt x="876335" y="72993"/>
                    <a:pt x="876882" y="73389"/>
                  </a:cubicBezTo>
                  <a:cubicBezTo>
                    <a:pt x="876942" y="73431"/>
                    <a:pt x="876995" y="73479"/>
                    <a:pt x="877046" y="73530"/>
                  </a:cubicBezTo>
                  <a:cubicBezTo>
                    <a:pt x="880428" y="76108"/>
                    <a:pt x="884111" y="78264"/>
                    <a:pt x="888014" y="79951"/>
                  </a:cubicBezTo>
                  <a:cubicBezTo>
                    <a:pt x="892565" y="81950"/>
                    <a:pt x="897490" y="82953"/>
                    <a:pt x="902460" y="82894"/>
                  </a:cubicBezTo>
                  <a:cubicBezTo>
                    <a:pt x="907734" y="83216"/>
                    <a:pt x="912956" y="81703"/>
                    <a:pt x="917242" y="78613"/>
                  </a:cubicBezTo>
                  <a:cubicBezTo>
                    <a:pt x="920688" y="75920"/>
                    <a:pt x="922649" y="71749"/>
                    <a:pt x="922525" y="67377"/>
                  </a:cubicBezTo>
                  <a:cubicBezTo>
                    <a:pt x="922548" y="65551"/>
                    <a:pt x="922230" y="63736"/>
                    <a:pt x="921588" y="62027"/>
                  </a:cubicBezTo>
                  <a:cubicBezTo>
                    <a:pt x="920919" y="60358"/>
                    <a:pt x="919838" y="58886"/>
                    <a:pt x="918446" y="57746"/>
                  </a:cubicBezTo>
                  <a:cubicBezTo>
                    <a:pt x="916707" y="56348"/>
                    <a:pt x="914737" y="55261"/>
                    <a:pt x="912626" y="54536"/>
                  </a:cubicBezTo>
                  <a:cubicBezTo>
                    <a:pt x="909681" y="53523"/>
                    <a:pt x="906628" y="52850"/>
                    <a:pt x="903531" y="52530"/>
                  </a:cubicBezTo>
                  <a:lnTo>
                    <a:pt x="898983" y="51861"/>
                  </a:lnTo>
                  <a:cubicBezTo>
                    <a:pt x="881148" y="49453"/>
                    <a:pt x="872230" y="41071"/>
                    <a:pt x="872230" y="26714"/>
                  </a:cubicBezTo>
                  <a:cubicBezTo>
                    <a:pt x="872183" y="22955"/>
                    <a:pt x="872890" y="19226"/>
                    <a:pt x="874311" y="15745"/>
                  </a:cubicBezTo>
                  <a:cubicBezTo>
                    <a:pt x="875634" y="12526"/>
                    <a:pt x="877667" y="9645"/>
                    <a:pt x="880256" y="7318"/>
                  </a:cubicBezTo>
                  <a:cubicBezTo>
                    <a:pt x="882982" y="4919"/>
                    <a:pt x="886168" y="3099"/>
                    <a:pt x="889619" y="1968"/>
                  </a:cubicBezTo>
                  <a:cubicBezTo>
                    <a:pt x="893590" y="670"/>
                    <a:pt x="897749" y="38"/>
                    <a:pt x="901925" y="95"/>
                  </a:cubicBezTo>
                  <a:cubicBezTo>
                    <a:pt x="907121" y="71"/>
                    <a:pt x="912287" y="861"/>
                    <a:pt x="917240" y="2435"/>
                  </a:cubicBezTo>
                  <a:cubicBezTo>
                    <a:pt x="921672" y="3779"/>
                    <a:pt x="925857" y="5835"/>
                    <a:pt x="929629" y="8522"/>
                  </a:cubicBezTo>
                  <a:cubicBezTo>
                    <a:pt x="930203" y="8842"/>
                    <a:pt x="930408" y="9566"/>
                    <a:pt x="930087" y="10140"/>
                  </a:cubicBezTo>
                  <a:cubicBezTo>
                    <a:pt x="930036" y="10233"/>
                    <a:pt x="929971" y="10319"/>
                    <a:pt x="929896" y="10395"/>
                  </a:cubicBezTo>
                  <a:lnTo>
                    <a:pt x="925348" y="17752"/>
                  </a:lnTo>
                  <a:cubicBezTo>
                    <a:pt x="924932" y="18339"/>
                    <a:pt x="924121" y="18478"/>
                    <a:pt x="923532" y="18063"/>
                  </a:cubicBezTo>
                  <a:cubicBezTo>
                    <a:pt x="923514" y="18049"/>
                    <a:pt x="923494" y="18034"/>
                    <a:pt x="923476" y="18019"/>
                  </a:cubicBezTo>
                  <a:cubicBezTo>
                    <a:pt x="920081" y="15865"/>
                    <a:pt x="916440" y="14133"/>
                    <a:pt x="912626" y="12862"/>
                  </a:cubicBezTo>
                  <a:cubicBezTo>
                    <a:pt x="909036" y="11731"/>
                    <a:pt x="905290" y="11167"/>
                    <a:pt x="901524" y="11191"/>
                  </a:cubicBezTo>
                  <a:cubicBezTo>
                    <a:pt x="896881" y="10866"/>
                    <a:pt x="892289" y="12324"/>
                    <a:pt x="888683" y="15270"/>
                  </a:cubicBezTo>
                  <a:cubicBezTo>
                    <a:pt x="885734" y="18002"/>
                    <a:pt x="884123" y="21885"/>
                    <a:pt x="884269" y="25902"/>
                  </a:cubicBezTo>
                  <a:cubicBezTo>
                    <a:pt x="884177" y="29535"/>
                    <a:pt x="885755" y="33009"/>
                    <a:pt x="888549" y="35331"/>
                  </a:cubicBezTo>
                  <a:cubicBezTo>
                    <a:pt x="892943" y="38358"/>
                    <a:pt x="898073" y="40139"/>
                    <a:pt x="903397" y="40482"/>
                  </a:cubicBezTo>
                  <a:lnTo>
                    <a:pt x="907811" y="41151"/>
                  </a:lnTo>
                  <a:cubicBezTo>
                    <a:pt x="915156" y="41744"/>
                    <a:pt x="922147" y="44541"/>
                    <a:pt x="927875" y="49177"/>
                  </a:cubicBezTo>
                  <a:cubicBezTo>
                    <a:pt x="932518" y="53730"/>
                    <a:pt x="934959" y="60074"/>
                    <a:pt x="934563" y="66566"/>
                  </a:cubicBezTo>
                  <a:cubicBezTo>
                    <a:pt x="934605" y="70345"/>
                    <a:pt x="933897" y="74095"/>
                    <a:pt x="932482" y="77600"/>
                  </a:cubicBezTo>
                  <a:cubicBezTo>
                    <a:pt x="931106" y="80934"/>
                    <a:pt x="928948" y="83890"/>
                    <a:pt x="926196" y="86220"/>
                  </a:cubicBezTo>
                  <a:cubicBezTo>
                    <a:pt x="923119" y="88775"/>
                    <a:pt x="919576" y="90706"/>
                    <a:pt x="915762" y="91906"/>
                  </a:cubicBezTo>
                  <a:cubicBezTo>
                    <a:pt x="911113" y="93368"/>
                    <a:pt x="906262" y="94074"/>
                    <a:pt x="901390" y="93996"/>
                  </a:cubicBezTo>
                  <a:close/>
                  <a:moveTo>
                    <a:pt x="971348" y="92524"/>
                  </a:moveTo>
                  <a:cubicBezTo>
                    <a:pt x="970697" y="92612"/>
                    <a:pt x="970099" y="92156"/>
                    <a:pt x="970010" y="91505"/>
                  </a:cubicBezTo>
                  <a:cubicBezTo>
                    <a:pt x="969995" y="91400"/>
                    <a:pt x="969995" y="91293"/>
                    <a:pt x="970010" y="91187"/>
                  </a:cubicBezTo>
                  <a:lnTo>
                    <a:pt x="970010" y="13457"/>
                  </a:lnTo>
                  <a:cubicBezTo>
                    <a:pt x="970063" y="13068"/>
                    <a:pt x="969793" y="12709"/>
                    <a:pt x="969407" y="12654"/>
                  </a:cubicBezTo>
                  <a:cubicBezTo>
                    <a:pt x="969341" y="12645"/>
                    <a:pt x="969273" y="12645"/>
                    <a:pt x="969207" y="12654"/>
                  </a:cubicBezTo>
                  <a:lnTo>
                    <a:pt x="944328" y="12654"/>
                  </a:lnTo>
                  <a:cubicBezTo>
                    <a:pt x="943677" y="12742"/>
                    <a:pt x="943079" y="12286"/>
                    <a:pt x="942990" y="11635"/>
                  </a:cubicBezTo>
                  <a:cubicBezTo>
                    <a:pt x="942975" y="11529"/>
                    <a:pt x="942975" y="11422"/>
                    <a:pt x="942990" y="11316"/>
                  </a:cubicBezTo>
                  <a:lnTo>
                    <a:pt x="942990" y="2904"/>
                  </a:lnTo>
                  <a:cubicBezTo>
                    <a:pt x="942901" y="2253"/>
                    <a:pt x="943359" y="1655"/>
                    <a:pt x="944010" y="1567"/>
                  </a:cubicBezTo>
                  <a:cubicBezTo>
                    <a:pt x="944114" y="1552"/>
                    <a:pt x="944221" y="1552"/>
                    <a:pt x="944328" y="1567"/>
                  </a:cubicBezTo>
                  <a:lnTo>
                    <a:pt x="1007597" y="1567"/>
                  </a:lnTo>
                  <a:cubicBezTo>
                    <a:pt x="1008248" y="1479"/>
                    <a:pt x="1008845" y="1935"/>
                    <a:pt x="1008935" y="2586"/>
                  </a:cubicBezTo>
                  <a:cubicBezTo>
                    <a:pt x="1008949" y="2691"/>
                    <a:pt x="1008949" y="2798"/>
                    <a:pt x="1008935" y="2904"/>
                  </a:cubicBezTo>
                  <a:lnTo>
                    <a:pt x="1008935" y="11331"/>
                  </a:lnTo>
                  <a:cubicBezTo>
                    <a:pt x="1009024" y="11982"/>
                    <a:pt x="1008566" y="12581"/>
                    <a:pt x="1007915" y="12669"/>
                  </a:cubicBezTo>
                  <a:cubicBezTo>
                    <a:pt x="1007811" y="12683"/>
                    <a:pt x="1007704" y="12683"/>
                    <a:pt x="1007597" y="12669"/>
                  </a:cubicBezTo>
                  <a:lnTo>
                    <a:pt x="982717" y="12669"/>
                  </a:lnTo>
                  <a:cubicBezTo>
                    <a:pt x="982328" y="12614"/>
                    <a:pt x="981968" y="12885"/>
                    <a:pt x="981915" y="13273"/>
                  </a:cubicBezTo>
                  <a:cubicBezTo>
                    <a:pt x="981906" y="13339"/>
                    <a:pt x="981906" y="13406"/>
                    <a:pt x="981915" y="13471"/>
                  </a:cubicBezTo>
                  <a:lnTo>
                    <a:pt x="981915" y="91187"/>
                  </a:lnTo>
                  <a:cubicBezTo>
                    <a:pt x="982004" y="91837"/>
                    <a:pt x="981546" y="92436"/>
                    <a:pt x="980895" y="92524"/>
                  </a:cubicBezTo>
                  <a:cubicBezTo>
                    <a:pt x="980791" y="92539"/>
                    <a:pt x="980684" y="92539"/>
                    <a:pt x="980577" y="92524"/>
                  </a:cubicBezTo>
                  <a:close/>
                  <a:moveTo>
                    <a:pt x="1023113" y="2904"/>
                  </a:moveTo>
                  <a:cubicBezTo>
                    <a:pt x="1023024" y="2253"/>
                    <a:pt x="1023482" y="1655"/>
                    <a:pt x="1024133" y="1567"/>
                  </a:cubicBezTo>
                  <a:cubicBezTo>
                    <a:pt x="1024237" y="1552"/>
                    <a:pt x="1024344" y="1552"/>
                    <a:pt x="1024451" y="1567"/>
                  </a:cubicBezTo>
                  <a:lnTo>
                    <a:pt x="1033666" y="1567"/>
                  </a:lnTo>
                  <a:cubicBezTo>
                    <a:pt x="1034317" y="1479"/>
                    <a:pt x="1034914" y="1935"/>
                    <a:pt x="1035003" y="2586"/>
                  </a:cubicBezTo>
                  <a:cubicBezTo>
                    <a:pt x="1035018" y="2691"/>
                    <a:pt x="1035018" y="2798"/>
                    <a:pt x="1035003" y="2904"/>
                  </a:cubicBezTo>
                  <a:lnTo>
                    <a:pt x="1035003" y="91187"/>
                  </a:lnTo>
                  <a:cubicBezTo>
                    <a:pt x="1035092" y="91837"/>
                    <a:pt x="1034635" y="92436"/>
                    <a:pt x="1033984" y="92524"/>
                  </a:cubicBezTo>
                  <a:cubicBezTo>
                    <a:pt x="1033880" y="92539"/>
                    <a:pt x="1033773" y="92539"/>
                    <a:pt x="1033666" y="92524"/>
                  </a:cubicBezTo>
                  <a:lnTo>
                    <a:pt x="1024451" y="92524"/>
                  </a:lnTo>
                  <a:cubicBezTo>
                    <a:pt x="1023800" y="92612"/>
                    <a:pt x="1023202" y="92156"/>
                    <a:pt x="1023113" y="91505"/>
                  </a:cubicBezTo>
                  <a:cubicBezTo>
                    <a:pt x="1023098" y="91400"/>
                    <a:pt x="1023098" y="91293"/>
                    <a:pt x="1023113" y="91187"/>
                  </a:cubicBezTo>
                  <a:close/>
                  <a:moveTo>
                    <a:pt x="1056702" y="72594"/>
                  </a:moveTo>
                  <a:cubicBezTo>
                    <a:pt x="1056256" y="71256"/>
                    <a:pt x="1055876" y="69897"/>
                    <a:pt x="1055564" y="68516"/>
                  </a:cubicBezTo>
                  <a:cubicBezTo>
                    <a:pt x="1055213" y="66883"/>
                    <a:pt x="1054969" y="65230"/>
                    <a:pt x="1054830" y="63567"/>
                  </a:cubicBezTo>
                  <a:cubicBezTo>
                    <a:pt x="1054651" y="61650"/>
                    <a:pt x="1054518" y="59354"/>
                    <a:pt x="1054428" y="56676"/>
                  </a:cubicBezTo>
                  <a:cubicBezTo>
                    <a:pt x="1054339" y="53999"/>
                    <a:pt x="1054295" y="50789"/>
                    <a:pt x="1054295" y="47046"/>
                  </a:cubicBezTo>
                  <a:cubicBezTo>
                    <a:pt x="1054295" y="43300"/>
                    <a:pt x="1054339" y="40090"/>
                    <a:pt x="1054428" y="37415"/>
                  </a:cubicBezTo>
                  <a:cubicBezTo>
                    <a:pt x="1054518" y="34739"/>
                    <a:pt x="1054651" y="32444"/>
                    <a:pt x="1054830" y="30527"/>
                  </a:cubicBezTo>
                  <a:cubicBezTo>
                    <a:pt x="1054969" y="28864"/>
                    <a:pt x="1055213" y="27211"/>
                    <a:pt x="1055564" y="25578"/>
                  </a:cubicBezTo>
                  <a:cubicBezTo>
                    <a:pt x="1055876" y="24191"/>
                    <a:pt x="1056256" y="22832"/>
                    <a:pt x="1056702" y="21500"/>
                  </a:cubicBezTo>
                  <a:cubicBezTo>
                    <a:pt x="1058507" y="15006"/>
                    <a:pt x="1062469" y="9321"/>
                    <a:pt x="1067938" y="5383"/>
                  </a:cubicBezTo>
                  <a:cubicBezTo>
                    <a:pt x="1073583" y="1724"/>
                    <a:pt x="1080209" y="-120"/>
                    <a:pt x="1086932" y="98"/>
                  </a:cubicBezTo>
                  <a:cubicBezTo>
                    <a:pt x="1093175" y="-45"/>
                    <a:pt x="1099325" y="1605"/>
                    <a:pt x="1104654" y="4854"/>
                  </a:cubicBezTo>
                  <a:cubicBezTo>
                    <a:pt x="1109764" y="8104"/>
                    <a:pt x="1113756" y="12842"/>
                    <a:pt x="1116092" y="18429"/>
                  </a:cubicBezTo>
                  <a:cubicBezTo>
                    <a:pt x="1116416" y="19058"/>
                    <a:pt x="1116179" y="19830"/>
                    <a:pt x="1115557" y="20168"/>
                  </a:cubicBezTo>
                  <a:lnTo>
                    <a:pt x="1107532" y="24047"/>
                  </a:lnTo>
                  <a:cubicBezTo>
                    <a:pt x="1107008" y="24443"/>
                    <a:pt x="1106262" y="24340"/>
                    <a:pt x="1105867" y="23816"/>
                  </a:cubicBezTo>
                  <a:cubicBezTo>
                    <a:pt x="1105769" y="23686"/>
                    <a:pt x="1105698" y="23537"/>
                    <a:pt x="1105659" y="23379"/>
                  </a:cubicBezTo>
                  <a:cubicBezTo>
                    <a:pt x="1103994" y="19957"/>
                    <a:pt x="1101569" y="16961"/>
                    <a:pt x="1098570" y="14619"/>
                  </a:cubicBezTo>
                  <a:cubicBezTo>
                    <a:pt x="1095184" y="12208"/>
                    <a:pt x="1091085" y="11007"/>
                    <a:pt x="1086932" y="11209"/>
                  </a:cubicBezTo>
                  <a:cubicBezTo>
                    <a:pt x="1082643" y="10998"/>
                    <a:pt x="1078407" y="12221"/>
                    <a:pt x="1074894" y="14687"/>
                  </a:cubicBezTo>
                  <a:cubicBezTo>
                    <a:pt x="1071690" y="17241"/>
                    <a:pt x="1069311" y="20685"/>
                    <a:pt x="1068057" y="24585"/>
                  </a:cubicBezTo>
                  <a:cubicBezTo>
                    <a:pt x="1067790" y="25576"/>
                    <a:pt x="1067546" y="26625"/>
                    <a:pt x="1067323" y="27730"/>
                  </a:cubicBezTo>
                  <a:cubicBezTo>
                    <a:pt x="1067064" y="29106"/>
                    <a:pt x="1066886" y="30496"/>
                    <a:pt x="1066788" y="31892"/>
                  </a:cubicBezTo>
                  <a:cubicBezTo>
                    <a:pt x="1066654" y="33541"/>
                    <a:pt x="1066541" y="35592"/>
                    <a:pt x="1066455" y="38045"/>
                  </a:cubicBezTo>
                  <a:cubicBezTo>
                    <a:pt x="1066369" y="40498"/>
                    <a:pt x="1066324" y="43508"/>
                    <a:pt x="1066321" y="47075"/>
                  </a:cubicBezTo>
                  <a:cubicBezTo>
                    <a:pt x="1066321" y="50642"/>
                    <a:pt x="1066366" y="53651"/>
                    <a:pt x="1066455" y="56103"/>
                  </a:cubicBezTo>
                  <a:cubicBezTo>
                    <a:pt x="1066544" y="58554"/>
                    <a:pt x="1066654" y="60605"/>
                    <a:pt x="1066788" y="62256"/>
                  </a:cubicBezTo>
                  <a:cubicBezTo>
                    <a:pt x="1066892" y="63669"/>
                    <a:pt x="1067070" y="65076"/>
                    <a:pt x="1067323" y="66471"/>
                  </a:cubicBezTo>
                  <a:cubicBezTo>
                    <a:pt x="1067516" y="67508"/>
                    <a:pt x="1067760" y="68535"/>
                    <a:pt x="1068057" y="69547"/>
                  </a:cubicBezTo>
                  <a:cubicBezTo>
                    <a:pt x="1069311" y="73448"/>
                    <a:pt x="1071690" y="76891"/>
                    <a:pt x="1074894" y="79446"/>
                  </a:cubicBezTo>
                  <a:cubicBezTo>
                    <a:pt x="1078407" y="81911"/>
                    <a:pt x="1082643" y="83135"/>
                    <a:pt x="1086932" y="82923"/>
                  </a:cubicBezTo>
                  <a:cubicBezTo>
                    <a:pt x="1091085" y="83125"/>
                    <a:pt x="1095184" y="81922"/>
                    <a:pt x="1098570" y="79511"/>
                  </a:cubicBezTo>
                  <a:cubicBezTo>
                    <a:pt x="1101569" y="77168"/>
                    <a:pt x="1103994" y="74172"/>
                    <a:pt x="1105659" y="70751"/>
                  </a:cubicBezTo>
                  <a:cubicBezTo>
                    <a:pt x="1105814" y="70113"/>
                    <a:pt x="1106456" y="69720"/>
                    <a:pt x="1107095" y="69875"/>
                  </a:cubicBezTo>
                  <a:cubicBezTo>
                    <a:pt x="1107252" y="69913"/>
                    <a:pt x="1107401" y="69984"/>
                    <a:pt x="1107532" y="70082"/>
                  </a:cubicBezTo>
                  <a:lnTo>
                    <a:pt x="1115557" y="73946"/>
                  </a:lnTo>
                  <a:cubicBezTo>
                    <a:pt x="1116179" y="74285"/>
                    <a:pt x="1116416" y="75057"/>
                    <a:pt x="1116092" y="75685"/>
                  </a:cubicBezTo>
                  <a:cubicBezTo>
                    <a:pt x="1113756" y="81273"/>
                    <a:pt x="1109764" y="86011"/>
                    <a:pt x="1104654" y="89261"/>
                  </a:cubicBezTo>
                  <a:cubicBezTo>
                    <a:pt x="1099325" y="92510"/>
                    <a:pt x="1093175" y="94160"/>
                    <a:pt x="1086932" y="94017"/>
                  </a:cubicBezTo>
                  <a:cubicBezTo>
                    <a:pt x="1080209" y="94235"/>
                    <a:pt x="1073583" y="92391"/>
                    <a:pt x="1067938" y="88732"/>
                  </a:cubicBezTo>
                  <a:cubicBezTo>
                    <a:pt x="1062463" y="84794"/>
                    <a:pt x="1058492" y="79107"/>
                    <a:pt x="1056687" y="72609"/>
                  </a:cubicBezTo>
                  <a:close/>
                  <a:moveTo>
                    <a:pt x="1160769" y="93996"/>
                  </a:moveTo>
                  <a:cubicBezTo>
                    <a:pt x="1157579" y="93998"/>
                    <a:pt x="1154399" y="93684"/>
                    <a:pt x="1151272" y="93059"/>
                  </a:cubicBezTo>
                  <a:cubicBezTo>
                    <a:pt x="1148269" y="92468"/>
                    <a:pt x="1145318" y="91640"/>
                    <a:pt x="1142443" y="90583"/>
                  </a:cubicBezTo>
                  <a:cubicBezTo>
                    <a:pt x="1139798" y="89614"/>
                    <a:pt x="1137245" y="88405"/>
                    <a:pt x="1134819" y="86972"/>
                  </a:cubicBezTo>
                  <a:cubicBezTo>
                    <a:pt x="1132673" y="85720"/>
                    <a:pt x="1130652" y="84264"/>
                    <a:pt x="1128785" y="82626"/>
                  </a:cubicBezTo>
                  <a:cubicBezTo>
                    <a:pt x="1128196" y="82145"/>
                    <a:pt x="1128110" y="81278"/>
                    <a:pt x="1128589" y="80689"/>
                  </a:cubicBezTo>
                  <a:cubicBezTo>
                    <a:pt x="1128609" y="80665"/>
                    <a:pt x="1128630" y="80642"/>
                    <a:pt x="1128651" y="80620"/>
                  </a:cubicBezTo>
                  <a:lnTo>
                    <a:pt x="1134537" y="73664"/>
                  </a:lnTo>
                  <a:cubicBezTo>
                    <a:pt x="1134932" y="73116"/>
                    <a:pt x="1135699" y="72993"/>
                    <a:pt x="1136246" y="73389"/>
                  </a:cubicBezTo>
                  <a:cubicBezTo>
                    <a:pt x="1136305" y="73431"/>
                    <a:pt x="1136359" y="73479"/>
                    <a:pt x="1136409" y="73530"/>
                  </a:cubicBezTo>
                  <a:cubicBezTo>
                    <a:pt x="1139792" y="76108"/>
                    <a:pt x="1143475" y="78264"/>
                    <a:pt x="1147378" y="79951"/>
                  </a:cubicBezTo>
                  <a:cubicBezTo>
                    <a:pt x="1151929" y="81950"/>
                    <a:pt x="1156854" y="82953"/>
                    <a:pt x="1161824" y="82894"/>
                  </a:cubicBezTo>
                  <a:cubicBezTo>
                    <a:pt x="1167097" y="83216"/>
                    <a:pt x="1172320" y="81703"/>
                    <a:pt x="1176606" y="78613"/>
                  </a:cubicBezTo>
                  <a:cubicBezTo>
                    <a:pt x="1180051" y="75920"/>
                    <a:pt x="1182013" y="71749"/>
                    <a:pt x="1181888" y="67377"/>
                  </a:cubicBezTo>
                  <a:cubicBezTo>
                    <a:pt x="1181912" y="65551"/>
                    <a:pt x="1181594" y="63736"/>
                    <a:pt x="1180952" y="62027"/>
                  </a:cubicBezTo>
                  <a:cubicBezTo>
                    <a:pt x="1180283" y="60358"/>
                    <a:pt x="1179201" y="58886"/>
                    <a:pt x="1177810" y="57746"/>
                  </a:cubicBezTo>
                  <a:cubicBezTo>
                    <a:pt x="1176071" y="56348"/>
                    <a:pt x="1174100" y="55261"/>
                    <a:pt x="1171990" y="54536"/>
                  </a:cubicBezTo>
                  <a:cubicBezTo>
                    <a:pt x="1169044" y="53523"/>
                    <a:pt x="1165991" y="52850"/>
                    <a:pt x="1162894" y="52530"/>
                  </a:cubicBezTo>
                  <a:lnTo>
                    <a:pt x="1158346" y="51861"/>
                  </a:lnTo>
                  <a:cubicBezTo>
                    <a:pt x="1140511" y="49453"/>
                    <a:pt x="1131594" y="41071"/>
                    <a:pt x="1131594" y="26714"/>
                  </a:cubicBezTo>
                  <a:cubicBezTo>
                    <a:pt x="1131546" y="22955"/>
                    <a:pt x="1132254" y="19226"/>
                    <a:pt x="1133675" y="15745"/>
                  </a:cubicBezTo>
                  <a:cubicBezTo>
                    <a:pt x="1134997" y="12526"/>
                    <a:pt x="1137031" y="9645"/>
                    <a:pt x="1139620" y="7318"/>
                  </a:cubicBezTo>
                  <a:cubicBezTo>
                    <a:pt x="1142345" y="4919"/>
                    <a:pt x="1145532" y="3099"/>
                    <a:pt x="1148983" y="1968"/>
                  </a:cubicBezTo>
                  <a:cubicBezTo>
                    <a:pt x="1152954" y="670"/>
                    <a:pt x="1157113" y="38"/>
                    <a:pt x="1161289" y="95"/>
                  </a:cubicBezTo>
                  <a:cubicBezTo>
                    <a:pt x="1166485" y="71"/>
                    <a:pt x="1171651" y="861"/>
                    <a:pt x="1176603" y="2435"/>
                  </a:cubicBezTo>
                  <a:cubicBezTo>
                    <a:pt x="1181029" y="3780"/>
                    <a:pt x="1185208" y="5836"/>
                    <a:pt x="1188978" y="8522"/>
                  </a:cubicBezTo>
                  <a:cubicBezTo>
                    <a:pt x="1189551" y="8842"/>
                    <a:pt x="1189756" y="9566"/>
                    <a:pt x="1189435" y="10140"/>
                  </a:cubicBezTo>
                  <a:cubicBezTo>
                    <a:pt x="1189385" y="10233"/>
                    <a:pt x="1189319" y="10319"/>
                    <a:pt x="1189245" y="10395"/>
                  </a:cubicBezTo>
                  <a:lnTo>
                    <a:pt x="1184697" y="17752"/>
                  </a:lnTo>
                  <a:cubicBezTo>
                    <a:pt x="1184281" y="18339"/>
                    <a:pt x="1183470" y="18478"/>
                    <a:pt x="1182881" y="18063"/>
                  </a:cubicBezTo>
                  <a:cubicBezTo>
                    <a:pt x="1182863" y="18049"/>
                    <a:pt x="1182842" y="18034"/>
                    <a:pt x="1182825" y="18019"/>
                  </a:cubicBezTo>
                  <a:cubicBezTo>
                    <a:pt x="1179436" y="15866"/>
                    <a:pt x="1175798" y="14134"/>
                    <a:pt x="1171990" y="12862"/>
                  </a:cubicBezTo>
                  <a:cubicBezTo>
                    <a:pt x="1168399" y="11733"/>
                    <a:pt x="1164654" y="11171"/>
                    <a:pt x="1160888" y="11197"/>
                  </a:cubicBezTo>
                  <a:cubicBezTo>
                    <a:pt x="1156245" y="10871"/>
                    <a:pt x="1151652" y="12330"/>
                    <a:pt x="1148047" y="15276"/>
                  </a:cubicBezTo>
                  <a:cubicBezTo>
                    <a:pt x="1145104" y="18012"/>
                    <a:pt x="1143496" y="21895"/>
                    <a:pt x="1143647" y="25911"/>
                  </a:cubicBezTo>
                  <a:cubicBezTo>
                    <a:pt x="1143555" y="29544"/>
                    <a:pt x="1145134" y="33018"/>
                    <a:pt x="1147928" y="35340"/>
                  </a:cubicBezTo>
                  <a:cubicBezTo>
                    <a:pt x="1152315" y="38370"/>
                    <a:pt x="1157440" y="40155"/>
                    <a:pt x="1162760" y="40506"/>
                  </a:cubicBezTo>
                  <a:lnTo>
                    <a:pt x="1167174" y="41175"/>
                  </a:lnTo>
                  <a:cubicBezTo>
                    <a:pt x="1174519" y="41767"/>
                    <a:pt x="1181511" y="44565"/>
                    <a:pt x="1187239" y="49201"/>
                  </a:cubicBezTo>
                  <a:cubicBezTo>
                    <a:pt x="1191882" y="53754"/>
                    <a:pt x="1194322" y="60098"/>
                    <a:pt x="1193927" y="66590"/>
                  </a:cubicBezTo>
                  <a:cubicBezTo>
                    <a:pt x="1193968" y="70369"/>
                    <a:pt x="1193261" y="74119"/>
                    <a:pt x="1191846" y="77623"/>
                  </a:cubicBezTo>
                  <a:cubicBezTo>
                    <a:pt x="1190470" y="80958"/>
                    <a:pt x="1188312" y="83913"/>
                    <a:pt x="1185559" y="86244"/>
                  </a:cubicBezTo>
                  <a:cubicBezTo>
                    <a:pt x="1182483" y="88799"/>
                    <a:pt x="1178939" y="90730"/>
                    <a:pt x="1175126" y="91930"/>
                  </a:cubicBezTo>
                  <a:cubicBezTo>
                    <a:pt x="1170477" y="93384"/>
                    <a:pt x="1165623" y="94081"/>
                    <a:pt x="1160754" y="93996"/>
                  </a:cubicBezTo>
                  <a:close/>
                </a:path>
              </a:pathLst>
            </a:custGeom>
            <a:solidFill>
              <a:schemeClr val="bg1"/>
            </a:solidFill>
            <a:ln w="2965" cap="flat">
              <a:noFill/>
              <a:prstDash val="solid"/>
              <a:miter/>
            </a:ln>
          </p:spPr>
          <p:txBody>
            <a:bodyPr rtlCol="0" anchor="ctr"/>
            <a:lstStyle/>
            <a:p>
              <a:endParaRPr lang="de-DE"/>
            </a:p>
          </p:txBody>
        </p:sp>
      </p:grpSp>
    </p:spTree>
    <p:extLst>
      <p:ext uri="{BB962C8B-B14F-4D97-AF65-F5344CB8AC3E}">
        <p14:creationId xmlns:p14="http://schemas.microsoft.com/office/powerpoint/2010/main" val="3851403834"/>
      </p:ext>
    </p:extLst>
  </p:cSld>
  <p:clrMapOvr>
    <a:masterClrMapping/>
  </p:clrMapOvr>
  <p:hf hdr="0" ft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88302" y="4384792"/>
            <a:ext cx="2928508" cy="1798522"/>
          </a:xfrm>
        </p:spPr>
        <p:txBody>
          <a:bodyPr anchor="b"/>
          <a:lstStyle>
            <a:lvl1pPr>
              <a:defRPr sz="2200" b="0">
                <a:solidFill>
                  <a:schemeClr val="bg1"/>
                </a:solidFill>
              </a:defRPr>
            </a:lvl1pPr>
          </a:lstStyle>
          <a:p>
            <a:r>
              <a:rPr lang="de-DE"/>
              <a:t>Mastertitelformat bearbeiten</a:t>
            </a:r>
            <a:endParaRPr lang="en-US"/>
          </a:p>
        </p:txBody>
      </p:sp>
      <p:sp>
        <p:nvSpPr>
          <p:cNvPr id="10" name="Rechteck 9">
            <a:extLst>
              <a:ext uri="{FF2B5EF4-FFF2-40B4-BE49-F238E27FC236}">
                <a16:creationId xmlns:a16="http://schemas.microsoft.com/office/drawing/2014/main" id="{8C1400DD-2E19-4DAF-B3EE-86EDA7381E95}"/>
              </a:ext>
            </a:extLst>
          </p:cNvPr>
          <p:cNvSpPr/>
          <p:nvPr/>
        </p:nvSpPr>
        <p:spPr>
          <a:xfrm>
            <a:off x="3918063" y="0"/>
            <a:ext cx="82741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895"/>
          </a:p>
        </p:txBody>
      </p:sp>
      <p:sp>
        <p:nvSpPr>
          <p:cNvPr id="5" name="Bildplatzhalter 4">
            <a:extLst>
              <a:ext uri="{FF2B5EF4-FFF2-40B4-BE49-F238E27FC236}">
                <a16:creationId xmlns:a16="http://schemas.microsoft.com/office/drawing/2014/main" id="{BDA8B31F-D5BA-48AD-ADC8-386982ED911C}"/>
              </a:ext>
            </a:extLst>
          </p:cNvPr>
          <p:cNvSpPr>
            <a:spLocks noGrp="1"/>
          </p:cNvSpPr>
          <p:nvPr>
            <p:ph type="pic" sz="quarter" idx="10"/>
          </p:nvPr>
        </p:nvSpPr>
        <p:spPr>
          <a:xfrm>
            <a:off x="3917830" y="0"/>
            <a:ext cx="8274170" cy="6858000"/>
          </a:xfrm>
          <a:prstGeom prst="rect">
            <a:avLst/>
          </a:prstGeom>
          <a:solidFill>
            <a:schemeClr val="bg1"/>
          </a:solidFill>
        </p:spPr>
        <p:txBody>
          <a:bodyPr/>
          <a:lstStyle/>
          <a:p>
            <a:r>
              <a:rPr lang="de-DE"/>
              <a:t>Bild durch Klicken auf Symbol hinzufügen</a:t>
            </a:r>
          </a:p>
        </p:txBody>
      </p:sp>
      <p:grpSp>
        <p:nvGrpSpPr>
          <p:cNvPr id="3" name="Graphic 14">
            <a:extLst>
              <a:ext uri="{FF2B5EF4-FFF2-40B4-BE49-F238E27FC236}">
                <a16:creationId xmlns:a16="http://schemas.microsoft.com/office/drawing/2014/main" id="{D5568B9E-90DD-42E5-BA12-8D379C21E0CC}"/>
              </a:ext>
            </a:extLst>
          </p:cNvPr>
          <p:cNvGrpSpPr/>
          <p:nvPr/>
        </p:nvGrpSpPr>
        <p:grpSpPr>
          <a:xfrm>
            <a:off x="622663" y="539262"/>
            <a:ext cx="2029688" cy="316256"/>
            <a:chOff x="622663" y="539262"/>
            <a:chExt cx="2029688" cy="316256"/>
          </a:xfrm>
          <a:solidFill>
            <a:schemeClr val="bg1"/>
          </a:solidFill>
        </p:grpSpPr>
        <p:grpSp>
          <p:nvGrpSpPr>
            <p:cNvPr id="4" name="Graphic 14">
              <a:extLst>
                <a:ext uri="{FF2B5EF4-FFF2-40B4-BE49-F238E27FC236}">
                  <a16:creationId xmlns:a16="http://schemas.microsoft.com/office/drawing/2014/main" id="{8F5AB2D6-CFE0-4CD0-858A-17F3564B370B}"/>
                </a:ext>
              </a:extLst>
            </p:cNvPr>
            <p:cNvGrpSpPr/>
            <p:nvPr/>
          </p:nvGrpSpPr>
          <p:grpSpPr>
            <a:xfrm>
              <a:off x="622663" y="539262"/>
              <a:ext cx="747774" cy="316256"/>
              <a:chOff x="622663" y="539262"/>
              <a:chExt cx="747774" cy="316256"/>
            </a:xfrm>
            <a:solidFill>
              <a:schemeClr val="bg1"/>
            </a:solidFill>
          </p:grpSpPr>
          <p:sp>
            <p:nvSpPr>
              <p:cNvPr id="6" name="Freeform: Shape 5">
                <a:extLst>
                  <a:ext uri="{FF2B5EF4-FFF2-40B4-BE49-F238E27FC236}">
                    <a16:creationId xmlns:a16="http://schemas.microsoft.com/office/drawing/2014/main" id="{C4DB023E-098A-4E33-98F7-ED277B1DC4F8}"/>
                  </a:ext>
                </a:extLst>
              </p:cNvPr>
              <p:cNvSpPr/>
              <p:nvPr/>
            </p:nvSpPr>
            <p:spPr>
              <a:xfrm>
                <a:off x="622663" y="570925"/>
                <a:ext cx="209869" cy="252930"/>
              </a:xfrm>
              <a:custGeom>
                <a:avLst/>
                <a:gdLst>
                  <a:gd name="connsiteX0" fmla="*/ 145594 w 209869"/>
                  <a:gd name="connsiteY0" fmla="*/ 163695 h 252930"/>
                  <a:gd name="connsiteX1" fmla="*/ 105519 w 209869"/>
                  <a:gd name="connsiteY1" fmla="*/ 48779 h 252930"/>
                  <a:gd name="connsiteX2" fmla="*/ 104747 w 209869"/>
                  <a:gd name="connsiteY2" fmla="*/ 48779 h 252930"/>
                  <a:gd name="connsiteX3" fmla="*/ 64333 w 209869"/>
                  <a:gd name="connsiteY3" fmla="*/ 163695 h 252930"/>
                  <a:gd name="connsiteX4" fmla="*/ 88659 w 209869"/>
                  <a:gd name="connsiteY4" fmla="*/ 3752 h 252930"/>
                  <a:gd name="connsiteX5" fmla="*/ 93166 w 209869"/>
                  <a:gd name="connsiteY5" fmla="*/ 37 h 252930"/>
                  <a:gd name="connsiteX6" fmla="*/ 117493 w 209869"/>
                  <a:gd name="connsiteY6" fmla="*/ 37 h 252930"/>
                  <a:gd name="connsiteX7" fmla="*/ 122373 w 209869"/>
                  <a:gd name="connsiteY7" fmla="*/ 3752 h 252930"/>
                  <a:gd name="connsiteX8" fmla="*/ 209621 w 209869"/>
                  <a:gd name="connsiteY8" fmla="*/ 249211 h 252930"/>
                  <a:gd name="connsiteX9" fmla="*/ 207003 w 209869"/>
                  <a:gd name="connsiteY9" fmla="*/ 252953 h 252930"/>
                  <a:gd name="connsiteX10" fmla="*/ 180788 w 209869"/>
                  <a:gd name="connsiteY10" fmla="*/ 252953 h 252930"/>
                  <a:gd name="connsiteX11" fmla="*/ 175925 w 209869"/>
                  <a:gd name="connsiteY11" fmla="*/ 249211 h 252930"/>
                  <a:gd name="connsiteX12" fmla="*/ 156432 w 209869"/>
                  <a:gd name="connsiteY12" fmla="*/ 194187 h 252930"/>
                  <a:gd name="connsiteX13" fmla="*/ 53465 w 209869"/>
                  <a:gd name="connsiteY13" fmla="*/ 194187 h 252930"/>
                  <a:gd name="connsiteX14" fmla="*/ 33984 w 209869"/>
                  <a:gd name="connsiteY14" fmla="*/ 249211 h 252930"/>
                  <a:gd name="connsiteX15" fmla="*/ 29103 w 209869"/>
                  <a:gd name="connsiteY15" fmla="*/ 252953 h 252930"/>
                  <a:gd name="connsiteX16" fmla="*/ 2889 w 209869"/>
                  <a:gd name="connsiteY16" fmla="*/ 252953 h 252930"/>
                  <a:gd name="connsiteX17" fmla="*/ 270 w 209869"/>
                  <a:gd name="connsiteY17" fmla="*/ 249211 h 25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9869" h="252930">
                    <a:moveTo>
                      <a:pt x="145594" y="163695"/>
                    </a:moveTo>
                    <a:lnTo>
                      <a:pt x="105519" y="48779"/>
                    </a:lnTo>
                    <a:lnTo>
                      <a:pt x="104747" y="48779"/>
                    </a:lnTo>
                    <a:lnTo>
                      <a:pt x="64333" y="163695"/>
                    </a:lnTo>
                    <a:close/>
                    <a:moveTo>
                      <a:pt x="88659" y="3752"/>
                    </a:moveTo>
                    <a:cubicBezTo>
                      <a:pt x="89038" y="1571"/>
                      <a:pt x="90952" y="-8"/>
                      <a:pt x="93166" y="37"/>
                    </a:cubicBezTo>
                    <a:lnTo>
                      <a:pt x="117493" y="37"/>
                    </a:lnTo>
                    <a:cubicBezTo>
                      <a:pt x="119807" y="-79"/>
                      <a:pt x="121869" y="1490"/>
                      <a:pt x="122373" y="3752"/>
                    </a:cubicBezTo>
                    <a:lnTo>
                      <a:pt x="209621" y="249211"/>
                    </a:lnTo>
                    <a:cubicBezTo>
                      <a:pt x="210385" y="251693"/>
                      <a:pt x="209494" y="252953"/>
                      <a:pt x="207003" y="252953"/>
                    </a:cubicBezTo>
                    <a:lnTo>
                      <a:pt x="180788" y="252953"/>
                    </a:lnTo>
                    <a:cubicBezTo>
                      <a:pt x="178462" y="253091"/>
                      <a:pt x="176388" y="251495"/>
                      <a:pt x="175925" y="249211"/>
                    </a:cubicBezTo>
                    <a:lnTo>
                      <a:pt x="156432" y="194187"/>
                    </a:lnTo>
                    <a:lnTo>
                      <a:pt x="53465" y="194187"/>
                    </a:lnTo>
                    <a:lnTo>
                      <a:pt x="33984" y="249211"/>
                    </a:lnTo>
                    <a:cubicBezTo>
                      <a:pt x="33377" y="251410"/>
                      <a:pt x="31384" y="252938"/>
                      <a:pt x="29103" y="252953"/>
                    </a:cubicBezTo>
                    <a:lnTo>
                      <a:pt x="2889" y="252953"/>
                    </a:lnTo>
                    <a:cubicBezTo>
                      <a:pt x="389" y="252953"/>
                      <a:pt x="-461" y="251696"/>
                      <a:pt x="270" y="249211"/>
                    </a:cubicBezTo>
                    <a:close/>
                  </a:path>
                </a:pathLst>
              </a:custGeom>
              <a:solidFill>
                <a:schemeClr val="bg1"/>
              </a:solidFill>
              <a:ln w="2965" cap="flat">
                <a:noFill/>
                <a:prstDash val="solid"/>
                <a:miter/>
              </a:ln>
            </p:spPr>
            <p:txBody>
              <a:bodyPr rtlCol="0" anchor="ctr"/>
              <a:lstStyle/>
              <a:p>
                <a:endParaRPr lang="de-DE"/>
              </a:p>
            </p:txBody>
          </p:sp>
          <p:sp>
            <p:nvSpPr>
              <p:cNvPr id="7" name="Freeform: Shape 6">
                <a:extLst>
                  <a:ext uri="{FF2B5EF4-FFF2-40B4-BE49-F238E27FC236}">
                    <a16:creationId xmlns:a16="http://schemas.microsoft.com/office/drawing/2014/main" id="{1EDF6614-FF59-4BD8-875C-6A34B01B5945}"/>
                  </a:ext>
                </a:extLst>
              </p:cNvPr>
              <p:cNvSpPr/>
              <p:nvPr/>
            </p:nvSpPr>
            <p:spPr>
              <a:xfrm>
                <a:off x="858942" y="566864"/>
                <a:ext cx="183802" cy="261084"/>
              </a:xfrm>
              <a:custGeom>
                <a:avLst/>
                <a:gdLst>
                  <a:gd name="connsiteX0" fmla="*/ 91025 w 183802"/>
                  <a:gd name="connsiteY0" fmla="*/ 261108 h 261084"/>
                  <a:gd name="connsiteX1" fmla="*/ 64419 w 183802"/>
                  <a:gd name="connsiteY1" fmla="*/ 258507 h 261084"/>
                  <a:gd name="connsiteX2" fmla="*/ 39717 w 183802"/>
                  <a:gd name="connsiteY2" fmla="*/ 251638 h 261084"/>
                  <a:gd name="connsiteX3" fmla="*/ 18393 w 183802"/>
                  <a:gd name="connsiteY3" fmla="*/ 241588 h 261084"/>
                  <a:gd name="connsiteX4" fmla="*/ 1515 w 183802"/>
                  <a:gd name="connsiteY4" fmla="*/ 229496 h 261084"/>
                  <a:gd name="connsiteX5" fmla="*/ 922 w 183802"/>
                  <a:gd name="connsiteY5" fmla="*/ 224161 h 261084"/>
                  <a:gd name="connsiteX6" fmla="*/ 1141 w 183802"/>
                  <a:gd name="connsiteY6" fmla="*/ 223911 h 261084"/>
                  <a:gd name="connsiteX7" fmla="*/ 17602 w 183802"/>
                  <a:gd name="connsiteY7" fmla="*/ 204590 h 261084"/>
                  <a:gd name="connsiteX8" fmla="*/ 22373 w 183802"/>
                  <a:gd name="connsiteY8" fmla="*/ 203811 h 261084"/>
                  <a:gd name="connsiteX9" fmla="*/ 22840 w 183802"/>
                  <a:gd name="connsiteY9" fmla="*/ 204215 h 261084"/>
                  <a:gd name="connsiteX10" fmla="*/ 53569 w 183802"/>
                  <a:gd name="connsiteY10" fmla="*/ 222050 h 261084"/>
                  <a:gd name="connsiteX11" fmla="*/ 93998 w 183802"/>
                  <a:gd name="connsiteY11" fmla="*/ 230233 h 261084"/>
                  <a:gd name="connsiteX12" fmla="*/ 135390 w 183802"/>
                  <a:gd name="connsiteY12" fmla="*/ 218343 h 261084"/>
                  <a:gd name="connsiteX13" fmla="*/ 150178 w 183802"/>
                  <a:gd name="connsiteY13" fmla="*/ 187100 h 261084"/>
                  <a:gd name="connsiteX14" fmla="*/ 147577 w 183802"/>
                  <a:gd name="connsiteY14" fmla="*/ 172219 h 261084"/>
                  <a:gd name="connsiteX15" fmla="*/ 138760 w 183802"/>
                  <a:gd name="connsiteY15" fmla="*/ 160329 h 261084"/>
                  <a:gd name="connsiteX16" fmla="*/ 122468 w 183802"/>
                  <a:gd name="connsiteY16" fmla="*/ 151412 h 261084"/>
                  <a:gd name="connsiteX17" fmla="*/ 97018 w 183802"/>
                  <a:gd name="connsiteY17" fmla="*/ 145850 h 261084"/>
                  <a:gd name="connsiteX18" fmla="*/ 84281 w 183802"/>
                  <a:gd name="connsiteY18" fmla="*/ 143972 h 261084"/>
                  <a:gd name="connsiteX19" fmla="*/ 9362 w 183802"/>
                  <a:gd name="connsiteY19" fmla="*/ 74065 h 261084"/>
                  <a:gd name="connsiteX20" fmla="*/ 15180 w 183802"/>
                  <a:gd name="connsiteY20" fmla="*/ 43553 h 261084"/>
                  <a:gd name="connsiteX21" fmla="*/ 31855 w 183802"/>
                  <a:gd name="connsiteY21" fmla="*/ 20127 h 261084"/>
                  <a:gd name="connsiteX22" fmla="*/ 58069 w 183802"/>
                  <a:gd name="connsiteY22" fmla="*/ 5237 h 261084"/>
                  <a:gd name="connsiteX23" fmla="*/ 92512 w 183802"/>
                  <a:gd name="connsiteY23" fmla="*/ 50 h 261084"/>
                  <a:gd name="connsiteX24" fmla="*/ 135401 w 183802"/>
                  <a:gd name="connsiteY24" fmla="*/ 6545 h 261084"/>
                  <a:gd name="connsiteX25" fmla="*/ 170007 w 183802"/>
                  <a:gd name="connsiteY25" fmla="*/ 23488 h 261084"/>
                  <a:gd name="connsiteX26" fmla="*/ 171352 w 183802"/>
                  <a:gd name="connsiteY26" fmla="*/ 27913 h 261084"/>
                  <a:gd name="connsiteX27" fmla="*/ 170780 w 183802"/>
                  <a:gd name="connsiteY27" fmla="*/ 28684 h 261084"/>
                  <a:gd name="connsiteX28" fmla="*/ 158034 w 183802"/>
                  <a:gd name="connsiteY28" fmla="*/ 49135 h 261084"/>
                  <a:gd name="connsiteX29" fmla="*/ 152936 w 183802"/>
                  <a:gd name="connsiteY29" fmla="*/ 49997 h 261084"/>
                  <a:gd name="connsiteX30" fmla="*/ 152796 w 183802"/>
                  <a:gd name="connsiteY30" fmla="*/ 49893 h 261084"/>
                  <a:gd name="connsiteX31" fmla="*/ 122477 w 183802"/>
                  <a:gd name="connsiteY31" fmla="*/ 35575 h 261084"/>
                  <a:gd name="connsiteX32" fmla="*/ 91415 w 183802"/>
                  <a:gd name="connsiteY32" fmla="*/ 30932 h 261084"/>
                  <a:gd name="connsiteX33" fmla="*/ 55448 w 183802"/>
                  <a:gd name="connsiteY33" fmla="*/ 42266 h 261084"/>
                  <a:gd name="connsiteX34" fmla="*/ 43085 w 183802"/>
                  <a:gd name="connsiteY34" fmla="*/ 71815 h 261084"/>
                  <a:gd name="connsiteX35" fmla="*/ 55058 w 183802"/>
                  <a:gd name="connsiteY35" fmla="*/ 98047 h 261084"/>
                  <a:gd name="connsiteX36" fmla="*/ 96628 w 183802"/>
                  <a:gd name="connsiteY36" fmla="*/ 112366 h 261084"/>
                  <a:gd name="connsiteX37" fmla="*/ 109000 w 183802"/>
                  <a:gd name="connsiteY37" fmla="*/ 114211 h 261084"/>
                  <a:gd name="connsiteX38" fmla="*/ 165162 w 183802"/>
                  <a:gd name="connsiteY38" fmla="*/ 136505 h 261084"/>
                  <a:gd name="connsiteX39" fmla="*/ 183888 w 183802"/>
                  <a:gd name="connsiteY39" fmla="*/ 184870 h 261084"/>
                  <a:gd name="connsiteX40" fmla="*/ 178095 w 183802"/>
                  <a:gd name="connsiteY40" fmla="*/ 215555 h 261084"/>
                  <a:gd name="connsiteX41" fmla="*/ 160468 w 183802"/>
                  <a:gd name="connsiteY41" fmla="*/ 239543 h 261084"/>
                  <a:gd name="connsiteX42" fmla="*/ 131287 w 183802"/>
                  <a:gd name="connsiteY42" fmla="*/ 255324 h 261084"/>
                  <a:gd name="connsiteX43" fmla="*/ 91025 w 183802"/>
                  <a:gd name="connsiteY43" fmla="*/ 261108 h 26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3802" h="261084">
                    <a:moveTo>
                      <a:pt x="91025" y="261108"/>
                    </a:moveTo>
                    <a:cubicBezTo>
                      <a:pt x="82093" y="261111"/>
                      <a:pt x="73181" y="260239"/>
                      <a:pt x="64419" y="258507"/>
                    </a:cubicBezTo>
                    <a:cubicBezTo>
                      <a:pt x="56021" y="256856"/>
                      <a:pt x="47762" y="254559"/>
                      <a:pt x="39717" y="251638"/>
                    </a:cubicBezTo>
                    <a:cubicBezTo>
                      <a:pt x="32314" y="248954"/>
                      <a:pt x="25175" y="245589"/>
                      <a:pt x="18393" y="241588"/>
                    </a:cubicBezTo>
                    <a:cubicBezTo>
                      <a:pt x="12384" y="238121"/>
                      <a:pt x="6731" y="234071"/>
                      <a:pt x="1515" y="229496"/>
                    </a:cubicBezTo>
                    <a:cubicBezTo>
                      <a:pt x="-122" y="228186"/>
                      <a:pt x="-388" y="225798"/>
                      <a:pt x="922" y="224161"/>
                    </a:cubicBezTo>
                    <a:cubicBezTo>
                      <a:pt x="991" y="224074"/>
                      <a:pt x="1064" y="223991"/>
                      <a:pt x="1141" y="223911"/>
                    </a:cubicBezTo>
                    <a:lnTo>
                      <a:pt x="17602" y="204590"/>
                    </a:lnTo>
                    <a:cubicBezTo>
                      <a:pt x="18705" y="203057"/>
                      <a:pt x="20841" y="202708"/>
                      <a:pt x="22373" y="203811"/>
                    </a:cubicBezTo>
                    <a:cubicBezTo>
                      <a:pt x="22541" y="203931"/>
                      <a:pt x="22697" y="204066"/>
                      <a:pt x="22840" y="204215"/>
                    </a:cubicBezTo>
                    <a:cubicBezTo>
                      <a:pt x="32319" y="211389"/>
                      <a:pt x="42638" y="217378"/>
                      <a:pt x="53569" y="222050"/>
                    </a:cubicBezTo>
                    <a:cubicBezTo>
                      <a:pt x="66312" y="227614"/>
                      <a:pt x="80094" y="230403"/>
                      <a:pt x="93998" y="230233"/>
                    </a:cubicBezTo>
                    <a:cubicBezTo>
                      <a:pt x="111710" y="230233"/>
                      <a:pt x="125507" y="226270"/>
                      <a:pt x="135390" y="218343"/>
                    </a:cubicBezTo>
                    <a:cubicBezTo>
                      <a:pt x="145024" y="210886"/>
                      <a:pt x="150519" y="199278"/>
                      <a:pt x="150178" y="187100"/>
                    </a:cubicBezTo>
                    <a:cubicBezTo>
                      <a:pt x="150238" y="182021"/>
                      <a:pt x="149356" y="176976"/>
                      <a:pt x="147577" y="172219"/>
                    </a:cubicBezTo>
                    <a:cubicBezTo>
                      <a:pt x="145662" y="167591"/>
                      <a:pt x="142633" y="163506"/>
                      <a:pt x="138760" y="160329"/>
                    </a:cubicBezTo>
                    <a:cubicBezTo>
                      <a:pt x="133876" y="156453"/>
                      <a:pt x="128366" y="153437"/>
                      <a:pt x="122468" y="151412"/>
                    </a:cubicBezTo>
                    <a:cubicBezTo>
                      <a:pt x="114221" y="148605"/>
                      <a:pt x="105684" y="146740"/>
                      <a:pt x="97018" y="145850"/>
                    </a:cubicBezTo>
                    <a:lnTo>
                      <a:pt x="84281" y="143972"/>
                    </a:lnTo>
                    <a:cubicBezTo>
                      <a:pt x="34353" y="137276"/>
                      <a:pt x="9380" y="113974"/>
                      <a:pt x="9362" y="74065"/>
                    </a:cubicBezTo>
                    <a:cubicBezTo>
                      <a:pt x="9220" y="63606"/>
                      <a:pt x="11199" y="53226"/>
                      <a:pt x="15180" y="43553"/>
                    </a:cubicBezTo>
                    <a:cubicBezTo>
                      <a:pt x="18901" y="34587"/>
                      <a:pt x="24602" y="26578"/>
                      <a:pt x="31855" y="20127"/>
                    </a:cubicBezTo>
                    <a:cubicBezTo>
                      <a:pt x="39496" y="13442"/>
                      <a:pt x="48414" y="8377"/>
                      <a:pt x="58069" y="5237"/>
                    </a:cubicBezTo>
                    <a:cubicBezTo>
                      <a:pt x="69191" y="1646"/>
                      <a:pt x="80825" y="-106"/>
                      <a:pt x="92512" y="50"/>
                    </a:cubicBezTo>
                    <a:cubicBezTo>
                      <a:pt x="107058" y="-10"/>
                      <a:pt x="121525" y="2181"/>
                      <a:pt x="135401" y="6545"/>
                    </a:cubicBezTo>
                    <a:cubicBezTo>
                      <a:pt x="147774" y="10291"/>
                      <a:pt x="159460" y="16013"/>
                      <a:pt x="170007" y="23488"/>
                    </a:cubicBezTo>
                    <a:cubicBezTo>
                      <a:pt x="171600" y="24339"/>
                      <a:pt x="172202" y="26320"/>
                      <a:pt x="171352" y="27913"/>
                    </a:cubicBezTo>
                    <a:cubicBezTo>
                      <a:pt x="171200" y="28197"/>
                      <a:pt x="171007" y="28457"/>
                      <a:pt x="170780" y="28684"/>
                    </a:cubicBezTo>
                    <a:lnTo>
                      <a:pt x="158034" y="49135"/>
                    </a:lnTo>
                    <a:cubicBezTo>
                      <a:pt x="156864" y="50781"/>
                      <a:pt x="154582" y="51167"/>
                      <a:pt x="152936" y="49997"/>
                    </a:cubicBezTo>
                    <a:cubicBezTo>
                      <a:pt x="152888" y="49963"/>
                      <a:pt x="152842" y="49929"/>
                      <a:pt x="152796" y="49893"/>
                    </a:cubicBezTo>
                    <a:cubicBezTo>
                      <a:pt x="143314" y="43897"/>
                      <a:pt x="133131" y="39089"/>
                      <a:pt x="122477" y="35575"/>
                    </a:cubicBezTo>
                    <a:cubicBezTo>
                      <a:pt x="112425" y="32433"/>
                      <a:pt x="101946" y="30867"/>
                      <a:pt x="91415" y="30932"/>
                    </a:cubicBezTo>
                    <a:cubicBezTo>
                      <a:pt x="75658" y="30932"/>
                      <a:pt x="63670" y="34710"/>
                      <a:pt x="55448" y="42266"/>
                    </a:cubicBezTo>
                    <a:cubicBezTo>
                      <a:pt x="47206" y="49835"/>
                      <a:pt x="42689" y="60632"/>
                      <a:pt x="43085" y="71815"/>
                    </a:cubicBezTo>
                    <a:cubicBezTo>
                      <a:pt x="42826" y="81936"/>
                      <a:pt x="47243" y="91612"/>
                      <a:pt x="55058" y="98047"/>
                    </a:cubicBezTo>
                    <a:cubicBezTo>
                      <a:pt x="63034" y="104848"/>
                      <a:pt x="76891" y="109621"/>
                      <a:pt x="96628" y="112366"/>
                    </a:cubicBezTo>
                    <a:lnTo>
                      <a:pt x="109000" y="114211"/>
                    </a:lnTo>
                    <a:cubicBezTo>
                      <a:pt x="133939" y="117681"/>
                      <a:pt x="152660" y="125112"/>
                      <a:pt x="165162" y="136505"/>
                    </a:cubicBezTo>
                    <a:cubicBezTo>
                      <a:pt x="177664" y="147898"/>
                      <a:pt x="183906" y="164019"/>
                      <a:pt x="183888" y="184870"/>
                    </a:cubicBezTo>
                    <a:cubicBezTo>
                      <a:pt x="184003" y="195381"/>
                      <a:pt x="182034" y="205810"/>
                      <a:pt x="178095" y="215555"/>
                    </a:cubicBezTo>
                    <a:cubicBezTo>
                      <a:pt x="174222" y="224845"/>
                      <a:pt x="168177" y="233071"/>
                      <a:pt x="160468" y="239543"/>
                    </a:cubicBezTo>
                    <a:cubicBezTo>
                      <a:pt x="151855" y="246643"/>
                      <a:pt x="141944" y="252002"/>
                      <a:pt x="131287" y="255324"/>
                    </a:cubicBezTo>
                    <a:cubicBezTo>
                      <a:pt x="118260" y="259380"/>
                      <a:pt x="104668" y="261333"/>
                      <a:pt x="91025" y="261108"/>
                    </a:cubicBezTo>
                  </a:path>
                </a:pathLst>
              </a:custGeom>
              <a:solidFill>
                <a:schemeClr val="bg1"/>
              </a:solidFill>
              <a:ln w="2965" cap="flat">
                <a:noFill/>
                <a:prstDash val="solid"/>
                <a:miter/>
              </a:ln>
            </p:spPr>
            <p:txBody>
              <a:bodyPr rtlCol="0" anchor="ctr"/>
              <a:lstStyle/>
              <a:p>
                <a:endParaRPr lang="de-DE"/>
              </a:p>
            </p:txBody>
          </p:sp>
          <p:sp>
            <p:nvSpPr>
              <p:cNvPr id="8" name="Freeform: Shape 7">
                <a:extLst>
                  <a:ext uri="{FF2B5EF4-FFF2-40B4-BE49-F238E27FC236}">
                    <a16:creationId xmlns:a16="http://schemas.microsoft.com/office/drawing/2014/main" id="{C2E18FD2-E52B-4398-AF85-FDBFC7869683}"/>
                  </a:ext>
                </a:extLst>
              </p:cNvPr>
              <p:cNvSpPr/>
              <p:nvPr/>
            </p:nvSpPr>
            <p:spPr>
              <a:xfrm>
                <a:off x="1094010" y="570913"/>
                <a:ext cx="179430" cy="252966"/>
              </a:xfrm>
              <a:custGeom>
                <a:avLst/>
                <a:gdLst>
                  <a:gd name="connsiteX0" fmla="*/ 33876 w 179430"/>
                  <a:gd name="connsiteY0" fmla="*/ 219859 h 252966"/>
                  <a:gd name="connsiteX1" fmla="*/ 35607 w 179430"/>
                  <a:gd name="connsiteY1" fmla="*/ 222107 h 252966"/>
                  <a:gd name="connsiteX2" fmla="*/ 36156 w 179430"/>
                  <a:gd name="connsiteY2" fmla="*/ 222103 h 252966"/>
                  <a:gd name="connsiteX3" fmla="*/ 82824 w 179430"/>
                  <a:gd name="connsiteY3" fmla="*/ 222103 h 252966"/>
                  <a:gd name="connsiteX4" fmla="*/ 120134 w 179430"/>
                  <a:gd name="connsiteY4" fmla="*/ 214110 h 252966"/>
                  <a:gd name="connsiteX5" fmla="*/ 140644 w 179430"/>
                  <a:gd name="connsiteY5" fmla="*/ 187512 h 252966"/>
                  <a:gd name="connsiteX6" fmla="*/ 142871 w 179430"/>
                  <a:gd name="connsiteY6" fmla="*/ 179698 h 252966"/>
                  <a:gd name="connsiteX7" fmla="*/ 144571 w 179430"/>
                  <a:gd name="connsiteY7" fmla="*/ 168355 h 252966"/>
                  <a:gd name="connsiteX8" fmla="*/ 145489 w 179430"/>
                  <a:gd name="connsiteY8" fmla="*/ 151441 h 252966"/>
                  <a:gd name="connsiteX9" fmla="*/ 145882 w 179430"/>
                  <a:gd name="connsiteY9" fmla="*/ 126529 h 252966"/>
                  <a:gd name="connsiteX10" fmla="*/ 145489 w 179430"/>
                  <a:gd name="connsiteY10" fmla="*/ 101599 h 252966"/>
                  <a:gd name="connsiteX11" fmla="*/ 144571 w 179430"/>
                  <a:gd name="connsiteY11" fmla="*/ 84676 h 252966"/>
                  <a:gd name="connsiteX12" fmla="*/ 142865 w 179430"/>
                  <a:gd name="connsiteY12" fmla="*/ 73339 h 252966"/>
                  <a:gd name="connsiteX13" fmla="*/ 140638 w 179430"/>
                  <a:gd name="connsiteY13" fmla="*/ 65525 h 252966"/>
                  <a:gd name="connsiteX14" fmla="*/ 120128 w 179430"/>
                  <a:gd name="connsiteY14" fmla="*/ 38927 h 252966"/>
                  <a:gd name="connsiteX15" fmla="*/ 82818 w 179430"/>
                  <a:gd name="connsiteY15" fmla="*/ 30934 h 252966"/>
                  <a:gd name="connsiteX16" fmla="*/ 36153 w 179430"/>
                  <a:gd name="connsiteY16" fmla="*/ 30934 h 252966"/>
                  <a:gd name="connsiteX17" fmla="*/ 33877 w 179430"/>
                  <a:gd name="connsiteY17" fmla="*/ 32636 h 252966"/>
                  <a:gd name="connsiteX18" fmla="*/ 33873 w 179430"/>
                  <a:gd name="connsiteY18" fmla="*/ 33178 h 252966"/>
                  <a:gd name="connsiteX19" fmla="*/ 195 w 179430"/>
                  <a:gd name="connsiteY19" fmla="*/ 3783 h 252966"/>
                  <a:gd name="connsiteX20" fmla="*/ 2998 w 179430"/>
                  <a:gd name="connsiteY20" fmla="*/ 69 h 252966"/>
                  <a:gd name="connsiteX21" fmla="*/ 3943 w 179430"/>
                  <a:gd name="connsiteY21" fmla="*/ 74 h 252966"/>
                  <a:gd name="connsiteX22" fmla="*/ 89705 w 179430"/>
                  <a:gd name="connsiteY22" fmla="*/ 74 h 252966"/>
                  <a:gd name="connsiteX23" fmla="*/ 172821 w 179430"/>
                  <a:gd name="connsiteY23" fmla="*/ 54001 h 252966"/>
                  <a:gd name="connsiteX24" fmla="*/ 175669 w 179430"/>
                  <a:gd name="connsiteY24" fmla="*/ 64782 h 252966"/>
                  <a:gd name="connsiteX25" fmla="*/ 177889 w 179430"/>
                  <a:gd name="connsiteY25" fmla="*/ 78538 h 252966"/>
                  <a:gd name="connsiteX26" fmla="*/ 179200 w 179430"/>
                  <a:gd name="connsiteY26" fmla="*/ 98249 h 252966"/>
                  <a:gd name="connsiteX27" fmla="*/ 179593 w 179430"/>
                  <a:gd name="connsiteY27" fmla="*/ 126529 h 252966"/>
                  <a:gd name="connsiteX28" fmla="*/ 179200 w 179430"/>
                  <a:gd name="connsiteY28" fmla="*/ 154794 h 252966"/>
                  <a:gd name="connsiteX29" fmla="*/ 177889 w 179430"/>
                  <a:gd name="connsiteY29" fmla="*/ 174505 h 252966"/>
                  <a:gd name="connsiteX30" fmla="*/ 175669 w 179430"/>
                  <a:gd name="connsiteY30" fmla="*/ 188270 h 252966"/>
                  <a:gd name="connsiteX31" fmla="*/ 172821 w 179430"/>
                  <a:gd name="connsiteY31" fmla="*/ 199043 h 252966"/>
                  <a:gd name="connsiteX32" fmla="*/ 89705 w 179430"/>
                  <a:gd name="connsiteY32" fmla="*/ 252969 h 252966"/>
                  <a:gd name="connsiteX33" fmla="*/ 3943 w 179430"/>
                  <a:gd name="connsiteY33" fmla="*/ 252969 h 252966"/>
                  <a:gd name="connsiteX34" fmla="*/ 201 w 179430"/>
                  <a:gd name="connsiteY34" fmla="*/ 250175 h 252966"/>
                  <a:gd name="connsiteX35" fmla="*/ 201 w 179430"/>
                  <a:gd name="connsiteY35" fmla="*/ 249227 h 25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79430" h="252966">
                    <a:moveTo>
                      <a:pt x="33876" y="219859"/>
                    </a:moveTo>
                    <a:cubicBezTo>
                      <a:pt x="33733" y="220958"/>
                      <a:pt x="34508" y="221965"/>
                      <a:pt x="35607" y="222107"/>
                    </a:cubicBezTo>
                    <a:cubicBezTo>
                      <a:pt x="35789" y="222131"/>
                      <a:pt x="35974" y="222129"/>
                      <a:pt x="36156" y="222103"/>
                    </a:cubicBezTo>
                    <a:lnTo>
                      <a:pt x="82824" y="222103"/>
                    </a:lnTo>
                    <a:cubicBezTo>
                      <a:pt x="98221" y="222103"/>
                      <a:pt x="110697" y="219428"/>
                      <a:pt x="120134" y="214110"/>
                    </a:cubicBezTo>
                    <a:cubicBezTo>
                      <a:pt x="129572" y="208792"/>
                      <a:pt x="136408" y="199911"/>
                      <a:pt x="140644" y="187512"/>
                    </a:cubicBezTo>
                    <a:cubicBezTo>
                      <a:pt x="141408" y="185277"/>
                      <a:pt x="142098" y="182682"/>
                      <a:pt x="142871" y="179698"/>
                    </a:cubicBezTo>
                    <a:cubicBezTo>
                      <a:pt x="143742" y="175969"/>
                      <a:pt x="144310" y="172175"/>
                      <a:pt x="144571" y="168355"/>
                    </a:cubicBezTo>
                    <a:cubicBezTo>
                      <a:pt x="144945" y="163781"/>
                      <a:pt x="145252" y="158143"/>
                      <a:pt x="145489" y="151441"/>
                    </a:cubicBezTo>
                    <a:cubicBezTo>
                      <a:pt x="145718" y="144732"/>
                      <a:pt x="145882" y="136433"/>
                      <a:pt x="145882" y="126529"/>
                    </a:cubicBezTo>
                    <a:cubicBezTo>
                      <a:pt x="145882" y="116625"/>
                      <a:pt x="145721" y="108308"/>
                      <a:pt x="145489" y="101599"/>
                    </a:cubicBezTo>
                    <a:cubicBezTo>
                      <a:pt x="145258" y="94890"/>
                      <a:pt x="144945" y="89269"/>
                      <a:pt x="144571" y="84676"/>
                    </a:cubicBezTo>
                    <a:cubicBezTo>
                      <a:pt x="144308" y="80858"/>
                      <a:pt x="143737" y="77066"/>
                      <a:pt x="142865" y="73339"/>
                    </a:cubicBezTo>
                    <a:cubicBezTo>
                      <a:pt x="142092" y="70367"/>
                      <a:pt x="141402" y="67760"/>
                      <a:pt x="140638" y="65525"/>
                    </a:cubicBezTo>
                    <a:cubicBezTo>
                      <a:pt x="136396" y="53128"/>
                      <a:pt x="129559" y="44262"/>
                      <a:pt x="120128" y="38927"/>
                    </a:cubicBezTo>
                    <a:cubicBezTo>
                      <a:pt x="110691" y="33594"/>
                      <a:pt x="98215" y="30934"/>
                      <a:pt x="82818" y="30934"/>
                    </a:cubicBezTo>
                    <a:lnTo>
                      <a:pt x="36153" y="30934"/>
                    </a:lnTo>
                    <a:cubicBezTo>
                      <a:pt x="35054" y="30776"/>
                      <a:pt x="34035" y="31538"/>
                      <a:pt x="33877" y="32636"/>
                    </a:cubicBezTo>
                    <a:cubicBezTo>
                      <a:pt x="33851" y="32816"/>
                      <a:pt x="33850" y="32998"/>
                      <a:pt x="33873" y="33178"/>
                    </a:cubicBezTo>
                    <a:close/>
                    <a:moveTo>
                      <a:pt x="195" y="3783"/>
                    </a:moveTo>
                    <a:cubicBezTo>
                      <a:pt x="-57" y="1984"/>
                      <a:pt x="1198" y="321"/>
                      <a:pt x="2998" y="69"/>
                    </a:cubicBezTo>
                    <a:cubicBezTo>
                      <a:pt x="3311" y="25"/>
                      <a:pt x="3630" y="27"/>
                      <a:pt x="3943" y="74"/>
                    </a:cubicBezTo>
                    <a:lnTo>
                      <a:pt x="89705" y="74"/>
                    </a:lnTo>
                    <a:cubicBezTo>
                      <a:pt x="133402" y="74"/>
                      <a:pt x="161108" y="18049"/>
                      <a:pt x="172821" y="54001"/>
                    </a:cubicBezTo>
                    <a:cubicBezTo>
                      <a:pt x="173817" y="57478"/>
                      <a:pt x="174736" y="61075"/>
                      <a:pt x="175669" y="64782"/>
                    </a:cubicBezTo>
                    <a:cubicBezTo>
                      <a:pt x="176665" y="69322"/>
                      <a:pt x="177406" y="73915"/>
                      <a:pt x="177889" y="78538"/>
                    </a:cubicBezTo>
                    <a:cubicBezTo>
                      <a:pt x="178511" y="84005"/>
                      <a:pt x="178968" y="90571"/>
                      <a:pt x="179200" y="98249"/>
                    </a:cubicBezTo>
                    <a:cubicBezTo>
                      <a:pt x="179432" y="105927"/>
                      <a:pt x="179593" y="115349"/>
                      <a:pt x="179593" y="126529"/>
                    </a:cubicBezTo>
                    <a:cubicBezTo>
                      <a:pt x="179593" y="137708"/>
                      <a:pt x="179432" y="147113"/>
                      <a:pt x="179200" y="154794"/>
                    </a:cubicBezTo>
                    <a:cubicBezTo>
                      <a:pt x="178968" y="162475"/>
                      <a:pt x="178511" y="169062"/>
                      <a:pt x="177889" y="174505"/>
                    </a:cubicBezTo>
                    <a:cubicBezTo>
                      <a:pt x="177405" y="179131"/>
                      <a:pt x="176664" y="183727"/>
                      <a:pt x="175669" y="188270"/>
                    </a:cubicBezTo>
                    <a:cubicBezTo>
                      <a:pt x="174733" y="191968"/>
                      <a:pt x="173814" y="195559"/>
                      <a:pt x="172821" y="199043"/>
                    </a:cubicBezTo>
                    <a:cubicBezTo>
                      <a:pt x="161114" y="235001"/>
                      <a:pt x="133408" y="252977"/>
                      <a:pt x="89705" y="252969"/>
                    </a:cubicBezTo>
                    <a:lnTo>
                      <a:pt x="3943" y="252969"/>
                    </a:lnTo>
                    <a:cubicBezTo>
                      <a:pt x="2138" y="253231"/>
                      <a:pt x="462" y="251980"/>
                      <a:pt x="201" y="250175"/>
                    </a:cubicBezTo>
                    <a:cubicBezTo>
                      <a:pt x="155" y="249861"/>
                      <a:pt x="155" y="249541"/>
                      <a:pt x="201" y="249227"/>
                    </a:cubicBezTo>
                    <a:close/>
                  </a:path>
                </a:pathLst>
              </a:custGeom>
              <a:solidFill>
                <a:schemeClr val="bg1"/>
              </a:solidFill>
              <a:ln w="2965" cap="flat">
                <a:noFill/>
                <a:prstDash val="solid"/>
                <a:miter/>
              </a:ln>
            </p:spPr>
            <p:txBody>
              <a:bodyPr rtlCol="0" anchor="ctr"/>
              <a:lstStyle/>
              <a:p>
                <a:endParaRPr lang="de-DE"/>
              </a:p>
            </p:txBody>
          </p:sp>
          <p:sp>
            <p:nvSpPr>
              <p:cNvPr id="9" name="Freeform: Shape 8">
                <a:extLst>
                  <a:ext uri="{FF2B5EF4-FFF2-40B4-BE49-F238E27FC236}">
                    <a16:creationId xmlns:a16="http://schemas.microsoft.com/office/drawing/2014/main" id="{4531A883-B01B-4B2D-9271-706E6CEA182F}"/>
                  </a:ext>
                </a:extLst>
              </p:cNvPr>
              <p:cNvSpPr/>
              <p:nvPr/>
            </p:nvSpPr>
            <p:spPr>
              <a:xfrm>
                <a:off x="1354535" y="539262"/>
                <a:ext cx="15902" cy="316256"/>
              </a:xfrm>
              <a:custGeom>
                <a:avLst/>
                <a:gdLst>
                  <a:gd name="connsiteX0" fmla="*/ 8199 w 15902"/>
                  <a:gd name="connsiteY0" fmla="*/ 316295 h 316256"/>
                  <a:gd name="connsiteX1" fmla="*/ 247 w 15902"/>
                  <a:gd name="connsiteY1" fmla="*/ 308355 h 316256"/>
                  <a:gd name="connsiteX2" fmla="*/ 247 w 15902"/>
                  <a:gd name="connsiteY2" fmla="*/ 7980 h 316256"/>
                  <a:gd name="connsiteX3" fmla="*/ 8199 w 15902"/>
                  <a:gd name="connsiteY3" fmla="*/ 38 h 316256"/>
                  <a:gd name="connsiteX4" fmla="*/ 16150 w 15902"/>
                  <a:gd name="connsiteY4" fmla="*/ 7980 h 316256"/>
                  <a:gd name="connsiteX5" fmla="*/ 16150 w 15902"/>
                  <a:gd name="connsiteY5" fmla="*/ 308355 h 316256"/>
                  <a:gd name="connsiteX6" fmla="*/ 8199 w 15902"/>
                  <a:gd name="connsiteY6" fmla="*/ 316295 h 31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02" h="316256">
                    <a:moveTo>
                      <a:pt x="8199" y="316295"/>
                    </a:moveTo>
                    <a:cubicBezTo>
                      <a:pt x="3812" y="316293"/>
                      <a:pt x="255" y="312741"/>
                      <a:pt x="247" y="308355"/>
                    </a:cubicBezTo>
                    <a:lnTo>
                      <a:pt x="247" y="7980"/>
                    </a:lnTo>
                    <a:cubicBezTo>
                      <a:pt x="250" y="3592"/>
                      <a:pt x="3810" y="36"/>
                      <a:pt x="8199" y="38"/>
                    </a:cubicBezTo>
                    <a:cubicBezTo>
                      <a:pt x="12587" y="36"/>
                      <a:pt x="16147" y="3592"/>
                      <a:pt x="16150" y="7980"/>
                    </a:cubicBezTo>
                    <a:lnTo>
                      <a:pt x="16150" y="308355"/>
                    </a:lnTo>
                    <a:cubicBezTo>
                      <a:pt x="16142" y="312741"/>
                      <a:pt x="12585" y="316293"/>
                      <a:pt x="8199" y="316295"/>
                    </a:cubicBezTo>
                  </a:path>
                </a:pathLst>
              </a:custGeom>
              <a:solidFill>
                <a:schemeClr val="bg1"/>
              </a:solidFill>
              <a:ln w="2965" cap="flat">
                <a:noFill/>
                <a:prstDash val="solid"/>
                <a:miter/>
              </a:ln>
            </p:spPr>
            <p:txBody>
              <a:bodyPr rtlCol="0" anchor="ctr"/>
              <a:lstStyle/>
              <a:p>
                <a:endParaRPr lang="de-DE"/>
              </a:p>
            </p:txBody>
          </p:sp>
        </p:grpSp>
        <p:sp>
          <p:nvSpPr>
            <p:cNvPr id="11" name="Freeform: Shape 10">
              <a:extLst>
                <a:ext uri="{FF2B5EF4-FFF2-40B4-BE49-F238E27FC236}">
                  <a16:creationId xmlns:a16="http://schemas.microsoft.com/office/drawing/2014/main" id="{8CE1B83C-BE9B-4B14-96D8-341DE2C98506}"/>
                </a:ext>
              </a:extLst>
            </p:cNvPr>
            <p:cNvSpPr/>
            <p:nvPr/>
          </p:nvSpPr>
          <p:spPr>
            <a:xfrm>
              <a:off x="1458478" y="568690"/>
              <a:ext cx="1075613" cy="93936"/>
            </a:xfrm>
            <a:custGeom>
              <a:avLst/>
              <a:gdLst>
                <a:gd name="connsiteX0" fmla="*/ 28649 w 1075613"/>
                <a:gd name="connsiteY0" fmla="*/ 92452 h 93936"/>
                <a:gd name="connsiteX1" fmla="*/ 27311 w 1075613"/>
                <a:gd name="connsiteY1" fmla="*/ 91433 h 93936"/>
                <a:gd name="connsiteX2" fmla="*/ 27311 w 1075613"/>
                <a:gd name="connsiteY2" fmla="*/ 91114 h 93936"/>
                <a:gd name="connsiteX3" fmla="*/ 27311 w 1075613"/>
                <a:gd name="connsiteY3" fmla="*/ 13384 h 93936"/>
                <a:gd name="connsiteX4" fmla="*/ 26706 w 1075613"/>
                <a:gd name="connsiteY4" fmla="*/ 12581 h 93936"/>
                <a:gd name="connsiteX5" fmla="*/ 26508 w 1075613"/>
                <a:gd name="connsiteY5" fmla="*/ 12581 h 93936"/>
                <a:gd name="connsiteX6" fmla="*/ 1629 w 1075613"/>
                <a:gd name="connsiteY6" fmla="*/ 12581 h 93936"/>
                <a:gd name="connsiteX7" fmla="*/ 291 w 1075613"/>
                <a:gd name="connsiteY7" fmla="*/ 11563 h 93936"/>
                <a:gd name="connsiteX8" fmla="*/ 291 w 1075613"/>
                <a:gd name="connsiteY8" fmla="*/ 11244 h 93936"/>
                <a:gd name="connsiteX9" fmla="*/ 291 w 1075613"/>
                <a:gd name="connsiteY9" fmla="*/ 2832 h 93936"/>
                <a:gd name="connsiteX10" fmla="*/ 1310 w 1075613"/>
                <a:gd name="connsiteY10" fmla="*/ 1494 h 93936"/>
                <a:gd name="connsiteX11" fmla="*/ 1629 w 1075613"/>
                <a:gd name="connsiteY11" fmla="*/ 1494 h 93936"/>
                <a:gd name="connsiteX12" fmla="*/ 64898 w 1075613"/>
                <a:gd name="connsiteY12" fmla="*/ 1494 h 93936"/>
                <a:gd name="connsiteX13" fmla="*/ 66235 w 1075613"/>
                <a:gd name="connsiteY13" fmla="*/ 2513 h 93936"/>
                <a:gd name="connsiteX14" fmla="*/ 66235 w 1075613"/>
                <a:gd name="connsiteY14" fmla="*/ 2832 h 93936"/>
                <a:gd name="connsiteX15" fmla="*/ 66235 w 1075613"/>
                <a:gd name="connsiteY15" fmla="*/ 11259 h 93936"/>
                <a:gd name="connsiteX16" fmla="*/ 65217 w 1075613"/>
                <a:gd name="connsiteY16" fmla="*/ 12596 h 93936"/>
                <a:gd name="connsiteX17" fmla="*/ 64898 w 1075613"/>
                <a:gd name="connsiteY17" fmla="*/ 12596 h 93936"/>
                <a:gd name="connsiteX18" fmla="*/ 40018 w 1075613"/>
                <a:gd name="connsiteY18" fmla="*/ 12596 h 93936"/>
                <a:gd name="connsiteX19" fmla="*/ 39216 w 1075613"/>
                <a:gd name="connsiteY19" fmla="*/ 13201 h 93936"/>
                <a:gd name="connsiteX20" fmla="*/ 39216 w 1075613"/>
                <a:gd name="connsiteY20" fmla="*/ 13399 h 93936"/>
                <a:gd name="connsiteX21" fmla="*/ 39216 w 1075613"/>
                <a:gd name="connsiteY21" fmla="*/ 91114 h 93936"/>
                <a:gd name="connsiteX22" fmla="*/ 38197 w 1075613"/>
                <a:gd name="connsiteY22" fmla="*/ 92452 h 93936"/>
                <a:gd name="connsiteX23" fmla="*/ 37878 w 1075613"/>
                <a:gd name="connsiteY23" fmla="*/ 92452 h 93936"/>
                <a:gd name="connsiteX24" fmla="*/ 133116 w 1075613"/>
                <a:gd name="connsiteY24" fmla="*/ 92452 h 93936"/>
                <a:gd name="connsiteX25" fmla="*/ 131377 w 1075613"/>
                <a:gd name="connsiteY25" fmla="*/ 91114 h 93936"/>
                <a:gd name="connsiteX26" fmla="*/ 113186 w 1075613"/>
                <a:gd name="connsiteY26" fmla="*/ 53929 h 93936"/>
                <a:gd name="connsiteX27" fmla="*/ 93122 w 1075613"/>
                <a:gd name="connsiteY27" fmla="*/ 53929 h 93936"/>
                <a:gd name="connsiteX28" fmla="*/ 92319 w 1075613"/>
                <a:gd name="connsiteY28" fmla="*/ 54533 h 93936"/>
                <a:gd name="connsiteX29" fmla="*/ 92319 w 1075613"/>
                <a:gd name="connsiteY29" fmla="*/ 54731 h 93936"/>
                <a:gd name="connsiteX30" fmla="*/ 92319 w 1075613"/>
                <a:gd name="connsiteY30" fmla="*/ 91114 h 93936"/>
                <a:gd name="connsiteX31" fmla="*/ 91300 w 1075613"/>
                <a:gd name="connsiteY31" fmla="*/ 92452 h 93936"/>
                <a:gd name="connsiteX32" fmla="*/ 90981 w 1075613"/>
                <a:gd name="connsiteY32" fmla="*/ 92452 h 93936"/>
                <a:gd name="connsiteX33" fmla="*/ 81767 w 1075613"/>
                <a:gd name="connsiteY33" fmla="*/ 92452 h 93936"/>
                <a:gd name="connsiteX34" fmla="*/ 80429 w 1075613"/>
                <a:gd name="connsiteY34" fmla="*/ 91433 h 93936"/>
                <a:gd name="connsiteX35" fmla="*/ 80429 w 1075613"/>
                <a:gd name="connsiteY35" fmla="*/ 91114 h 93936"/>
                <a:gd name="connsiteX36" fmla="*/ 80429 w 1075613"/>
                <a:gd name="connsiteY36" fmla="*/ 2832 h 93936"/>
                <a:gd name="connsiteX37" fmla="*/ 81448 w 1075613"/>
                <a:gd name="connsiteY37" fmla="*/ 1494 h 93936"/>
                <a:gd name="connsiteX38" fmla="*/ 81767 w 1075613"/>
                <a:gd name="connsiteY38" fmla="*/ 1494 h 93936"/>
                <a:gd name="connsiteX39" fmla="*/ 114672 w 1075613"/>
                <a:gd name="connsiteY39" fmla="*/ 1494 h 93936"/>
                <a:gd name="connsiteX40" fmla="*/ 126309 w 1075613"/>
                <a:gd name="connsiteY40" fmla="*/ 3367 h 93936"/>
                <a:gd name="connsiteX41" fmla="*/ 135271 w 1075613"/>
                <a:gd name="connsiteY41" fmla="*/ 8649 h 93936"/>
                <a:gd name="connsiteX42" fmla="*/ 141077 w 1075613"/>
                <a:gd name="connsiteY42" fmla="*/ 16951 h 93936"/>
                <a:gd name="connsiteX43" fmla="*/ 143157 w 1075613"/>
                <a:gd name="connsiteY43" fmla="*/ 27717 h 93936"/>
                <a:gd name="connsiteX44" fmla="*/ 138342 w 1075613"/>
                <a:gd name="connsiteY44" fmla="*/ 43367 h 93936"/>
                <a:gd name="connsiteX45" fmla="*/ 125233 w 1075613"/>
                <a:gd name="connsiteY45" fmla="*/ 52463 h 93936"/>
                <a:gd name="connsiteX46" fmla="*/ 144620 w 1075613"/>
                <a:gd name="connsiteY46" fmla="*/ 90847 h 93936"/>
                <a:gd name="connsiteX47" fmla="*/ 144753 w 1075613"/>
                <a:gd name="connsiteY47" fmla="*/ 91982 h 93936"/>
                <a:gd name="connsiteX48" fmla="*/ 143817 w 1075613"/>
                <a:gd name="connsiteY48" fmla="*/ 92452 h 93936"/>
                <a:gd name="connsiteX49" fmla="*/ 114390 w 1075613"/>
                <a:gd name="connsiteY49" fmla="*/ 42826 h 93936"/>
                <a:gd name="connsiteX50" fmla="*/ 126829 w 1075613"/>
                <a:gd name="connsiteY50" fmla="*/ 38882 h 93936"/>
                <a:gd name="connsiteX51" fmla="*/ 131244 w 1075613"/>
                <a:gd name="connsiteY51" fmla="*/ 27711 h 93936"/>
                <a:gd name="connsiteX52" fmla="*/ 126829 w 1075613"/>
                <a:gd name="connsiteY52" fmla="*/ 16541 h 93936"/>
                <a:gd name="connsiteX53" fmla="*/ 114390 w 1075613"/>
                <a:gd name="connsiteY53" fmla="*/ 12596 h 93936"/>
                <a:gd name="connsiteX54" fmla="*/ 93122 w 1075613"/>
                <a:gd name="connsiteY54" fmla="*/ 12596 h 93936"/>
                <a:gd name="connsiteX55" fmla="*/ 92319 w 1075613"/>
                <a:gd name="connsiteY55" fmla="*/ 13201 h 93936"/>
                <a:gd name="connsiteX56" fmla="*/ 92319 w 1075613"/>
                <a:gd name="connsiteY56" fmla="*/ 13399 h 93936"/>
                <a:gd name="connsiteX57" fmla="*/ 92319 w 1075613"/>
                <a:gd name="connsiteY57" fmla="*/ 42024 h 93936"/>
                <a:gd name="connsiteX58" fmla="*/ 92923 w 1075613"/>
                <a:gd name="connsiteY58" fmla="*/ 42826 h 93936"/>
                <a:gd name="connsiteX59" fmla="*/ 93122 w 1075613"/>
                <a:gd name="connsiteY59" fmla="*/ 42826 h 93936"/>
                <a:gd name="connsiteX60" fmla="*/ 186487 w 1075613"/>
                <a:gd name="connsiteY60" fmla="*/ 2832 h 93936"/>
                <a:gd name="connsiteX61" fmla="*/ 188092 w 1075613"/>
                <a:gd name="connsiteY61" fmla="*/ 1494 h 93936"/>
                <a:gd name="connsiteX62" fmla="*/ 196802 w 1075613"/>
                <a:gd name="connsiteY62" fmla="*/ 1494 h 93936"/>
                <a:gd name="connsiteX63" fmla="*/ 198540 w 1075613"/>
                <a:gd name="connsiteY63" fmla="*/ 2832 h 93936"/>
                <a:gd name="connsiteX64" fmla="*/ 229707 w 1075613"/>
                <a:gd name="connsiteY64" fmla="*/ 91114 h 93936"/>
                <a:gd name="connsiteX65" fmla="*/ 228771 w 1075613"/>
                <a:gd name="connsiteY65" fmla="*/ 92452 h 93936"/>
                <a:gd name="connsiteX66" fmla="*/ 219392 w 1075613"/>
                <a:gd name="connsiteY66" fmla="*/ 92452 h 93936"/>
                <a:gd name="connsiteX67" fmla="*/ 217654 w 1075613"/>
                <a:gd name="connsiteY67" fmla="*/ 91114 h 93936"/>
                <a:gd name="connsiteX68" fmla="*/ 210698 w 1075613"/>
                <a:gd name="connsiteY68" fmla="*/ 71318 h 93936"/>
                <a:gd name="connsiteX69" fmla="*/ 173914 w 1075613"/>
                <a:gd name="connsiteY69" fmla="*/ 71318 h 93936"/>
                <a:gd name="connsiteX70" fmla="*/ 166958 w 1075613"/>
                <a:gd name="connsiteY70" fmla="*/ 91114 h 93936"/>
                <a:gd name="connsiteX71" fmla="*/ 165219 w 1075613"/>
                <a:gd name="connsiteY71" fmla="*/ 92452 h 93936"/>
                <a:gd name="connsiteX72" fmla="*/ 155856 w 1075613"/>
                <a:gd name="connsiteY72" fmla="*/ 92452 h 93936"/>
                <a:gd name="connsiteX73" fmla="*/ 154919 w 1075613"/>
                <a:gd name="connsiteY73" fmla="*/ 91114 h 93936"/>
                <a:gd name="connsiteX74" fmla="*/ 206819 w 1075613"/>
                <a:gd name="connsiteY74" fmla="*/ 60349 h 93936"/>
                <a:gd name="connsiteX75" fmla="*/ 192506 w 1075613"/>
                <a:gd name="connsiteY75" fmla="*/ 19017 h 93936"/>
                <a:gd name="connsiteX76" fmla="*/ 192239 w 1075613"/>
                <a:gd name="connsiteY76" fmla="*/ 19017 h 93936"/>
                <a:gd name="connsiteX77" fmla="*/ 177793 w 1075613"/>
                <a:gd name="connsiteY77" fmla="*/ 60349 h 93936"/>
                <a:gd name="connsiteX78" fmla="*/ 244138 w 1075613"/>
                <a:gd name="connsiteY78" fmla="*/ 2832 h 93936"/>
                <a:gd name="connsiteX79" fmla="*/ 245157 w 1075613"/>
                <a:gd name="connsiteY79" fmla="*/ 1494 h 93936"/>
                <a:gd name="connsiteX80" fmla="*/ 245476 w 1075613"/>
                <a:gd name="connsiteY80" fmla="*/ 1494 h 93936"/>
                <a:gd name="connsiteX81" fmla="*/ 254037 w 1075613"/>
                <a:gd name="connsiteY81" fmla="*/ 1494 h 93936"/>
                <a:gd name="connsiteX82" fmla="*/ 256311 w 1075613"/>
                <a:gd name="connsiteY82" fmla="*/ 2832 h 93936"/>
                <a:gd name="connsiteX83" fmla="*/ 297509 w 1075613"/>
                <a:gd name="connsiteY83" fmla="*/ 71050 h 93936"/>
                <a:gd name="connsiteX84" fmla="*/ 298044 w 1075613"/>
                <a:gd name="connsiteY84" fmla="*/ 71050 h 93936"/>
                <a:gd name="connsiteX85" fmla="*/ 298044 w 1075613"/>
                <a:gd name="connsiteY85" fmla="*/ 2832 h 93936"/>
                <a:gd name="connsiteX86" fmla="*/ 299064 w 1075613"/>
                <a:gd name="connsiteY86" fmla="*/ 1494 h 93936"/>
                <a:gd name="connsiteX87" fmla="*/ 299382 w 1075613"/>
                <a:gd name="connsiteY87" fmla="*/ 1494 h 93936"/>
                <a:gd name="connsiteX88" fmla="*/ 307809 w 1075613"/>
                <a:gd name="connsiteY88" fmla="*/ 1494 h 93936"/>
                <a:gd name="connsiteX89" fmla="*/ 309146 w 1075613"/>
                <a:gd name="connsiteY89" fmla="*/ 2513 h 93936"/>
                <a:gd name="connsiteX90" fmla="*/ 309146 w 1075613"/>
                <a:gd name="connsiteY90" fmla="*/ 2832 h 93936"/>
                <a:gd name="connsiteX91" fmla="*/ 309146 w 1075613"/>
                <a:gd name="connsiteY91" fmla="*/ 91114 h 93936"/>
                <a:gd name="connsiteX92" fmla="*/ 308127 w 1075613"/>
                <a:gd name="connsiteY92" fmla="*/ 92452 h 93936"/>
                <a:gd name="connsiteX93" fmla="*/ 307809 w 1075613"/>
                <a:gd name="connsiteY93" fmla="*/ 92452 h 93936"/>
                <a:gd name="connsiteX94" fmla="*/ 299248 w 1075613"/>
                <a:gd name="connsiteY94" fmla="*/ 92452 h 93936"/>
                <a:gd name="connsiteX95" fmla="*/ 296974 w 1075613"/>
                <a:gd name="connsiteY95" fmla="*/ 91114 h 93936"/>
                <a:gd name="connsiteX96" fmla="*/ 255657 w 1075613"/>
                <a:gd name="connsiteY96" fmla="*/ 23164 h 93936"/>
                <a:gd name="connsiteX97" fmla="*/ 255240 w 1075613"/>
                <a:gd name="connsiteY97" fmla="*/ 23164 h 93936"/>
                <a:gd name="connsiteX98" fmla="*/ 255240 w 1075613"/>
                <a:gd name="connsiteY98" fmla="*/ 91114 h 93936"/>
                <a:gd name="connsiteX99" fmla="*/ 254222 w 1075613"/>
                <a:gd name="connsiteY99" fmla="*/ 92452 h 93936"/>
                <a:gd name="connsiteX100" fmla="*/ 253903 w 1075613"/>
                <a:gd name="connsiteY100" fmla="*/ 92452 h 93936"/>
                <a:gd name="connsiteX101" fmla="*/ 245476 w 1075613"/>
                <a:gd name="connsiteY101" fmla="*/ 92452 h 93936"/>
                <a:gd name="connsiteX102" fmla="*/ 244138 w 1075613"/>
                <a:gd name="connsiteY102" fmla="*/ 91433 h 93936"/>
                <a:gd name="connsiteX103" fmla="*/ 244138 w 1075613"/>
                <a:gd name="connsiteY103" fmla="*/ 91114 h 93936"/>
                <a:gd name="connsiteX104" fmla="*/ 359173 w 1075613"/>
                <a:gd name="connsiteY104" fmla="*/ 93923 h 93936"/>
                <a:gd name="connsiteX105" fmla="*/ 349661 w 1075613"/>
                <a:gd name="connsiteY105" fmla="*/ 92987 h 93936"/>
                <a:gd name="connsiteX106" fmla="*/ 340833 w 1075613"/>
                <a:gd name="connsiteY106" fmla="*/ 90511 h 93936"/>
                <a:gd name="connsiteX107" fmla="*/ 333238 w 1075613"/>
                <a:gd name="connsiteY107" fmla="*/ 86899 h 93936"/>
                <a:gd name="connsiteX108" fmla="*/ 327219 w 1075613"/>
                <a:gd name="connsiteY108" fmla="*/ 82554 h 93936"/>
                <a:gd name="connsiteX109" fmla="*/ 327023 w 1075613"/>
                <a:gd name="connsiteY109" fmla="*/ 80617 h 93936"/>
                <a:gd name="connsiteX110" fmla="*/ 327085 w 1075613"/>
                <a:gd name="connsiteY110" fmla="*/ 80547 h 93936"/>
                <a:gd name="connsiteX111" fmla="*/ 332971 w 1075613"/>
                <a:gd name="connsiteY111" fmla="*/ 73592 h 93936"/>
                <a:gd name="connsiteX112" fmla="*/ 334680 w 1075613"/>
                <a:gd name="connsiteY112" fmla="*/ 73317 h 93936"/>
                <a:gd name="connsiteX113" fmla="*/ 334843 w 1075613"/>
                <a:gd name="connsiteY113" fmla="*/ 73458 h 93936"/>
                <a:gd name="connsiteX114" fmla="*/ 345812 w 1075613"/>
                <a:gd name="connsiteY114" fmla="*/ 79878 h 93936"/>
                <a:gd name="connsiteX115" fmla="*/ 360258 w 1075613"/>
                <a:gd name="connsiteY115" fmla="*/ 82821 h 93936"/>
                <a:gd name="connsiteX116" fmla="*/ 375037 w 1075613"/>
                <a:gd name="connsiteY116" fmla="*/ 78541 h 93936"/>
                <a:gd name="connsiteX117" fmla="*/ 380322 w 1075613"/>
                <a:gd name="connsiteY117" fmla="*/ 67305 h 93936"/>
                <a:gd name="connsiteX118" fmla="*/ 379386 w 1075613"/>
                <a:gd name="connsiteY118" fmla="*/ 61954 h 93936"/>
                <a:gd name="connsiteX119" fmla="*/ 376241 w 1075613"/>
                <a:gd name="connsiteY119" fmla="*/ 57674 h 93936"/>
                <a:gd name="connsiteX120" fmla="*/ 370424 w 1075613"/>
                <a:gd name="connsiteY120" fmla="*/ 54464 h 93936"/>
                <a:gd name="connsiteX121" fmla="*/ 361328 w 1075613"/>
                <a:gd name="connsiteY121" fmla="*/ 52457 h 93936"/>
                <a:gd name="connsiteX122" fmla="*/ 356780 w 1075613"/>
                <a:gd name="connsiteY122" fmla="*/ 51788 h 93936"/>
                <a:gd name="connsiteX123" fmla="*/ 330028 w 1075613"/>
                <a:gd name="connsiteY123" fmla="*/ 26641 h 93936"/>
                <a:gd name="connsiteX124" fmla="*/ 332109 w 1075613"/>
                <a:gd name="connsiteY124" fmla="*/ 15673 h 93936"/>
                <a:gd name="connsiteX125" fmla="*/ 338054 w 1075613"/>
                <a:gd name="connsiteY125" fmla="*/ 7246 h 93936"/>
                <a:gd name="connsiteX126" fmla="*/ 347417 w 1075613"/>
                <a:gd name="connsiteY126" fmla="*/ 1895 h 93936"/>
                <a:gd name="connsiteX127" fmla="*/ 359723 w 1075613"/>
                <a:gd name="connsiteY127" fmla="*/ 23 h 93936"/>
                <a:gd name="connsiteX128" fmla="*/ 375040 w 1075613"/>
                <a:gd name="connsiteY128" fmla="*/ 2362 h 93936"/>
                <a:gd name="connsiteX129" fmla="*/ 387397 w 1075613"/>
                <a:gd name="connsiteY129" fmla="*/ 8450 h 93936"/>
                <a:gd name="connsiteX130" fmla="*/ 387855 w 1075613"/>
                <a:gd name="connsiteY130" fmla="*/ 10067 h 93936"/>
                <a:gd name="connsiteX131" fmla="*/ 387664 w 1075613"/>
                <a:gd name="connsiteY131" fmla="*/ 10322 h 93936"/>
                <a:gd name="connsiteX132" fmla="*/ 383116 w 1075613"/>
                <a:gd name="connsiteY132" fmla="*/ 17679 h 93936"/>
                <a:gd name="connsiteX133" fmla="*/ 381300 w 1075613"/>
                <a:gd name="connsiteY133" fmla="*/ 17990 h 93936"/>
                <a:gd name="connsiteX134" fmla="*/ 381244 w 1075613"/>
                <a:gd name="connsiteY134" fmla="*/ 17947 h 93936"/>
                <a:gd name="connsiteX135" fmla="*/ 370409 w 1075613"/>
                <a:gd name="connsiteY135" fmla="*/ 12790 h 93936"/>
                <a:gd name="connsiteX136" fmla="*/ 359307 w 1075613"/>
                <a:gd name="connsiteY136" fmla="*/ 11119 h 93936"/>
                <a:gd name="connsiteX137" fmla="*/ 346466 w 1075613"/>
                <a:gd name="connsiteY137" fmla="*/ 15197 h 93936"/>
                <a:gd name="connsiteX138" fmla="*/ 342052 w 1075613"/>
                <a:gd name="connsiteY138" fmla="*/ 25830 h 93936"/>
                <a:gd name="connsiteX139" fmla="*/ 346332 w 1075613"/>
                <a:gd name="connsiteY139" fmla="*/ 35259 h 93936"/>
                <a:gd name="connsiteX140" fmla="*/ 361180 w 1075613"/>
                <a:gd name="connsiteY140" fmla="*/ 40434 h 93936"/>
                <a:gd name="connsiteX141" fmla="*/ 365594 w 1075613"/>
                <a:gd name="connsiteY141" fmla="*/ 41102 h 93936"/>
                <a:gd name="connsiteX142" fmla="*/ 385658 w 1075613"/>
                <a:gd name="connsiteY142" fmla="*/ 49128 h 93936"/>
                <a:gd name="connsiteX143" fmla="*/ 392346 w 1075613"/>
                <a:gd name="connsiteY143" fmla="*/ 66517 h 93936"/>
                <a:gd name="connsiteX144" fmla="*/ 390265 w 1075613"/>
                <a:gd name="connsiteY144" fmla="*/ 77551 h 93936"/>
                <a:gd name="connsiteX145" fmla="*/ 383979 w 1075613"/>
                <a:gd name="connsiteY145" fmla="*/ 86171 h 93936"/>
                <a:gd name="connsiteX146" fmla="*/ 373545 w 1075613"/>
                <a:gd name="connsiteY146" fmla="*/ 91857 h 93936"/>
                <a:gd name="connsiteX147" fmla="*/ 359173 w 1075613"/>
                <a:gd name="connsiteY147" fmla="*/ 93923 h 93936"/>
                <a:gd name="connsiteX148" fmla="*/ 412009 w 1075613"/>
                <a:gd name="connsiteY148" fmla="*/ 92452 h 93936"/>
                <a:gd name="connsiteX149" fmla="*/ 410671 w 1075613"/>
                <a:gd name="connsiteY149" fmla="*/ 91433 h 93936"/>
                <a:gd name="connsiteX150" fmla="*/ 410671 w 1075613"/>
                <a:gd name="connsiteY150" fmla="*/ 91114 h 93936"/>
                <a:gd name="connsiteX151" fmla="*/ 410671 w 1075613"/>
                <a:gd name="connsiteY151" fmla="*/ 2832 h 93936"/>
                <a:gd name="connsiteX152" fmla="*/ 411691 w 1075613"/>
                <a:gd name="connsiteY152" fmla="*/ 1494 h 93936"/>
                <a:gd name="connsiteX153" fmla="*/ 412009 w 1075613"/>
                <a:gd name="connsiteY153" fmla="*/ 1494 h 93936"/>
                <a:gd name="connsiteX154" fmla="*/ 444379 w 1075613"/>
                <a:gd name="connsiteY154" fmla="*/ 1494 h 93936"/>
                <a:gd name="connsiteX155" fmla="*/ 456284 w 1075613"/>
                <a:gd name="connsiteY155" fmla="*/ 3435 h 93936"/>
                <a:gd name="connsiteX156" fmla="*/ 465380 w 1075613"/>
                <a:gd name="connsiteY156" fmla="*/ 8919 h 93936"/>
                <a:gd name="connsiteX157" fmla="*/ 471200 w 1075613"/>
                <a:gd name="connsiteY157" fmla="*/ 17480 h 93936"/>
                <a:gd name="connsiteX158" fmla="*/ 473281 w 1075613"/>
                <a:gd name="connsiteY158" fmla="*/ 28651 h 93936"/>
                <a:gd name="connsiteX159" fmla="*/ 471200 w 1075613"/>
                <a:gd name="connsiteY159" fmla="*/ 39818 h 93936"/>
                <a:gd name="connsiteX160" fmla="*/ 465380 w 1075613"/>
                <a:gd name="connsiteY160" fmla="*/ 48379 h 93936"/>
                <a:gd name="connsiteX161" fmla="*/ 456284 w 1075613"/>
                <a:gd name="connsiteY161" fmla="*/ 53863 h 93936"/>
                <a:gd name="connsiteX162" fmla="*/ 444379 w 1075613"/>
                <a:gd name="connsiteY162" fmla="*/ 55804 h 93936"/>
                <a:gd name="connsiteX163" fmla="*/ 423379 w 1075613"/>
                <a:gd name="connsiteY163" fmla="*/ 55804 h 93936"/>
                <a:gd name="connsiteX164" fmla="*/ 422576 w 1075613"/>
                <a:gd name="connsiteY164" fmla="*/ 56409 h 93936"/>
                <a:gd name="connsiteX165" fmla="*/ 422576 w 1075613"/>
                <a:gd name="connsiteY165" fmla="*/ 56607 h 93936"/>
                <a:gd name="connsiteX166" fmla="*/ 422576 w 1075613"/>
                <a:gd name="connsiteY166" fmla="*/ 91114 h 93936"/>
                <a:gd name="connsiteX167" fmla="*/ 421557 w 1075613"/>
                <a:gd name="connsiteY167" fmla="*/ 92452 h 93936"/>
                <a:gd name="connsiteX168" fmla="*/ 421239 w 1075613"/>
                <a:gd name="connsiteY168" fmla="*/ 92452 h 93936"/>
                <a:gd name="connsiteX169" fmla="*/ 443710 w 1075613"/>
                <a:gd name="connsiteY169" fmla="*/ 44699 h 93936"/>
                <a:gd name="connsiteX170" fmla="*/ 456819 w 1075613"/>
                <a:gd name="connsiteY170" fmla="*/ 40419 h 93936"/>
                <a:gd name="connsiteX171" fmla="*/ 461501 w 1075613"/>
                <a:gd name="connsiteY171" fmla="*/ 28648 h 93936"/>
                <a:gd name="connsiteX172" fmla="*/ 456819 w 1075613"/>
                <a:gd name="connsiteY172" fmla="*/ 16877 h 93936"/>
                <a:gd name="connsiteX173" fmla="*/ 443710 w 1075613"/>
                <a:gd name="connsiteY173" fmla="*/ 12596 h 93936"/>
                <a:gd name="connsiteX174" fmla="*/ 423379 w 1075613"/>
                <a:gd name="connsiteY174" fmla="*/ 12596 h 93936"/>
                <a:gd name="connsiteX175" fmla="*/ 422576 w 1075613"/>
                <a:gd name="connsiteY175" fmla="*/ 13201 h 93936"/>
                <a:gd name="connsiteX176" fmla="*/ 422576 w 1075613"/>
                <a:gd name="connsiteY176" fmla="*/ 13399 h 93936"/>
                <a:gd name="connsiteX177" fmla="*/ 422576 w 1075613"/>
                <a:gd name="connsiteY177" fmla="*/ 43897 h 93936"/>
                <a:gd name="connsiteX178" fmla="*/ 423180 w 1075613"/>
                <a:gd name="connsiteY178" fmla="*/ 44699 h 93936"/>
                <a:gd name="connsiteX179" fmla="*/ 423379 w 1075613"/>
                <a:gd name="connsiteY179" fmla="*/ 44699 h 93936"/>
                <a:gd name="connsiteX180" fmla="*/ 519955 w 1075613"/>
                <a:gd name="connsiteY180" fmla="*/ 93923 h 93936"/>
                <a:gd name="connsiteX181" fmla="*/ 500491 w 1075613"/>
                <a:gd name="connsiteY181" fmla="*/ 88573 h 93936"/>
                <a:gd name="connsiteX182" fmla="*/ 489053 w 1075613"/>
                <a:gd name="connsiteY182" fmla="*/ 72655 h 93936"/>
                <a:gd name="connsiteX183" fmla="*/ 487917 w 1075613"/>
                <a:gd name="connsiteY183" fmla="*/ 68494 h 93936"/>
                <a:gd name="connsiteX184" fmla="*/ 487183 w 1075613"/>
                <a:gd name="connsiteY184" fmla="*/ 63479 h 93936"/>
                <a:gd name="connsiteX185" fmla="*/ 486782 w 1075613"/>
                <a:gd name="connsiteY185" fmla="*/ 56589 h 93936"/>
                <a:gd name="connsiteX186" fmla="*/ 486648 w 1075613"/>
                <a:gd name="connsiteY186" fmla="*/ 46958 h 93936"/>
                <a:gd name="connsiteX187" fmla="*/ 486782 w 1075613"/>
                <a:gd name="connsiteY187" fmla="*/ 37327 h 93936"/>
                <a:gd name="connsiteX188" fmla="*/ 487183 w 1075613"/>
                <a:gd name="connsiteY188" fmla="*/ 30440 h 93936"/>
                <a:gd name="connsiteX189" fmla="*/ 487917 w 1075613"/>
                <a:gd name="connsiteY189" fmla="*/ 25426 h 93936"/>
                <a:gd name="connsiteX190" fmla="*/ 489053 w 1075613"/>
                <a:gd name="connsiteY190" fmla="*/ 21264 h 93936"/>
                <a:gd name="connsiteX191" fmla="*/ 500494 w 1075613"/>
                <a:gd name="connsiteY191" fmla="*/ 5358 h 93936"/>
                <a:gd name="connsiteX192" fmla="*/ 539552 w 1075613"/>
                <a:gd name="connsiteY192" fmla="*/ 5358 h 93936"/>
                <a:gd name="connsiteX193" fmla="*/ 550990 w 1075613"/>
                <a:gd name="connsiteY193" fmla="*/ 21276 h 93936"/>
                <a:gd name="connsiteX194" fmla="*/ 552126 w 1075613"/>
                <a:gd name="connsiteY194" fmla="*/ 25437 h 93936"/>
                <a:gd name="connsiteX195" fmla="*/ 552863 w 1075613"/>
                <a:gd name="connsiteY195" fmla="*/ 30455 h 93936"/>
                <a:gd name="connsiteX196" fmla="*/ 553264 w 1075613"/>
                <a:gd name="connsiteY196" fmla="*/ 37342 h 93936"/>
                <a:gd name="connsiteX197" fmla="*/ 553398 w 1075613"/>
                <a:gd name="connsiteY197" fmla="*/ 46973 h 93936"/>
                <a:gd name="connsiteX198" fmla="*/ 553264 w 1075613"/>
                <a:gd name="connsiteY198" fmla="*/ 56604 h 93936"/>
                <a:gd name="connsiteX199" fmla="*/ 552863 w 1075613"/>
                <a:gd name="connsiteY199" fmla="*/ 63494 h 93936"/>
                <a:gd name="connsiteX200" fmla="*/ 552126 w 1075613"/>
                <a:gd name="connsiteY200" fmla="*/ 68512 h 93936"/>
                <a:gd name="connsiteX201" fmla="*/ 550990 w 1075613"/>
                <a:gd name="connsiteY201" fmla="*/ 72673 h 93936"/>
                <a:gd name="connsiteX202" fmla="*/ 539552 w 1075613"/>
                <a:gd name="connsiteY202" fmla="*/ 88591 h 93936"/>
                <a:gd name="connsiteX203" fmla="*/ 519955 w 1075613"/>
                <a:gd name="connsiteY203" fmla="*/ 93923 h 93936"/>
                <a:gd name="connsiteX204" fmla="*/ 519955 w 1075613"/>
                <a:gd name="connsiteY204" fmla="*/ 82821 h 93936"/>
                <a:gd name="connsiteX205" fmla="*/ 532394 w 1075613"/>
                <a:gd name="connsiteY205" fmla="*/ 79343 h 93936"/>
                <a:gd name="connsiteX206" fmla="*/ 539350 w 1075613"/>
                <a:gd name="connsiteY206" fmla="*/ 69311 h 93936"/>
                <a:gd name="connsiteX207" fmla="*/ 540087 w 1075613"/>
                <a:gd name="connsiteY207" fmla="*/ 66300 h 93936"/>
                <a:gd name="connsiteX208" fmla="*/ 540756 w 1075613"/>
                <a:gd name="connsiteY208" fmla="*/ 61821 h 93936"/>
                <a:gd name="connsiteX209" fmla="*/ 541226 w 1075613"/>
                <a:gd name="connsiteY209" fmla="*/ 55534 h 93936"/>
                <a:gd name="connsiteX210" fmla="*/ 541359 w 1075613"/>
                <a:gd name="connsiteY210" fmla="*/ 46973 h 93936"/>
                <a:gd name="connsiteX211" fmla="*/ 541226 w 1075613"/>
                <a:gd name="connsiteY211" fmla="*/ 38412 h 93936"/>
                <a:gd name="connsiteX212" fmla="*/ 540756 w 1075613"/>
                <a:gd name="connsiteY212" fmla="*/ 32126 h 93936"/>
                <a:gd name="connsiteX213" fmla="*/ 540087 w 1075613"/>
                <a:gd name="connsiteY213" fmla="*/ 27646 h 93936"/>
                <a:gd name="connsiteX214" fmla="*/ 539350 w 1075613"/>
                <a:gd name="connsiteY214" fmla="*/ 24635 h 93936"/>
                <a:gd name="connsiteX215" fmla="*/ 532394 w 1075613"/>
                <a:gd name="connsiteY215" fmla="*/ 14603 h 93936"/>
                <a:gd name="connsiteX216" fmla="*/ 519955 w 1075613"/>
                <a:gd name="connsiteY216" fmla="*/ 11125 h 93936"/>
                <a:gd name="connsiteX217" fmla="*/ 507580 w 1075613"/>
                <a:gd name="connsiteY217" fmla="*/ 14603 h 93936"/>
                <a:gd name="connsiteX218" fmla="*/ 500693 w 1075613"/>
                <a:gd name="connsiteY218" fmla="*/ 24635 h 93936"/>
                <a:gd name="connsiteX219" fmla="*/ 499959 w 1075613"/>
                <a:gd name="connsiteY219" fmla="*/ 27646 h 93936"/>
                <a:gd name="connsiteX220" fmla="*/ 499290 w 1075613"/>
                <a:gd name="connsiteY220" fmla="*/ 32126 h 93936"/>
                <a:gd name="connsiteX221" fmla="*/ 498820 w 1075613"/>
                <a:gd name="connsiteY221" fmla="*/ 38412 h 93936"/>
                <a:gd name="connsiteX222" fmla="*/ 498686 w 1075613"/>
                <a:gd name="connsiteY222" fmla="*/ 46973 h 93936"/>
                <a:gd name="connsiteX223" fmla="*/ 498820 w 1075613"/>
                <a:gd name="connsiteY223" fmla="*/ 55534 h 93936"/>
                <a:gd name="connsiteX224" fmla="*/ 499290 w 1075613"/>
                <a:gd name="connsiteY224" fmla="*/ 61821 h 93936"/>
                <a:gd name="connsiteX225" fmla="*/ 499959 w 1075613"/>
                <a:gd name="connsiteY225" fmla="*/ 66300 h 93936"/>
                <a:gd name="connsiteX226" fmla="*/ 500693 w 1075613"/>
                <a:gd name="connsiteY226" fmla="*/ 69311 h 93936"/>
                <a:gd name="connsiteX227" fmla="*/ 507580 w 1075613"/>
                <a:gd name="connsiteY227" fmla="*/ 79343 h 93936"/>
                <a:gd name="connsiteX228" fmla="*/ 519955 w 1075613"/>
                <a:gd name="connsiteY228" fmla="*/ 82821 h 93936"/>
                <a:gd name="connsiteX229" fmla="*/ 625359 w 1075613"/>
                <a:gd name="connsiteY229" fmla="*/ 92452 h 93936"/>
                <a:gd name="connsiteX230" fmla="*/ 623620 w 1075613"/>
                <a:gd name="connsiteY230" fmla="*/ 91114 h 93936"/>
                <a:gd name="connsiteX231" fmla="*/ 605428 w 1075613"/>
                <a:gd name="connsiteY231" fmla="*/ 53929 h 93936"/>
                <a:gd name="connsiteX232" fmla="*/ 585364 w 1075613"/>
                <a:gd name="connsiteY232" fmla="*/ 53929 h 93936"/>
                <a:gd name="connsiteX233" fmla="*/ 584561 w 1075613"/>
                <a:gd name="connsiteY233" fmla="*/ 54533 h 93936"/>
                <a:gd name="connsiteX234" fmla="*/ 584561 w 1075613"/>
                <a:gd name="connsiteY234" fmla="*/ 54731 h 93936"/>
                <a:gd name="connsiteX235" fmla="*/ 584561 w 1075613"/>
                <a:gd name="connsiteY235" fmla="*/ 91114 h 93936"/>
                <a:gd name="connsiteX236" fmla="*/ 583542 w 1075613"/>
                <a:gd name="connsiteY236" fmla="*/ 92452 h 93936"/>
                <a:gd name="connsiteX237" fmla="*/ 583224 w 1075613"/>
                <a:gd name="connsiteY237" fmla="*/ 92452 h 93936"/>
                <a:gd name="connsiteX238" fmla="*/ 573994 w 1075613"/>
                <a:gd name="connsiteY238" fmla="*/ 92452 h 93936"/>
                <a:gd name="connsiteX239" fmla="*/ 572657 w 1075613"/>
                <a:gd name="connsiteY239" fmla="*/ 91433 h 93936"/>
                <a:gd name="connsiteX240" fmla="*/ 572657 w 1075613"/>
                <a:gd name="connsiteY240" fmla="*/ 91114 h 93936"/>
                <a:gd name="connsiteX241" fmla="*/ 572657 w 1075613"/>
                <a:gd name="connsiteY241" fmla="*/ 2832 h 93936"/>
                <a:gd name="connsiteX242" fmla="*/ 573676 w 1075613"/>
                <a:gd name="connsiteY242" fmla="*/ 1494 h 93936"/>
                <a:gd name="connsiteX243" fmla="*/ 573994 w 1075613"/>
                <a:gd name="connsiteY243" fmla="*/ 1494 h 93936"/>
                <a:gd name="connsiteX244" fmla="*/ 606900 w 1075613"/>
                <a:gd name="connsiteY244" fmla="*/ 1494 h 93936"/>
                <a:gd name="connsiteX245" fmla="*/ 618537 w 1075613"/>
                <a:gd name="connsiteY245" fmla="*/ 3367 h 93936"/>
                <a:gd name="connsiteX246" fmla="*/ 627499 w 1075613"/>
                <a:gd name="connsiteY246" fmla="*/ 8652 h 93936"/>
                <a:gd name="connsiteX247" fmla="*/ 633319 w 1075613"/>
                <a:gd name="connsiteY247" fmla="*/ 16945 h 93936"/>
                <a:gd name="connsiteX248" fmla="*/ 635400 w 1075613"/>
                <a:gd name="connsiteY248" fmla="*/ 27711 h 93936"/>
                <a:gd name="connsiteX249" fmla="*/ 630584 w 1075613"/>
                <a:gd name="connsiteY249" fmla="*/ 43361 h 93936"/>
                <a:gd name="connsiteX250" fmla="*/ 617476 w 1075613"/>
                <a:gd name="connsiteY250" fmla="*/ 52457 h 93936"/>
                <a:gd name="connsiteX251" fmla="*/ 636871 w 1075613"/>
                <a:gd name="connsiteY251" fmla="*/ 90847 h 93936"/>
                <a:gd name="connsiteX252" fmla="*/ 637005 w 1075613"/>
                <a:gd name="connsiteY252" fmla="*/ 91982 h 93936"/>
                <a:gd name="connsiteX253" fmla="*/ 636068 w 1075613"/>
                <a:gd name="connsiteY253" fmla="*/ 92452 h 93936"/>
                <a:gd name="connsiteX254" fmla="*/ 606632 w 1075613"/>
                <a:gd name="connsiteY254" fmla="*/ 42826 h 93936"/>
                <a:gd name="connsiteX255" fmla="*/ 619072 w 1075613"/>
                <a:gd name="connsiteY255" fmla="*/ 38882 h 93936"/>
                <a:gd name="connsiteX256" fmla="*/ 623486 w 1075613"/>
                <a:gd name="connsiteY256" fmla="*/ 27711 h 93936"/>
                <a:gd name="connsiteX257" fmla="*/ 619072 w 1075613"/>
                <a:gd name="connsiteY257" fmla="*/ 16544 h 93936"/>
                <a:gd name="connsiteX258" fmla="*/ 606632 w 1075613"/>
                <a:gd name="connsiteY258" fmla="*/ 12599 h 93936"/>
                <a:gd name="connsiteX259" fmla="*/ 585364 w 1075613"/>
                <a:gd name="connsiteY259" fmla="*/ 12599 h 93936"/>
                <a:gd name="connsiteX260" fmla="*/ 584561 w 1075613"/>
                <a:gd name="connsiteY260" fmla="*/ 13204 h 93936"/>
                <a:gd name="connsiteX261" fmla="*/ 584561 w 1075613"/>
                <a:gd name="connsiteY261" fmla="*/ 13402 h 93936"/>
                <a:gd name="connsiteX262" fmla="*/ 584561 w 1075613"/>
                <a:gd name="connsiteY262" fmla="*/ 42027 h 93936"/>
                <a:gd name="connsiteX263" fmla="*/ 585165 w 1075613"/>
                <a:gd name="connsiteY263" fmla="*/ 42829 h 93936"/>
                <a:gd name="connsiteX264" fmla="*/ 585364 w 1075613"/>
                <a:gd name="connsiteY264" fmla="*/ 42829 h 93936"/>
                <a:gd name="connsiteX265" fmla="*/ 674717 w 1075613"/>
                <a:gd name="connsiteY265" fmla="*/ 92452 h 93936"/>
                <a:gd name="connsiteX266" fmla="*/ 673379 w 1075613"/>
                <a:gd name="connsiteY266" fmla="*/ 91433 h 93936"/>
                <a:gd name="connsiteX267" fmla="*/ 673379 w 1075613"/>
                <a:gd name="connsiteY267" fmla="*/ 91114 h 93936"/>
                <a:gd name="connsiteX268" fmla="*/ 673379 w 1075613"/>
                <a:gd name="connsiteY268" fmla="*/ 13384 h 93936"/>
                <a:gd name="connsiteX269" fmla="*/ 672776 w 1075613"/>
                <a:gd name="connsiteY269" fmla="*/ 12581 h 93936"/>
                <a:gd name="connsiteX270" fmla="*/ 672576 w 1075613"/>
                <a:gd name="connsiteY270" fmla="*/ 12581 h 93936"/>
                <a:gd name="connsiteX271" fmla="*/ 647697 w 1075613"/>
                <a:gd name="connsiteY271" fmla="*/ 12581 h 93936"/>
                <a:gd name="connsiteX272" fmla="*/ 646359 w 1075613"/>
                <a:gd name="connsiteY272" fmla="*/ 11563 h 93936"/>
                <a:gd name="connsiteX273" fmla="*/ 646359 w 1075613"/>
                <a:gd name="connsiteY273" fmla="*/ 11244 h 93936"/>
                <a:gd name="connsiteX274" fmla="*/ 646359 w 1075613"/>
                <a:gd name="connsiteY274" fmla="*/ 2832 h 93936"/>
                <a:gd name="connsiteX275" fmla="*/ 647379 w 1075613"/>
                <a:gd name="connsiteY275" fmla="*/ 1494 h 93936"/>
                <a:gd name="connsiteX276" fmla="*/ 647697 w 1075613"/>
                <a:gd name="connsiteY276" fmla="*/ 1494 h 93936"/>
                <a:gd name="connsiteX277" fmla="*/ 710966 w 1075613"/>
                <a:gd name="connsiteY277" fmla="*/ 1494 h 93936"/>
                <a:gd name="connsiteX278" fmla="*/ 712304 w 1075613"/>
                <a:gd name="connsiteY278" fmla="*/ 2513 h 93936"/>
                <a:gd name="connsiteX279" fmla="*/ 712304 w 1075613"/>
                <a:gd name="connsiteY279" fmla="*/ 2832 h 93936"/>
                <a:gd name="connsiteX280" fmla="*/ 712304 w 1075613"/>
                <a:gd name="connsiteY280" fmla="*/ 11259 h 93936"/>
                <a:gd name="connsiteX281" fmla="*/ 711284 w 1075613"/>
                <a:gd name="connsiteY281" fmla="*/ 12596 h 93936"/>
                <a:gd name="connsiteX282" fmla="*/ 710966 w 1075613"/>
                <a:gd name="connsiteY282" fmla="*/ 12596 h 93936"/>
                <a:gd name="connsiteX283" fmla="*/ 686086 w 1075613"/>
                <a:gd name="connsiteY283" fmla="*/ 12596 h 93936"/>
                <a:gd name="connsiteX284" fmla="*/ 685284 w 1075613"/>
                <a:gd name="connsiteY284" fmla="*/ 13201 h 93936"/>
                <a:gd name="connsiteX285" fmla="*/ 685284 w 1075613"/>
                <a:gd name="connsiteY285" fmla="*/ 13399 h 93936"/>
                <a:gd name="connsiteX286" fmla="*/ 685284 w 1075613"/>
                <a:gd name="connsiteY286" fmla="*/ 91114 h 93936"/>
                <a:gd name="connsiteX287" fmla="*/ 684264 w 1075613"/>
                <a:gd name="connsiteY287" fmla="*/ 92452 h 93936"/>
                <a:gd name="connsiteX288" fmla="*/ 683946 w 1075613"/>
                <a:gd name="connsiteY288" fmla="*/ 92452 h 93936"/>
                <a:gd name="connsiteX289" fmla="*/ 740393 w 1075613"/>
                <a:gd name="connsiteY289" fmla="*/ 2832 h 93936"/>
                <a:gd name="connsiteX290" fmla="*/ 741999 w 1075613"/>
                <a:gd name="connsiteY290" fmla="*/ 1494 h 93936"/>
                <a:gd name="connsiteX291" fmla="*/ 750693 w 1075613"/>
                <a:gd name="connsiteY291" fmla="*/ 1494 h 93936"/>
                <a:gd name="connsiteX292" fmla="*/ 752432 w 1075613"/>
                <a:gd name="connsiteY292" fmla="*/ 2832 h 93936"/>
                <a:gd name="connsiteX293" fmla="*/ 783598 w 1075613"/>
                <a:gd name="connsiteY293" fmla="*/ 91114 h 93936"/>
                <a:gd name="connsiteX294" fmla="*/ 782662 w 1075613"/>
                <a:gd name="connsiteY294" fmla="*/ 92452 h 93936"/>
                <a:gd name="connsiteX295" fmla="*/ 773299 w 1075613"/>
                <a:gd name="connsiteY295" fmla="*/ 92452 h 93936"/>
                <a:gd name="connsiteX296" fmla="*/ 771560 w 1075613"/>
                <a:gd name="connsiteY296" fmla="*/ 91114 h 93936"/>
                <a:gd name="connsiteX297" fmla="*/ 764604 w 1075613"/>
                <a:gd name="connsiteY297" fmla="*/ 71318 h 93936"/>
                <a:gd name="connsiteX298" fmla="*/ 727820 w 1075613"/>
                <a:gd name="connsiteY298" fmla="*/ 71318 h 93936"/>
                <a:gd name="connsiteX299" fmla="*/ 720864 w 1075613"/>
                <a:gd name="connsiteY299" fmla="*/ 91114 h 93936"/>
                <a:gd name="connsiteX300" fmla="*/ 719125 w 1075613"/>
                <a:gd name="connsiteY300" fmla="*/ 92452 h 93936"/>
                <a:gd name="connsiteX301" fmla="*/ 709762 w 1075613"/>
                <a:gd name="connsiteY301" fmla="*/ 92452 h 93936"/>
                <a:gd name="connsiteX302" fmla="*/ 708826 w 1075613"/>
                <a:gd name="connsiteY302" fmla="*/ 91114 h 93936"/>
                <a:gd name="connsiteX303" fmla="*/ 760725 w 1075613"/>
                <a:gd name="connsiteY303" fmla="*/ 60349 h 93936"/>
                <a:gd name="connsiteX304" fmla="*/ 746413 w 1075613"/>
                <a:gd name="connsiteY304" fmla="*/ 19017 h 93936"/>
                <a:gd name="connsiteX305" fmla="*/ 746145 w 1075613"/>
                <a:gd name="connsiteY305" fmla="*/ 19017 h 93936"/>
                <a:gd name="connsiteX306" fmla="*/ 731699 w 1075613"/>
                <a:gd name="connsiteY306" fmla="*/ 60349 h 93936"/>
                <a:gd name="connsiteX307" fmla="*/ 808478 w 1075613"/>
                <a:gd name="connsiteY307" fmla="*/ 92452 h 93936"/>
                <a:gd name="connsiteX308" fmla="*/ 807140 w 1075613"/>
                <a:gd name="connsiteY308" fmla="*/ 91433 h 93936"/>
                <a:gd name="connsiteX309" fmla="*/ 807140 w 1075613"/>
                <a:gd name="connsiteY309" fmla="*/ 91114 h 93936"/>
                <a:gd name="connsiteX310" fmla="*/ 807140 w 1075613"/>
                <a:gd name="connsiteY310" fmla="*/ 13384 h 93936"/>
                <a:gd name="connsiteX311" fmla="*/ 806537 w 1075613"/>
                <a:gd name="connsiteY311" fmla="*/ 12581 h 93936"/>
                <a:gd name="connsiteX312" fmla="*/ 806338 w 1075613"/>
                <a:gd name="connsiteY312" fmla="*/ 12581 h 93936"/>
                <a:gd name="connsiteX313" fmla="*/ 781458 w 1075613"/>
                <a:gd name="connsiteY313" fmla="*/ 12581 h 93936"/>
                <a:gd name="connsiteX314" fmla="*/ 780121 w 1075613"/>
                <a:gd name="connsiteY314" fmla="*/ 11563 h 93936"/>
                <a:gd name="connsiteX315" fmla="*/ 780121 w 1075613"/>
                <a:gd name="connsiteY315" fmla="*/ 11244 h 93936"/>
                <a:gd name="connsiteX316" fmla="*/ 780121 w 1075613"/>
                <a:gd name="connsiteY316" fmla="*/ 2832 h 93936"/>
                <a:gd name="connsiteX317" fmla="*/ 781140 w 1075613"/>
                <a:gd name="connsiteY317" fmla="*/ 1494 h 93936"/>
                <a:gd name="connsiteX318" fmla="*/ 781458 w 1075613"/>
                <a:gd name="connsiteY318" fmla="*/ 1494 h 93936"/>
                <a:gd name="connsiteX319" fmla="*/ 844727 w 1075613"/>
                <a:gd name="connsiteY319" fmla="*/ 1494 h 93936"/>
                <a:gd name="connsiteX320" fmla="*/ 846065 w 1075613"/>
                <a:gd name="connsiteY320" fmla="*/ 2513 h 93936"/>
                <a:gd name="connsiteX321" fmla="*/ 846065 w 1075613"/>
                <a:gd name="connsiteY321" fmla="*/ 2832 h 93936"/>
                <a:gd name="connsiteX322" fmla="*/ 846065 w 1075613"/>
                <a:gd name="connsiteY322" fmla="*/ 11259 h 93936"/>
                <a:gd name="connsiteX323" fmla="*/ 845046 w 1075613"/>
                <a:gd name="connsiteY323" fmla="*/ 12596 h 93936"/>
                <a:gd name="connsiteX324" fmla="*/ 844727 w 1075613"/>
                <a:gd name="connsiteY324" fmla="*/ 12596 h 93936"/>
                <a:gd name="connsiteX325" fmla="*/ 819848 w 1075613"/>
                <a:gd name="connsiteY325" fmla="*/ 12596 h 93936"/>
                <a:gd name="connsiteX326" fmla="*/ 819045 w 1075613"/>
                <a:gd name="connsiteY326" fmla="*/ 13201 h 93936"/>
                <a:gd name="connsiteX327" fmla="*/ 819045 w 1075613"/>
                <a:gd name="connsiteY327" fmla="*/ 13399 h 93936"/>
                <a:gd name="connsiteX328" fmla="*/ 819045 w 1075613"/>
                <a:gd name="connsiteY328" fmla="*/ 91114 h 93936"/>
                <a:gd name="connsiteX329" fmla="*/ 818026 w 1075613"/>
                <a:gd name="connsiteY329" fmla="*/ 92452 h 93936"/>
                <a:gd name="connsiteX330" fmla="*/ 817708 w 1075613"/>
                <a:gd name="connsiteY330" fmla="*/ 92452 h 93936"/>
                <a:gd name="connsiteX331" fmla="*/ 860259 w 1075613"/>
                <a:gd name="connsiteY331" fmla="*/ 2832 h 93936"/>
                <a:gd name="connsiteX332" fmla="*/ 861278 w 1075613"/>
                <a:gd name="connsiteY332" fmla="*/ 1494 h 93936"/>
                <a:gd name="connsiteX333" fmla="*/ 861596 w 1075613"/>
                <a:gd name="connsiteY333" fmla="*/ 1494 h 93936"/>
                <a:gd name="connsiteX334" fmla="*/ 870811 w 1075613"/>
                <a:gd name="connsiteY334" fmla="*/ 1494 h 93936"/>
                <a:gd name="connsiteX335" fmla="*/ 872149 w 1075613"/>
                <a:gd name="connsiteY335" fmla="*/ 2513 h 93936"/>
                <a:gd name="connsiteX336" fmla="*/ 872149 w 1075613"/>
                <a:gd name="connsiteY336" fmla="*/ 2832 h 93936"/>
                <a:gd name="connsiteX337" fmla="*/ 872149 w 1075613"/>
                <a:gd name="connsiteY337" fmla="*/ 91114 h 93936"/>
                <a:gd name="connsiteX338" fmla="*/ 871129 w 1075613"/>
                <a:gd name="connsiteY338" fmla="*/ 92452 h 93936"/>
                <a:gd name="connsiteX339" fmla="*/ 870811 w 1075613"/>
                <a:gd name="connsiteY339" fmla="*/ 92452 h 93936"/>
                <a:gd name="connsiteX340" fmla="*/ 861596 w 1075613"/>
                <a:gd name="connsiteY340" fmla="*/ 92452 h 93936"/>
                <a:gd name="connsiteX341" fmla="*/ 860259 w 1075613"/>
                <a:gd name="connsiteY341" fmla="*/ 91433 h 93936"/>
                <a:gd name="connsiteX342" fmla="*/ 860259 w 1075613"/>
                <a:gd name="connsiteY342" fmla="*/ 91114 h 93936"/>
                <a:gd name="connsiteX343" fmla="*/ 924732 w 1075613"/>
                <a:gd name="connsiteY343" fmla="*/ 93923 h 93936"/>
                <a:gd name="connsiteX344" fmla="*/ 905271 w 1075613"/>
                <a:gd name="connsiteY344" fmla="*/ 88573 h 93936"/>
                <a:gd name="connsiteX345" fmla="*/ 893833 w 1075613"/>
                <a:gd name="connsiteY345" fmla="*/ 72655 h 93936"/>
                <a:gd name="connsiteX346" fmla="*/ 892694 w 1075613"/>
                <a:gd name="connsiteY346" fmla="*/ 68494 h 93936"/>
                <a:gd name="connsiteX347" fmla="*/ 891960 w 1075613"/>
                <a:gd name="connsiteY347" fmla="*/ 63479 h 93936"/>
                <a:gd name="connsiteX348" fmla="*/ 891559 w 1075613"/>
                <a:gd name="connsiteY348" fmla="*/ 56589 h 93936"/>
                <a:gd name="connsiteX349" fmla="*/ 891425 w 1075613"/>
                <a:gd name="connsiteY349" fmla="*/ 46958 h 93936"/>
                <a:gd name="connsiteX350" fmla="*/ 891559 w 1075613"/>
                <a:gd name="connsiteY350" fmla="*/ 37327 h 93936"/>
                <a:gd name="connsiteX351" fmla="*/ 891960 w 1075613"/>
                <a:gd name="connsiteY351" fmla="*/ 30440 h 93936"/>
                <a:gd name="connsiteX352" fmla="*/ 892694 w 1075613"/>
                <a:gd name="connsiteY352" fmla="*/ 25426 h 93936"/>
                <a:gd name="connsiteX353" fmla="*/ 893833 w 1075613"/>
                <a:gd name="connsiteY353" fmla="*/ 21264 h 93936"/>
                <a:gd name="connsiteX354" fmla="*/ 905256 w 1075613"/>
                <a:gd name="connsiteY354" fmla="*/ 5358 h 93936"/>
                <a:gd name="connsiteX355" fmla="*/ 944314 w 1075613"/>
                <a:gd name="connsiteY355" fmla="*/ 5358 h 93936"/>
                <a:gd name="connsiteX356" fmla="*/ 955752 w 1075613"/>
                <a:gd name="connsiteY356" fmla="*/ 21276 h 93936"/>
                <a:gd name="connsiteX357" fmla="*/ 956891 w 1075613"/>
                <a:gd name="connsiteY357" fmla="*/ 25437 h 93936"/>
                <a:gd name="connsiteX358" fmla="*/ 957625 w 1075613"/>
                <a:gd name="connsiteY358" fmla="*/ 30455 h 93936"/>
                <a:gd name="connsiteX359" fmla="*/ 958026 w 1075613"/>
                <a:gd name="connsiteY359" fmla="*/ 37342 h 93936"/>
                <a:gd name="connsiteX360" fmla="*/ 958160 w 1075613"/>
                <a:gd name="connsiteY360" fmla="*/ 46973 h 93936"/>
                <a:gd name="connsiteX361" fmla="*/ 958026 w 1075613"/>
                <a:gd name="connsiteY361" fmla="*/ 56604 h 93936"/>
                <a:gd name="connsiteX362" fmla="*/ 957625 w 1075613"/>
                <a:gd name="connsiteY362" fmla="*/ 63494 h 93936"/>
                <a:gd name="connsiteX363" fmla="*/ 956891 w 1075613"/>
                <a:gd name="connsiteY363" fmla="*/ 68512 h 93936"/>
                <a:gd name="connsiteX364" fmla="*/ 955752 w 1075613"/>
                <a:gd name="connsiteY364" fmla="*/ 72673 h 93936"/>
                <a:gd name="connsiteX365" fmla="*/ 944314 w 1075613"/>
                <a:gd name="connsiteY365" fmla="*/ 88591 h 93936"/>
                <a:gd name="connsiteX366" fmla="*/ 924717 w 1075613"/>
                <a:gd name="connsiteY366" fmla="*/ 93923 h 93936"/>
                <a:gd name="connsiteX367" fmla="*/ 924732 w 1075613"/>
                <a:gd name="connsiteY367" fmla="*/ 82821 h 93936"/>
                <a:gd name="connsiteX368" fmla="*/ 937171 w 1075613"/>
                <a:gd name="connsiteY368" fmla="*/ 79343 h 93936"/>
                <a:gd name="connsiteX369" fmla="*/ 944127 w 1075613"/>
                <a:gd name="connsiteY369" fmla="*/ 69311 h 93936"/>
                <a:gd name="connsiteX370" fmla="*/ 944861 w 1075613"/>
                <a:gd name="connsiteY370" fmla="*/ 66300 h 93936"/>
                <a:gd name="connsiteX371" fmla="*/ 945530 w 1075613"/>
                <a:gd name="connsiteY371" fmla="*/ 61821 h 93936"/>
                <a:gd name="connsiteX372" fmla="*/ 946000 w 1075613"/>
                <a:gd name="connsiteY372" fmla="*/ 55534 h 93936"/>
                <a:gd name="connsiteX373" fmla="*/ 946134 w 1075613"/>
                <a:gd name="connsiteY373" fmla="*/ 46973 h 93936"/>
                <a:gd name="connsiteX374" fmla="*/ 946000 w 1075613"/>
                <a:gd name="connsiteY374" fmla="*/ 38412 h 93936"/>
                <a:gd name="connsiteX375" fmla="*/ 945530 w 1075613"/>
                <a:gd name="connsiteY375" fmla="*/ 32126 h 93936"/>
                <a:gd name="connsiteX376" fmla="*/ 944861 w 1075613"/>
                <a:gd name="connsiteY376" fmla="*/ 27646 h 93936"/>
                <a:gd name="connsiteX377" fmla="*/ 944127 w 1075613"/>
                <a:gd name="connsiteY377" fmla="*/ 24635 h 93936"/>
                <a:gd name="connsiteX378" fmla="*/ 937171 w 1075613"/>
                <a:gd name="connsiteY378" fmla="*/ 14603 h 93936"/>
                <a:gd name="connsiteX379" fmla="*/ 924732 w 1075613"/>
                <a:gd name="connsiteY379" fmla="*/ 11125 h 93936"/>
                <a:gd name="connsiteX380" fmla="*/ 912357 w 1075613"/>
                <a:gd name="connsiteY380" fmla="*/ 14603 h 93936"/>
                <a:gd name="connsiteX381" fmla="*/ 905467 w 1075613"/>
                <a:gd name="connsiteY381" fmla="*/ 24635 h 93936"/>
                <a:gd name="connsiteX382" fmla="*/ 904733 w 1075613"/>
                <a:gd name="connsiteY382" fmla="*/ 27646 h 93936"/>
                <a:gd name="connsiteX383" fmla="*/ 904064 w 1075613"/>
                <a:gd name="connsiteY383" fmla="*/ 32126 h 93936"/>
                <a:gd name="connsiteX384" fmla="*/ 903594 w 1075613"/>
                <a:gd name="connsiteY384" fmla="*/ 38412 h 93936"/>
                <a:gd name="connsiteX385" fmla="*/ 903461 w 1075613"/>
                <a:gd name="connsiteY385" fmla="*/ 46973 h 93936"/>
                <a:gd name="connsiteX386" fmla="*/ 903594 w 1075613"/>
                <a:gd name="connsiteY386" fmla="*/ 55534 h 93936"/>
                <a:gd name="connsiteX387" fmla="*/ 904064 w 1075613"/>
                <a:gd name="connsiteY387" fmla="*/ 61821 h 93936"/>
                <a:gd name="connsiteX388" fmla="*/ 904733 w 1075613"/>
                <a:gd name="connsiteY388" fmla="*/ 66300 h 93936"/>
                <a:gd name="connsiteX389" fmla="*/ 905467 w 1075613"/>
                <a:gd name="connsiteY389" fmla="*/ 69311 h 93936"/>
                <a:gd name="connsiteX390" fmla="*/ 912357 w 1075613"/>
                <a:gd name="connsiteY390" fmla="*/ 79343 h 93936"/>
                <a:gd name="connsiteX391" fmla="*/ 924717 w 1075613"/>
                <a:gd name="connsiteY391" fmla="*/ 82821 h 93936"/>
                <a:gd name="connsiteX392" fmla="*/ 977434 w 1075613"/>
                <a:gd name="connsiteY392" fmla="*/ 2832 h 93936"/>
                <a:gd name="connsiteX393" fmla="*/ 978453 w 1075613"/>
                <a:gd name="connsiteY393" fmla="*/ 1494 h 93936"/>
                <a:gd name="connsiteX394" fmla="*/ 978771 w 1075613"/>
                <a:gd name="connsiteY394" fmla="*/ 1494 h 93936"/>
                <a:gd name="connsiteX395" fmla="*/ 987332 w 1075613"/>
                <a:gd name="connsiteY395" fmla="*/ 1494 h 93936"/>
                <a:gd name="connsiteX396" fmla="*/ 989606 w 1075613"/>
                <a:gd name="connsiteY396" fmla="*/ 2832 h 93936"/>
                <a:gd name="connsiteX397" fmla="*/ 1030790 w 1075613"/>
                <a:gd name="connsiteY397" fmla="*/ 71050 h 93936"/>
                <a:gd name="connsiteX398" fmla="*/ 1031325 w 1075613"/>
                <a:gd name="connsiteY398" fmla="*/ 71050 h 93936"/>
                <a:gd name="connsiteX399" fmla="*/ 1031325 w 1075613"/>
                <a:gd name="connsiteY399" fmla="*/ 2832 h 93936"/>
                <a:gd name="connsiteX400" fmla="*/ 1032344 w 1075613"/>
                <a:gd name="connsiteY400" fmla="*/ 1494 h 93936"/>
                <a:gd name="connsiteX401" fmla="*/ 1032662 w 1075613"/>
                <a:gd name="connsiteY401" fmla="*/ 1494 h 93936"/>
                <a:gd name="connsiteX402" fmla="*/ 1041089 w 1075613"/>
                <a:gd name="connsiteY402" fmla="*/ 1494 h 93936"/>
                <a:gd name="connsiteX403" fmla="*/ 1042427 w 1075613"/>
                <a:gd name="connsiteY403" fmla="*/ 2513 h 93936"/>
                <a:gd name="connsiteX404" fmla="*/ 1042427 w 1075613"/>
                <a:gd name="connsiteY404" fmla="*/ 2832 h 93936"/>
                <a:gd name="connsiteX405" fmla="*/ 1042427 w 1075613"/>
                <a:gd name="connsiteY405" fmla="*/ 91114 h 93936"/>
                <a:gd name="connsiteX406" fmla="*/ 1041407 w 1075613"/>
                <a:gd name="connsiteY406" fmla="*/ 92452 h 93936"/>
                <a:gd name="connsiteX407" fmla="*/ 1041089 w 1075613"/>
                <a:gd name="connsiteY407" fmla="*/ 92452 h 93936"/>
                <a:gd name="connsiteX408" fmla="*/ 1032529 w 1075613"/>
                <a:gd name="connsiteY408" fmla="*/ 92452 h 93936"/>
                <a:gd name="connsiteX409" fmla="*/ 1030255 w 1075613"/>
                <a:gd name="connsiteY409" fmla="*/ 91114 h 93936"/>
                <a:gd name="connsiteX410" fmla="*/ 988937 w 1075613"/>
                <a:gd name="connsiteY410" fmla="*/ 23164 h 93936"/>
                <a:gd name="connsiteX411" fmla="*/ 988536 w 1075613"/>
                <a:gd name="connsiteY411" fmla="*/ 23164 h 93936"/>
                <a:gd name="connsiteX412" fmla="*/ 988536 w 1075613"/>
                <a:gd name="connsiteY412" fmla="*/ 91114 h 93936"/>
                <a:gd name="connsiteX413" fmla="*/ 987519 w 1075613"/>
                <a:gd name="connsiteY413" fmla="*/ 92454 h 93936"/>
                <a:gd name="connsiteX414" fmla="*/ 987183 w 1075613"/>
                <a:gd name="connsiteY414" fmla="*/ 92452 h 93936"/>
                <a:gd name="connsiteX415" fmla="*/ 978756 w 1075613"/>
                <a:gd name="connsiteY415" fmla="*/ 92452 h 93936"/>
                <a:gd name="connsiteX416" fmla="*/ 977419 w 1075613"/>
                <a:gd name="connsiteY416" fmla="*/ 91433 h 93936"/>
                <a:gd name="connsiteX417" fmla="*/ 977419 w 1075613"/>
                <a:gd name="connsiteY417" fmla="*/ 91114 h 93936"/>
                <a:gd name="connsiteX418" fmla="*/ 1063041 w 1075613"/>
                <a:gd name="connsiteY418" fmla="*/ 79611 h 93936"/>
                <a:gd name="connsiteX419" fmla="*/ 1064061 w 1075613"/>
                <a:gd name="connsiteY419" fmla="*/ 78273 h 93936"/>
                <a:gd name="connsiteX420" fmla="*/ 1064379 w 1075613"/>
                <a:gd name="connsiteY420" fmla="*/ 78273 h 93936"/>
                <a:gd name="connsiteX421" fmla="*/ 1074545 w 1075613"/>
                <a:gd name="connsiteY421" fmla="*/ 78273 h 93936"/>
                <a:gd name="connsiteX422" fmla="*/ 1075882 w 1075613"/>
                <a:gd name="connsiteY422" fmla="*/ 79292 h 93936"/>
                <a:gd name="connsiteX423" fmla="*/ 1075882 w 1075613"/>
                <a:gd name="connsiteY423" fmla="*/ 79611 h 93936"/>
                <a:gd name="connsiteX424" fmla="*/ 1075882 w 1075613"/>
                <a:gd name="connsiteY424" fmla="*/ 91114 h 93936"/>
                <a:gd name="connsiteX425" fmla="*/ 1074863 w 1075613"/>
                <a:gd name="connsiteY425" fmla="*/ 92452 h 93936"/>
                <a:gd name="connsiteX426" fmla="*/ 1074545 w 1075613"/>
                <a:gd name="connsiteY426" fmla="*/ 92452 h 93936"/>
                <a:gd name="connsiteX427" fmla="*/ 1064379 w 1075613"/>
                <a:gd name="connsiteY427" fmla="*/ 92452 h 93936"/>
                <a:gd name="connsiteX428" fmla="*/ 1063041 w 1075613"/>
                <a:gd name="connsiteY428" fmla="*/ 91433 h 93936"/>
                <a:gd name="connsiteX429" fmla="*/ 1063041 w 1075613"/>
                <a:gd name="connsiteY429" fmla="*/ 91114 h 9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Lst>
              <a:rect l="l" t="t" r="r" b="b"/>
              <a:pathLst>
                <a:path w="1075613" h="93936">
                  <a:moveTo>
                    <a:pt x="28649" y="92452"/>
                  </a:moveTo>
                  <a:cubicBezTo>
                    <a:pt x="27998" y="92540"/>
                    <a:pt x="27399" y="92084"/>
                    <a:pt x="27311" y="91433"/>
                  </a:cubicBezTo>
                  <a:cubicBezTo>
                    <a:pt x="27297" y="91327"/>
                    <a:pt x="27297" y="91220"/>
                    <a:pt x="27311" y="91114"/>
                  </a:cubicBezTo>
                  <a:lnTo>
                    <a:pt x="27311" y="13384"/>
                  </a:lnTo>
                  <a:cubicBezTo>
                    <a:pt x="27366" y="12996"/>
                    <a:pt x="27095" y="12636"/>
                    <a:pt x="26706" y="12581"/>
                  </a:cubicBezTo>
                  <a:cubicBezTo>
                    <a:pt x="26641" y="12572"/>
                    <a:pt x="26574" y="12572"/>
                    <a:pt x="26508" y="12581"/>
                  </a:cubicBezTo>
                  <a:lnTo>
                    <a:pt x="1629" y="12581"/>
                  </a:lnTo>
                  <a:cubicBezTo>
                    <a:pt x="978" y="12670"/>
                    <a:pt x="379" y="12213"/>
                    <a:pt x="291" y="11563"/>
                  </a:cubicBezTo>
                  <a:cubicBezTo>
                    <a:pt x="277" y="11457"/>
                    <a:pt x="277" y="11350"/>
                    <a:pt x="291" y="11244"/>
                  </a:cubicBezTo>
                  <a:lnTo>
                    <a:pt x="291" y="2832"/>
                  </a:lnTo>
                  <a:cubicBezTo>
                    <a:pt x="203" y="2181"/>
                    <a:pt x="659" y="1582"/>
                    <a:pt x="1310" y="1494"/>
                  </a:cubicBezTo>
                  <a:cubicBezTo>
                    <a:pt x="1416" y="1480"/>
                    <a:pt x="1523" y="1480"/>
                    <a:pt x="1629" y="1494"/>
                  </a:cubicBezTo>
                  <a:lnTo>
                    <a:pt x="64898" y="1494"/>
                  </a:lnTo>
                  <a:cubicBezTo>
                    <a:pt x="65549" y="1406"/>
                    <a:pt x="66147" y="1862"/>
                    <a:pt x="66235" y="2513"/>
                  </a:cubicBezTo>
                  <a:cubicBezTo>
                    <a:pt x="66250" y="2619"/>
                    <a:pt x="66250" y="2726"/>
                    <a:pt x="66235" y="2832"/>
                  </a:cubicBezTo>
                  <a:lnTo>
                    <a:pt x="66235" y="11259"/>
                  </a:lnTo>
                  <a:cubicBezTo>
                    <a:pt x="66323" y="11909"/>
                    <a:pt x="65867" y="12508"/>
                    <a:pt x="65217" y="12596"/>
                  </a:cubicBezTo>
                  <a:cubicBezTo>
                    <a:pt x="65111" y="12611"/>
                    <a:pt x="65004" y="12611"/>
                    <a:pt x="64898" y="12596"/>
                  </a:cubicBezTo>
                  <a:lnTo>
                    <a:pt x="40018" y="12596"/>
                  </a:lnTo>
                  <a:cubicBezTo>
                    <a:pt x="39630" y="12542"/>
                    <a:pt x="39270" y="12812"/>
                    <a:pt x="39216" y="13201"/>
                  </a:cubicBezTo>
                  <a:cubicBezTo>
                    <a:pt x="39206" y="13266"/>
                    <a:pt x="39206" y="13333"/>
                    <a:pt x="39216" y="13399"/>
                  </a:cubicBezTo>
                  <a:lnTo>
                    <a:pt x="39216" y="91114"/>
                  </a:lnTo>
                  <a:cubicBezTo>
                    <a:pt x="39304" y="91765"/>
                    <a:pt x="38847" y="92364"/>
                    <a:pt x="38197" y="92452"/>
                  </a:cubicBezTo>
                  <a:cubicBezTo>
                    <a:pt x="38091" y="92466"/>
                    <a:pt x="37984" y="92466"/>
                    <a:pt x="37878" y="92452"/>
                  </a:cubicBezTo>
                  <a:close/>
                  <a:moveTo>
                    <a:pt x="133116" y="92452"/>
                  </a:moveTo>
                  <a:cubicBezTo>
                    <a:pt x="132302" y="92446"/>
                    <a:pt x="131592" y="91899"/>
                    <a:pt x="131377" y="91114"/>
                  </a:cubicBezTo>
                  <a:lnTo>
                    <a:pt x="113186" y="53929"/>
                  </a:lnTo>
                  <a:lnTo>
                    <a:pt x="93122" y="53929"/>
                  </a:lnTo>
                  <a:cubicBezTo>
                    <a:pt x="92733" y="53874"/>
                    <a:pt x="92374" y="54144"/>
                    <a:pt x="92319" y="54533"/>
                  </a:cubicBezTo>
                  <a:cubicBezTo>
                    <a:pt x="92310" y="54599"/>
                    <a:pt x="92310" y="54666"/>
                    <a:pt x="92319" y="54731"/>
                  </a:cubicBezTo>
                  <a:lnTo>
                    <a:pt x="92319" y="91114"/>
                  </a:lnTo>
                  <a:cubicBezTo>
                    <a:pt x="92407" y="91765"/>
                    <a:pt x="91951" y="92364"/>
                    <a:pt x="91300" y="92452"/>
                  </a:cubicBezTo>
                  <a:cubicBezTo>
                    <a:pt x="91194" y="92466"/>
                    <a:pt x="91087" y="92466"/>
                    <a:pt x="90981" y="92452"/>
                  </a:cubicBezTo>
                  <a:lnTo>
                    <a:pt x="81767" y="92452"/>
                  </a:lnTo>
                  <a:cubicBezTo>
                    <a:pt x="81116" y="92540"/>
                    <a:pt x="80517" y="92084"/>
                    <a:pt x="80429" y="91433"/>
                  </a:cubicBezTo>
                  <a:cubicBezTo>
                    <a:pt x="80415" y="91327"/>
                    <a:pt x="80415" y="91220"/>
                    <a:pt x="80429" y="91114"/>
                  </a:cubicBezTo>
                  <a:lnTo>
                    <a:pt x="80429" y="2832"/>
                  </a:lnTo>
                  <a:cubicBezTo>
                    <a:pt x="80341" y="2181"/>
                    <a:pt x="80797" y="1582"/>
                    <a:pt x="81448" y="1494"/>
                  </a:cubicBezTo>
                  <a:cubicBezTo>
                    <a:pt x="81554" y="1480"/>
                    <a:pt x="81661" y="1480"/>
                    <a:pt x="81767" y="1494"/>
                  </a:cubicBezTo>
                  <a:lnTo>
                    <a:pt x="114672" y="1494"/>
                  </a:lnTo>
                  <a:cubicBezTo>
                    <a:pt x="118630" y="1441"/>
                    <a:pt x="122568" y="2075"/>
                    <a:pt x="126309" y="3367"/>
                  </a:cubicBezTo>
                  <a:cubicBezTo>
                    <a:pt x="129618" y="4515"/>
                    <a:pt x="132664" y="6310"/>
                    <a:pt x="135271" y="8649"/>
                  </a:cubicBezTo>
                  <a:cubicBezTo>
                    <a:pt x="137788" y="10960"/>
                    <a:pt x="139769" y="13794"/>
                    <a:pt x="141077" y="16951"/>
                  </a:cubicBezTo>
                  <a:cubicBezTo>
                    <a:pt x="142492" y="20362"/>
                    <a:pt x="143200" y="24025"/>
                    <a:pt x="143157" y="27717"/>
                  </a:cubicBezTo>
                  <a:cubicBezTo>
                    <a:pt x="143328" y="33323"/>
                    <a:pt x="141635" y="38828"/>
                    <a:pt x="138342" y="43367"/>
                  </a:cubicBezTo>
                  <a:cubicBezTo>
                    <a:pt x="135044" y="47709"/>
                    <a:pt x="130455" y="50894"/>
                    <a:pt x="125233" y="52463"/>
                  </a:cubicBezTo>
                  <a:lnTo>
                    <a:pt x="144620" y="90847"/>
                  </a:lnTo>
                  <a:cubicBezTo>
                    <a:pt x="144875" y="91170"/>
                    <a:pt x="144927" y="91609"/>
                    <a:pt x="144753" y="91982"/>
                  </a:cubicBezTo>
                  <a:cubicBezTo>
                    <a:pt x="144557" y="92305"/>
                    <a:pt x="144193" y="92488"/>
                    <a:pt x="143817" y="92452"/>
                  </a:cubicBezTo>
                  <a:close/>
                  <a:moveTo>
                    <a:pt x="114390" y="42826"/>
                  </a:moveTo>
                  <a:cubicBezTo>
                    <a:pt x="118883" y="43111"/>
                    <a:pt x="123321" y="41704"/>
                    <a:pt x="126829" y="38882"/>
                  </a:cubicBezTo>
                  <a:cubicBezTo>
                    <a:pt x="129880" y="35995"/>
                    <a:pt x="131497" y="31904"/>
                    <a:pt x="131244" y="27711"/>
                  </a:cubicBezTo>
                  <a:cubicBezTo>
                    <a:pt x="131497" y="23518"/>
                    <a:pt x="129880" y="19428"/>
                    <a:pt x="126829" y="16541"/>
                  </a:cubicBezTo>
                  <a:cubicBezTo>
                    <a:pt x="123321" y="13719"/>
                    <a:pt x="118883" y="12312"/>
                    <a:pt x="114390" y="12596"/>
                  </a:cubicBezTo>
                  <a:lnTo>
                    <a:pt x="93122" y="12596"/>
                  </a:lnTo>
                  <a:cubicBezTo>
                    <a:pt x="92733" y="12542"/>
                    <a:pt x="92374" y="12812"/>
                    <a:pt x="92319" y="13201"/>
                  </a:cubicBezTo>
                  <a:cubicBezTo>
                    <a:pt x="92310" y="13266"/>
                    <a:pt x="92310" y="13333"/>
                    <a:pt x="92319" y="13399"/>
                  </a:cubicBezTo>
                  <a:lnTo>
                    <a:pt x="92319" y="42024"/>
                  </a:lnTo>
                  <a:cubicBezTo>
                    <a:pt x="92264" y="42412"/>
                    <a:pt x="92535" y="42772"/>
                    <a:pt x="92923" y="42826"/>
                  </a:cubicBezTo>
                  <a:cubicBezTo>
                    <a:pt x="92989" y="42836"/>
                    <a:pt x="93056" y="42836"/>
                    <a:pt x="93122" y="42826"/>
                  </a:cubicBezTo>
                  <a:close/>
                  <a:moveTo>
                    <a:pt x="186487" y="2832"/>
                  </a:moveTo>
                  <a:cubicBezTo>
                    <a:pt x="186619" y="2051"/>
                    <a:pt x="187300" y="1483"/>
                    <a:pt x="188092" y="1494"/>
                  </a:cubicBezTo>
                  <a:lnTo>
                    <a:pt x="196802" y="1494"/>
                  </a:lnTo>
                  <a:cubicBezTo>
                    <a:pt x="197633" y="1448"/>
                    <a:pt x="198372" y="2017"/>
                    <a:pt x="198540" y="2832"/>
                  </a:cubicBezTo>
                  <a:lnTo>
                    <a:pt x="229707" y="91114"/>
                  </a:lnTo>
                  <a:cubicBezTo>
                    <a:pt x="229974" y="92006"/>
                    <a:pt x="229662" y="92452"/>
                    <a:pt x="228771" y="92452"/>
                  </a:cubicBezTo>
                  <a:lnTo>
                    <a:pt x="219392" y="92452"/>
                  </a:lnTo>
                  <a:cubicBezTo>
                    <a:pt x="218561" y="92499"/>
                    <a:pt x="217821" y="91929"/>
                    <a:pt x="217654" y="91114"/>
                  </a:cubicBezTo>
                  <a:lnTo>
                    <a:pt x="210698" y="71318"/>
                  </a:lnTo>
                  <a:lnTo>
                    <a:pt x="173914" y="71318"/>
                  </a:lnTo>
                  <a:lnTo>
                    <a:pt x="166958" y="91114"/>
                  </a:lnTo>
                  <a:cubicBezTo>
                    <a:pt x="166744" y="91899"/>
                    <a:pt x="166033" y="92446"/>
                    <a:pt x="165219" y="92452"/>
                  </a:cubicBezTo>
                  <a:lnTo>
                    <a:pt x="155856" y="92452"/>
                  </a:lnTo>
                  <a:cubicBezTo>
                    <a:pt x="154964" y="92452"/>
                    <a:pt x="154652" y="92006"/>
                    <a:pt x="154919" y="91114"/>
                  </a:cubicBezTo>
                  <a:close/>
                  <a:moveTo>
                    <a:pt x="206819" y="60349"/>
                  </a:moveTo>
                  <a:lnTo>
                    <a:pt x="192506" y="19017"/>
                  </a:lnTo>
                  <a:lnTo>
                    <a:pt x="192239" y="19017"/>
                  </a:lnTo>
                  <a:lnTo>
                    <a:pt x="177793" y="60349"/>
                  </a:lnTo>
                  <a:close/>
                  <a:moveTo>
                    <a:pt x="244138" y="2832"/>
                  </a:moveTo>
                  <a:cubicBezTo>
                    <a:pt x="244050" y="2181"/>
                    <a:pt x="244507" y="1582"/>
                    <a:pt x="245157" y="1494"/>
                  </a:cubicBezTo>
                  <a:cubicBezTo>
                    <a:pt x="245263" y="1480"/>
                    <a:pt x="245370" y="1480"/>
                    <a:pt x="245476" y="1494"/>
                  </a:cubicBezTo>
                  <a:lnTo>
                    <a:pt x="254037" y="1494"/>
                  </a:lnTo>
                  <a:cubicBezTo>
                    <a:pt x="254998" y="1429"/>
                    <a:pt x="255900" y="1960"/>
                    <a:pt x="256311" y="2832"/>
                  </a:cubicBezTo>
                  <a:lnTo>
                    <a:pt x="297509" y="71050"/>
                  </a:lnTo>
                  <a:lnTo>
                    <a:pt x="298044" y="71050"/>
                  </a:lnTo>
                  <a:lnTo>
                    <a:pt x="298044" y="2832"/>
                  </a:lnTo>
                  <a:cubicBezTo>
                    <a:pt x="297955" y="2181"/>
                    <a:pt x="298413" y="1582"/>
                    <a:pt x="299064" y="1494"/>
                  </a:cubicBezTo>
                  <a:cubicBezTo>
                    <a:pt x="299168" y="1480"/>
                    <a:pt x="299275" y="1480"/>
                    <a:pt x="299382" y="1494"/>
                  </a:cubicBezTo>
                  <a:lnTo>
                    <a:pt x="307809" y="1494"/>
                  </a:lnTo>
                  <a:cubicBezTo>
                    <a:pt x="308460" y="1406"/>
                    <a:pt x="309057" y="1862"/>
                    <a:pt x="309146" y="2513"/>
                  </a:cubicBezTo>
                  <a:cubicBezTo>
                    <a:pt x="309161" y="2619"/>
                    <a:pt x="309161" y="2726"/>
                    <a:pt x="309146" y="2832"/>
                  </a:cubicBezTo>
                  <a:lnTo>
                    <a:pt x="309146" y="91114"/>
                  </a:lnTo>
                  <a:cubicBezTo>
                    <a:pt x="309236" y="91765"/>
                    <a:pt x="308778" y="92364"/>
                    <a:pt x="308127" y="92452"/>
                  </a:cubicBezTo>
                  <a:cubicBezTo>
                    <a:pt x="308023" y="92466"/>
                    <a:pt x="307916" y="92466"/>
                    <a:pt x="307809" y="92452"/>
                  </a:cubicBezTo>
                  <a:lnTo>
                    <a:pt x="299248" y="92452"/>
                  </a:lnTo>
                  <a:cubicBezTo>
                    <a:pt x="298288" y="92517"/>
                    <a:pt x="297384" y="91986"/>
                    <a:pt x="296974" y="91114"/>
                  </a:cubicBezTo>
                  <a:lnTo>
                    <a:pt x="255657" y="23164"/>
                  </a:lnTo>
                  <a:lnTo>
                    <a:pt x="255240" y="23164"/>
                  </a:lnTo>
                  <a:lnTo>
                    <a:pt x="255240" y="91114"/>
                  </a:lnTo>
                  <a:cubicBezTo>
                    <a:pt x="255328" y="91765"/>
                    <a:pt x="254872" y="92364"/>
                    <a:pt x="254222" y="92452"/>
                  </a:cubicBezTo>
                  <a:cubicBezTo>
                    <a:pt x="254116" y="92466"/>
                    <a:pt x="254009" y="92466"/>
                    <a:pt x="253903" y="92452"/>
                  </a:cubicBezTo>
                  <a:lnTo>
                    <a:pt x="245476" y="92452"/>
                  </a:lnTo>
                  <a:cubicBezTo>
                    <a:pt x="244825" y="92540"/>
                    <a:pt x="244226" y="92084"/>
                    <a:pt x="244138" y="91433"/>
                  </a:cubicBezTo>
                  <a:cubicBezTo>
                    <a:pt x="244124" y="91327"/>
                    <a:pt x="244124" y="91220"/>
                    <a:pt x="244138" y="91114"/>
                  </a:cubicBezTo>
                  <a:close/>
                  <a:moveTo>
                    <a:pt x="359173" y="93923"/>
                  </a:moveTo>
                  <a:cubicBezTo>
                    <a:pt x="355981" y="93926"/>
                    <a:pt x="352794" y="93613"/>
                    <a:pt x="349661" y="92987"/>
                  </a:cubicBezTo>
                  <a:cubicBezTo>
                    <a:pt x="346659" y="92395"/>
                    <a:pt x="343707" y="91567"/>
                    <a:pt x="340833" y="90511"/>
                  </a:cubicBezTo>
                  <a:cubicBezTo>
                    <a:pt x="338196" y="89540"/>
                    <a:pt x="335655" y="88331"/>
                    <a:pt x="333238" y="86899"/>
                  </a:cubicBezTo>
                  <a:cubicBezTo>
                    <a:pt x="331098" y="85646"/>
                    <a:pt x="329083" y="84191"/>
                    <a:pt x="327219" y="82554"/>
                  </a:cubicBezTo>
                  <a:cubicBezTo>
                    <a:pt x="326630" y="82073"/>
                    <a:pt x="326544" y="81206"/>
                    <a:pt x="327023" y="80617"/>
                  </a:cubicBezTo>
                  <a:cubicBezTo>
                    <a:pt x="327044" y="80593"/>
                    <a:pt x="327064" y="80570"/>
                    <a:pt x="327085" y="80547"/>
                  </a:cubicBezTo>
                  <a:lnTo>
                    <a:pt x="332971" y="73592"/>
                  </a:lnTo>
                  <a:cubicBezTo>
                    <a:pt x="333366" y="73043"/>
                    <a:pt x="334133" y="72920"/>
                    <a:pt x="334680" y="73317"/>
                  </a:cubicBezTo>
                  <a:cubicBezTo>
                    <a:pt x="334739" y="73359"/>
                    <a:pt x="334793" y="73406"/>
                    <a:pt x="334843" y="73458"/>
                  </a:cubicBezTo>
                  <a:cubicBezTo>
                    <a:pt x="338226" y="76036"/>
                    <a:pt x="341909" y="78192"/>
                    <a:pt x="345812" y="79878"/>
                  </a:cubicBezTo>
                  <a:cubicBezTo>
                    <a:pt x="350363" y="81878"/>
                    <a:pt x="355288" y="82881"/>
                    <a:pt x="360258" y="82821"/>
                  </a:cubicBezTo>
                  <a:cubicBezTo>
                    <a:pt x="365531" y="83142"/>
                    <a:pt x="370754" y="81630"/>
                    <a:pt x="375037" y="78541"/>
                  </a:cubicBezTo>
                  <a:cubicBezTo>
                    <a:pt x="378485" y="75848"/>
                    <a:pt x="380447" y="71677"/>
                    <a:pt x="380322" y="67305"/>
                  </a:cubicBezTo>
                  <a:cubicBezTo>
                    <a:pt x="380346" y="65479"/>
                    <a:pt x="380028" y="63664"/>
                    <a:pt x="379386" y="61954"/>
                  </a:cubicBezTo>
                  <a:cubicBezTo>
                    <a:pt x="378714" y="60285"/>
                    <a:pt x="377632" y="58813"/>
                    <a:pt x="376241" y="57674"/>
                  </a:cubicBezTo>
                  <a:cubicBezTo>
                    <a:pt x="374502" y="56275"/>
                    <a:pt x="372534" y="55189"/>
                    <a:pt x="370424" y="54464"/>
                  </a:cubicBezTo>
                  <a:cubicBezTo>
                    <a:pt x="367478" y="53450"/>
                    <a:pt x="364426" y="52777"/>
                    <a:pt x="361328" y="52457"/>
                  </a:cubicBezTo>
                  <a:lnTo>
                    <a:pt x="356780" y="51788"/>
                  </a:lnTo>
                  <a:cubicBezTo>
                    <a:pt x="338945" y="49381"/>
                    <a:pt x="330028" y="40998"/>
                    <a:pt x="330028" y="26641"/>
                  </a:cubicBezTo>
                  <a:cubicBezTo>
                    <a:pt x="329980" y="22883"/>
                    <a:pt x="330688" y="19153"/>
                    <a:pt x="332109" y="15673"/>
                  </a:cubicBezTo>
                  <a:cubicBezTo>
                    <a:pt x="333432" y="12453"/>
                    <a:pt x="335465" y="9573"/>
                    <a:pt x="338054" y="7246"/>
                  </a:cubicBezTo>
                  <a:cubicBezTo>
                    <a:pt x="340779" y="4847"/>
                    <a:pt x="343966" y="3026"/>
                    <a:pt x="347417" y="1895"/>
                  </a:cubicBezTo>
                  <a:cubicBezTo>
                    <a:pt x="351388" y="598"/>
                    <a:pt x="355547" y="-35"/>
                    <a:pt x="359723" y="23"/>
                  </a:cubicBezTo>
                  <a:cubicBezTo>
                    <a:pt x="364919" y="-2"/>
                    <a:pt x="370088" y="788"/>
                    <a:pt x="375040" y="2362"/>
                  </a:cubicBezTo>
                  <a:cubicBezTo>
                    <a:pt x="379460" y="3710"/>
                    <a:pt x="383634" y="5766"/>
                    <a:pt x="387397" y="8450"/>
                  </a:cubicBezTo>
                  <a:cubicBezTo>
                    <a:pt x="387971" y="8770"/>
                    <a:pt x="388176" y="9494"/>
                    <a:pt x="387855" y="10067"/>
                  </a:cubicBezTo>
                  <a:cubicBezTo>
                    <a:pt x="387804" y="10161"/>
                    <a:pt x="387739" y="10246"/>
                    <a:pt x="387664" y="10322"/>
                  </a:cubicBezTo>
                  <a:lnTo>
                    <a:pt x="383116" y="17679"/>
                  </a:lnTo>
                  <a:cubicBezTo>
                    <a:pt x="382700" y="18266"/>
                    <a:pt x="381889" y="18405"/>
                    <a:pt x="381300" y="17990"/>
                  </a:cubicBezTo>
                  <a:cubicBezTo>
                    <a:pt x="381282" y="17976"/>
                    <a:pt x="381262" y="17962"/>
                    <a:pt x="381244" y="17947"/>
                  </a:cubicBezTo>
                  <a:cubicBezTo>
                    <a:pt x="377855" y="15794"/>
                    <a:pt x="374217" y="14062"/>
                    <a:pt x="370409" y="12790"/>
                  </a:cubicBezTo>
                  <a:cubicBezTo>
                    <a:pt x="366818" y="11658"/>
                    <a:pt x="363073" y="11095"/>
                    <a:pt x="359307" y="11119"/>
                  </a:cubicBezTo>
                  <a:cubicBezTo>
                    <a:pt x="354664" y="10793"/>
                    <a:pt x="350071" y="12252"/>
                    <a:pt x="346466" y="15197"/>
                  </a:cubicBezTo>
                  <a:cubicBezTo>
                    <a:pt x="343517" y="17930"/>
                    <a:pt x="341906" y="21812"/>
                    <a:pt x="342052" y="25830"/>
                  </a:cubicBezTo>
                  <a:cubicBezTo>
                    <a:pt x="341960" y="29462"/>
                    <a:pt x="343538" y="32936"/>
                    <a:pt x="346332" y="35259"/>
                  </a:cubicBezTo>
                  <a:cubicBezTo>
                    <a:pt x="350722" y="38294"/>
                    <a:pt x="355853" y="40083"/>
                    <a:pt x="361180" y="40434"/>
                  </a:cubicBezTo>
                  <a:lnTo>
                    <a:pt x="365594" y="41102"/>
                  </a:lnTo>
                  <a:cubicBezTo>
                    <a:pt x="372939" y="41695"/>
                    <a:pt x="379930" y="44492"/>
                    <a:pt x="385658" y="49128"/>
                  </a:cubicBezTo>
                  <a:cubicBezTo>
                    <a:pt x="390301" y="53682"/>
                    <a:pt x="392741" y="60025"/>
                    <a:pt x="392346" y="66517"/>
                  </a:cubicBezTo>
                  <a:cubicBezTo>
                    <a:pt x="392388" y="70296"/>
                    <a:pt x="391680" y="74046"/>
                    <a:pt x="390265" y="77551"/>
                  </a:cubicBezTo>
                  <a:cubicBezTo>
                    <a:pt x="388889" y="80885"/>
                    <a:pt x="386731" y="83841"/>
                    <a:pt x="383979" y="86171"/>
                  </a:cubicBezTo>
                  <a:cubicBezTo>
                    <a:pt x="380902" y="88726"/>
                    <a:pt x="377359" y="90658"/>
                    <a:pt x="373545" y="91857"/>
                  </a:cubicBezTo>
                  <a:cubicBezTo>
                    <a:pt x="368896" y="93311"/>
                    <a:pt x="364042" y="94009"/>
                    <a:pt x="359173" y="93923"/>
                  </a:cubicBezTo>
                  <a:close/>
                  <a:moveTo>
                    <a:pt x="412009" y="92452"/>
                  </a:moveTo>
                  <a:cubicBezTo>
                    <a:pt x="411358" y="92540"/>
                    <a:pt x="410761" y="92084"/>
                    <a:pt x="410671" y="91433"/>
                  </a:cubicBezTo>
                  <a:cubicBezTo>
                    <a:pt x="410656" y="91327"/>
                    <a:pt x="410656" y="91220"/>
                    <a:pt x="410671" y="91114"/>
                  </a:cubicBezTo>
                  <a:lnTo>
                    <a:pt x="410671" y="2832"/>
                  </a:lnTo>
                  <a:cubicBezTo>
                    <a:pt x="410582" y="2181"/>
                    <a:pt x="411040" y="1582"/>
                    <a:pt x="411691" y="1494"/>
                  </a:cubicBezTo>
                  <a:cubicBezTo>
                    <a:pt x="411795" y="1480"/>
                    <a:pt x="411902" y="1480"/>
                    <a:pt x="412009" y="1494"/>
                  </a:cubicBezTo>
                  <a:lnTo>
                    <a:pt x="444379" y="1494"/>
                  </a:lnTo>
                  <a:cubicBezTo>
                    <a:pt x="448431" y="1442"/>
                    <a:pt x="452458" y="2099"/>
                    <a:pt x="456284" y="3435"/>
                  </a:cubicBezTo>
                  <a:cubicBezTo>
                    <a:pt x="459664" y="4614"/>
                    <a:pt x="462761" y="6482"/>
                    <a:pt x="465380" y="8919"/>
                  </a:cubicBezTo>
                  <a:cubicBezTo>
                    <a:pt x="467906" y="11326"/>
                    <a:pt x="469892" y="14245"/>
                    <a:pt x="471200" y="17480"/>
                  </a:cubicBezTo>
                  <a:cubicBezTo>
                    <a:pt x="472624" y="21030"/>
                    <a:pt x="473331" y="24826"/>
                    <a:pt x="473281" y="28651"/>
                  </a:cubicBezTo>
                  <a:cubicBezTo>
                    <a:pt x="473331" y="32474"/>
                    <a:pt x="472624" y="36269"/>
                    <a:pt x="471200" y="39818"/>
                  </a:cubicBezTo>
                  <a:cubicBezTo>
                    <a:pt x="469892" y="43054"/>
                    <a:pt x="467906" y="45972"/>
                    <a:pt x="465380" y="48379"/>
                  </a:cubicBezTo>
                  <a:cubicBezTo>
                    <a:pt x="462761" y="50817"/>
                    <a:pt x="459664" y="52684"/>
                    <a:pt x="456284" y="53863"/>
                  </a:cubicBezTo>
                  <a:cubicBezTo>
                    <a:pt x="452458" y="55200"/>
                    <a:pt x="448431" y="55857"/>
                    <a:pt x="444379" y="55804"/>
                  </a:cubicBezTo>
                  <a:lnTo>
                    <a:pt x="423379" y="55804"/>
                  </a:lnTo>
                  <a:cubicBezTo>
                    <a:pt x="422989" y="55750"/>
                    <a:pt x="422630" y="56020"/>
                    <a:pt x="422576" y="56409"/>
                  </a:cubicBezTo>
                  <a:cubicBezTo>
                    <a:pt x="422567" y="56474"/>
                    <a:pt x="422567" y="56541"/>
                    <a:pt x="422576" y="56607"/>
                  </a:cubicBezTo>
                  <a:lnTo>
                    <a:pt x="422576" y="91114"/>
                  </a:lnTo>
                  <a:cubicBezTo>
                    <a:pt x="422665" y="91765"/>
                    <a:pt x="422208" y="92364"/>
                    <a:pt x="421557" y="92452"/>
                  </a:cubicBezTo>
                  <a:cubicBezTo>
                    <a:pt x="421453" y="92466"/>
                    <a:pt x="421346" y="92466"/>
                    <a:pt x="421239" y="92452"/>
                  </a:cubicBezTo>
                  <a:close/>
                  <a:moveTo>
                    <a:pt x="443710" y="44699"/>
                  </a:moveTo>
                  <a:cubicBezTo>
                    <a:pt x="448466" y="44992"/>
                    <a:pt x="453154" y="43461"/>
                    <a:pt x="456819" y="40419"/>
                  </a:cubicBezTo>
                  <a:cubicBezTo>
                    <a:pt x="460023" y="37366"/>
                    <a:pt x="461733" y="33067"/>
                    <a:pt x="461501" y="28648"/>
                  </a:cubicBezTo>
                  <a:cubicBezTo>
                    <a:pt x="461733" y="24229"/>
                    <a:pt x="460023" y="19929"/>
                    <a:pt x="456819" y="16877"/>
                  </a:cubicBezTo>
                  <a:cubicBezTo>
                    <a:pt x="453154" y="13835"/>
                    <a:pt x="448466" y="12304"/>
                    <a:pt x="443710" y="12596"/>
                  </a:cubicBezTo>
                  <a:lnTo>
                    <a:pt x="423379" y="12596"/>
                  </a:lnTo>
                  <a:cubicBezTo>
                    <a:pt x="422989" y="12542"/>
                    <a:pt x="422630" y="12812"/>
                    <a:pt x="422576" y="13201"/>
                  </a:cubicBezTo>
                  <a:cubicBezTo>
                    <a:pt x="422567" y="13266"/>
                    <a:pt x="422567" y="13333"/>
                    <a:pt x="422576" y="13399"/>
                  </a:cubicBezTo>
                  <a:lnTo>
                    <a:pt x="422576" y="43897"/>
                  </a:lnTo>
                  <a:cubicBezTo>
                    <a:pt x="422523" y="44285"/>
                    <a:pt x="422793" y="44644"/>
                    <a:pt x="423180" y="44699"/>
                  </a:cubicBezTo>
                  <a:cubicBezTo>
                    <a:pt x="423245" y="44708"/>
                    <a:pt x="423313" y="44708"/>
                    <a:pt x="423379" y="44699"/>
                  </a:cubicBezTo>
                  <a:close/>
                  <a:moveTo>
                    <a:pt x="519955" y="93923"/>
                  </a:moveTo>
                  <a:cubicBezTo>
                    <a:pt x="513076" y="94146"/>
                    <a:pt x="506290" y="92281"/>
                    <a:pt x="500491" y="88573"/>
                  </a:cubicBezTo>
                  <a:cubicBezTo>
                    <a:pt x="494977" y="84724"/>
                    <a:pt x="490943" y="79109"/>
                    <a:pt x="489053" y="72655"/>
                  </a:cubicBezTo>
                  <a:cubicBezTo>
                    <a:pt x="488601" y="71289"/>
                    <a:pt x="488220" y="69900"/>
                    <a:pt x="487917" y="68494"/>
                  </a:cubicBezTo>
                  <a:cubicBezTo>
                    <a:pt x="487572" y="66839"/>
                    <a:pt x="487326" y="65164"/>
                    <a:pt x="487183" y="63479"/>
                  </a:cubicBezTo>
                  <a:cubicBezTo>
                    <a:pt x="487005" y="61563"/>
                    <a:pt x="486871" y="59266"/>
                    <a:pt x="486782" y="56589"/>
                  </a:cubicBezTo>
                  <a:cubicBezTo>
                    <a:pt x="486692" y="53912"/>
                    <a:pt x="486648" y="50701"/>
                    <a:pt x="486648" y="46958"/>
                  </a:cubicBezTo>
                  <a:cubicBezTo>
                    <a:pt x="486648" y="43213"/>
                    <a:pt x="486692" y="40003"/>
                    <a:pt x="486782" y="37327"/>
                  </a:cubicBezTo>
                  <a:cubicBezTo>
                    <a:pt x="486871" y="34652"/>
                    <a:pt x="487005" y="32356"/>
                    <a:pt x="487183" y="30440"/>
                  </a:cubicBezTo>
                  <a:cubicBezTo>
                    <a:pt x="487326" y="28755"/>
                    <a:pt x="487572" y="27081"/>
                    <a:pt x="487917" y="25426"/>
                  </a:cubicBezTo>
                  <a:cubicBezTo>
                    <a:pt x="488220" y="24019"/>
                    <a:pt x="488601" y="22630"/>
                    <a:pt x="489053" y="21264"/>
                  </a:cubicBezTo>
                  <a:cubicBezTo>
                    <a:pt x="490946" y="14815"/>
                    <a:pt x="494980" y="9204"/>
                    <a:pt x="500494" y="5358"/>
                  </a:cubicBezTo>
                  <a:cubicBezTo>
                    <a:pt x="512535" y="-1776"/>
                    <a:pt x="527511" y="-1776"/>
                    <a:pt x="539552" y="5358"/>
                  </a:cubicBezTo>
                  <a:cubicBezTo>
                    <a:pt x="545066" y="9207"/>
                    <a:pt x="549100" y="14823"/>
                    <a:pt x="550990" y="21276"/>
                  </a:cubicBezTo>
                  <a:cubicBezTo>
                    <a:pt x="551442" y="22642"/>
                    <a:pt x="551822" y="24031"/>
                    <a:pt x="552126" y="25437"/>
                  </a:cubicBezTo>
                  <a:cubicBezTo>
                    <a:pt x="552473" y="27093"/>
                    <a:pt x="552717" y="28769"/>
                    <a:pt x="552863" y="30455"/>
                  </a:cubicBezTo>
                  <a:cubicBezTo>
                    <a:pt x="553041" y="32373"/>
                    <a:pt x="553175" y="34669"/>
                    <a:pt x="553264" y="37342"/>
                  </a:cubicBezTo>
                  <a:cubicBezTo>
                    <a:pt x="553353" y="40015"/>
                    <a:pt x="553398" y="43226"/>
                    <a:pt x="553398" y="46973"/>
                  </a:cubicBezTo>
                  <a:cubicBezTo>
                    <a:pt x="553398" y="50718"/>
                    <a:pt x="553353" y="53929"/>
                    <a:pt x="553264" y="56604"/>
                  </a:cubicBezTo>
                  <a:cubicBezTo>
                    <a:pt x="553175" y="59279"/>
                    <a:pt x="553041" y="61576"/>
                    <a:pt x="552863" y="63494"/>
                  </a:cubicBezTo>
                  <a:cubicBezTo>
                    <a:pt x="552717" y="65180"/>
                    <a:pt x="552473" y="66855"/>
                    <a:pt x="552126" y="68512"/>
                  </a:cubicBezTo>
                  <a:cubicBezTo>
                    <a:pt x="551822" y="69918"/>
                    <a:pt x="551442" y="71307"/>
                    <a:pt x="550990" y="72673"/>
                  </a:cubicBezTo>
                  <a:cubicBezTo>
                    <a:pt x="549100" y="79126"/>
                    <a:pt x="545066" y="84742"/>
                    <a:pt x="539552" y="88591"/>
                  </a:cubicBezTo>
                  <a:cubicBezTo>
                    <a:pt x="533708" y="92304"/>
                    <a:pt x="526874" y="94163"/>
                    <a:pt x="519955" y="93923"/>
                  </a:cubicBezTo>
                  <a:close/>
                  <a:moveTo>
                    <a:pt x="519955" y="82821"/>
                  </a:moveTo>
                  <a:cubicBezTo>
                    <a:pt x="524366" y="83016"/>
                    <a:pt x="528723" y="81797"/>
                    <a:pt x="532394" y="79343"/>
                  </a:cubicBezTo>
                  <a:cubicBezTo>
                    <a:pt x="535735" y="76839"/>
                    <a:pt x="538176" y="73319"/>
                    <a:pt x="539350" y="69311"/>
                  </a:cubicBezTo>
                  <a:cubicBezTo>
                    <a:pt x="539662" y="68325"/>
                    <a:pt x="539909" y="67319"/>
                    <a:pt x="540087" y="66300"/>
                  </a:cubicBezTo>
                  <a:cubicBezTo>
                    <a:pt x="540310" y="65095"/>
                    <a:pt x="540533" y="63602"/>
                    <a:pt x="540756" y="61821"/>
                  </a:cubicBezTo>
                  <a:cubicBezTo>
                    <a:pt x="540979" y="60039"/>
                    <a:pt x="541136" y="57944"/>
                    <a:pt x="541226" y="55534"/>
                  </a:cubicBezTo>
                  <a:cubicBezTo>
                    <a:pt x="541315" y="53126"/>
                    <a:pt x="541359" y="50273"/>
                    <a:pt x="541359" y="46973"/>
                  </a:cubicBezTo>
                  <a:cubicBezTo>
                    <a:pt x="541359" y="43674"/>
                    <a:pt x="541315" y="40820"/>
                    <a:pt x="541226" y="38412"/>
                  </a:cubicBezTo>
                  <a:cubicBezTo>
                    <a:pt x="541136" y="36005"/>
                    <a:pt x="540979" y="33909"/>
                    <a:pt x="540756" y="32126"/>
                  </a:cubicBezTo>
                  <a:cubicBezTo>
                    <a:pt x="540533" y="30342"/>
                    <a:pt x="540310" y="28849"/>
                    <a:pt x="540087" y="27646"/>
                  </a:cubicBezTo>
                  <a:cubicBezTo>
                    <a:pt x="539909" y="26627"/>
                    <a:pt x="539662" y="25621"/>
                    <a:pt x="539350" y="24635"/>
                  </a:cubicBezTo>
                  <a:cubicBezTo>
                    <a:pt x="538176" y="20627"/>
                    <a:pt x="535735" y="17107"/>
                    <a:pt x="532394" y="14603"/>
                  </a:cubicBezTo>
                  <a:cubicBezTo>
                    <a:pt x="528723" y="12149"/>
                    <a:pt x="524366" y="10931"/>
                    <a:pt x="519955" y="11125"/>
                  </a:cubicBezTo>
                  <a:cubicBezTo>
                    <a:pt x="515564" y="10923"/>
                    <a:pt x="511224" y="12143"/>
                    <a:pt x="507580" y="14603"/>
                  </a:cubicBezTo>
                  <a:cubicBezTo>
                    <a:pt x="504272" y="17126"/>
                    <a:pt x="501858" y="20641"/>
                    <a:pt x="500693" y="24635"/>
                  </a:cubicBezTo>
                  <a:cubicBezTo>
                    <a:pt x="500381" y="25621"/>
                    <a:pt x="500134" y="26627"/>
                    <a:pt x="499959" y="27646"/>
                  </a:cubicBezTo>
                  <a:cubicBezTo>
                    <a:pt x="499736" y="28849"/>
                    <a:pt x="499513" y="30342"/>
                    <a:pt x="499290" y="32126"/>
                  </a:cubicBezTo>
                  <a:cubicBezTo>
                    <a:pt x="499067" y="33909"/>
                    <a:pt x="498909" y="36005"/>
                    <a:pt x="498820" y="38412"/>
                  </a:cubicBezTo>
                  <a:cubicBezTo>
                    <a:pt x="498731" y="40820"/>
                    <a:pt x="498686" y="43674"/>
                    <a:pt x="498686" y="46973"/>
                  </a:cubicBezTo>
                  <a:cubicBezTo>
                    <a:pt x="498686" y="50273"/>
                    <a:pt x="498731" y="53126"/>
                    <a:pt x="498820" y="55534"/>
                  </a:cubicBezTo>
                  <a:cubicBezTo>
                    <a:pt x="498909" y="57941"/>
                    <a:pt x="499067" y="60037"/>
                    <a:pt x="499290" y="61821"/>
                  </a:cubicBezTo>
                  <a:cubicBezTo>
                    <a:pt x="499513" y="63604"/>
                    <a:pt x="499736" y="65097"/>
                    <a:pt x="499959" y="66300"/>
                  </a:cubicBezTo>
                  <a:cubicBezTo>
                    <a:pt x="500134" y="67319"/>
                    <a:pt x="500381" y="68325"/>
                    <a:pt x="500693" y="69311"/>
                  </a:cubicBezTo>
                  <a:cubicBezTo>
                    <a:pt x="501858" y="73305"/>
                    <a:pt x="504272" y="76821"/>
                    <a:pt x="507580" y="79343"/>
                  </a:cubicBezTo>
                  <a:cubicBezTo>
                    <a:pt x="511224" y="81803"/>
                    <a:pt x="515564" y="83023"/>
                    <a:pt x="519955" y="82821"/>
                  </a:cubicBezTo>
                  <a:close/>
                  <a:moveTo>
                    <a:pt x="625359" y="92452"/>
                  </a:moveTo>
                  <a:cubicBezTo>
                    <a:pt x="624544" y="92446"/>
                    <a:pt x="623834" y="91899"/>
                    <a:pt x="623620" y="91114"/>
                  </a:cubicBezTo>
                  <a:lnTo>
                    <a:pt x="605428" y="53929"/>
                  </a:lnTo>
                  <a:lnTo>
                    <a:pt x="585364" y="53929"/>
                  </a:lnTo>
                  <a:cubicBezTo>
                    <a:pt x="584974" y="53874"/>
                    <a:pt x="584615" y="54144"/>
                    <a:pt x="584561" y="54533"/>
                  </a:cubicBezTo>
                  <a:cubicBezTo>
                    <a:pt x="584552" y="54599"/>
                    <a:pt x="584552" y="54666"/>
                    <a:pt x="584561" y="54731"/>
                  </a:cubicBezTo>
                  <a:lnTo>
                    <a:pt x="584561" y="91114"/>
                  </a:lnTo>
                  <a:cubicBezTo>
                    <a:pt x="584651" y="91765"/>
                    <a:pt x="584193" y="92364"/>
                    <a:pt x="583542" y="92452"/>
                  </a:cubicBezTo>
                  <a:cubicBezTo>
                    <a:pt x="583438" y="92466"/>
                    <a:pt x="583331" y="92466"/>
                    <a:pt x="583224" y="92452"/>
                  </a:cubicBezTo>
                  <a:lnTo>
                    <a:pt x="573994" y="92452"/>
                  </a:lnTo>
                  <a:cubicBezTo>
                    <a:pt x="573343" y="92540"/>
                    <a:pt x="572746" y="92084"/>
                    <a:pt x="572657" y="91433"/>
                  </a:cubicBezTo>
                  <a:cubicBezTo>
                    <a:pt x="572642" y="91327"/>
                    <a:pt x="572642" y="91220"/>
                    <a:pt x="572657" y="91114"/>
                  </a:cubicBezTo>
                  <a:lnTo>
                    <a:pt x="572657" y="2832"/>
                  </a:lnTo>
                  <a:cubicBezTo>
                    <a:pt x="572567" y="2181"/>
                    <a:pt x="573025" y="1582"/>
                    <a:pt x="573676" y="1494"/>
                  </a:cubicBezTo>
                  <a:cubicBezTo>
                    <a:pt x="573780" y="1480"/>
                    <a:pt x="573887" y="1480"/>
                    <a:pt x="573994" y="1494"/>
                  </a:cubicBezTo>
                  <a:lnTo>
                    <a:pt x="606900" y="1494"/>
                  </a:lnTo>
                  <a:cubicBezTo>
                    <a:pt x="610859" y="1441"/>
                    <a:pt x="614794" y="2075"/>
                    <a:pt x="618537" y="3367"/>
                  </a:cubicBezTo>
                  <a:cubicBezTo>
                    <a:pt x="621845" y="4516"/>
                    <a:pt x="624892" y="6312"/>
                    <a:pt x="627499" y="8652"/>
                  </a:cubicBezTo>
                  <a:cubicBezTo>
                    <a:pt x="630019" y="10959"/>
                    <a:pt x="632005" y="13790"/>
                    <a:pt x="633319" y="16945"/>
                  </a:cubicBezTo>
                  <a:cubicBezTo>
                    <a:pt x="634734" y="20356"/>
                    <a:pt x="635441" y="24019"/>
                    <a:pt x="635400" y="27711"/>
                  </a:cubicBezTo>
                  <a:cubicBezTo>
                    <a:pt x="635572" y="33317"/>
                    <a:pt x="633878" y="38822"/>
                    <a:pt x="630584" y="43361"/>
                  </a:cubicBezTo>
                  <a:cubicBezTo>
                    <a:pt x="627288" y="47703"/>
                    <a:pt x="622698" y="50888"/>
                    <a:pt x="617476" y="52457"/>
                  </a:cubicBezTo>
                  <a:lnTo>
                    <a:pt x="636871" y="90847"/>
                  </a:lnTo>
                  <a:cubicBezTo>
                    <a:pt x="637127" y="91170"/>
                    <a:pt x="637177" y="91609"/>
                    <a:pt x="637005" y="91982"/>
                  </a:cubicBezTo>
                  <a:cubicBezTo>
                    <a:pt x="636809" y="92305"/>
                    <a:pt x="636446" y="92488"/>
                    <a:pt x="636068" y="92452"/>
                  </a:cubicBezTo>
                  <a:close/>
                  <a:moveTo>
                    <a:pt x="606632" y="42826"/>
                  </a:moveTo>
                  <a:cubicBezTo>
                    <a:pt x="611126" y="43111"/>
                    <a:pt x="615564" y="41704"/>
                    <a:pt x="619072" y="38882"/>
                  </a:cubicBezTo>
                  <a:cubicBezTo>
                    <a:pt x="622122" y="35995"/>
                    <a:pt x="623739" y="31904"/>
                    <a:pt x="623486" y="27711"/>
                  </a:cubicBezTo>
                  <a:cubicBezTo>
                    <a:pt x="623739" y="23519"/>
                    <a:pt x="622122" y="19431"/>
                    <a:pt x="619072" y="16544"/>
                  </a:cubicBezTo>
                  <a:cubicBezTo>
                    <a:pt x="615564" y="13722"/>
                    <a:pt x="611126" y="12315"/>
                    <a:pt x="606632" y="12599"/>
                  </a:cubicBezTo>
                  <a:lnTo>
                    <a:pt x="585364" y="12599"/>
                  </a:lnTo>
                  <a:cubicBezTo>
                    <a:pt x="584974" y="12545"/>
                    <a:pt x="584615" y="12815"/>
                    <a:pt x="584561" y="13204"/>
                  </a:cubicBezTo>
                  <a:cubicBezTo>
                    <a:pt x="584552" y="13269"/>
                    <a:pt x="584552" y="13336"/>
                    <a:pt x="584561" y="13402"/>
                  </a:cubicBezTo>
                  <a:lnTo>
                    <a:pt x="584561" y="42027"/>
                  </a:lnTo>
                  <a:cubicBezTo>
                    <a:pt x="584508" y="42415"/>
                    <a:pt x="584778" y="42775"/>
                    <a:pt x="585165" y="42829"/>
                  </a:cubicBezTo>
                  <a:cubicBezTo>
                    <a:pt x="585230" y="42839"/>
                    <a:pt x="585299" y="42839"/>
                    <a:pt x="585364" y="42829"/>
                  </a:cubicBezTo>
                  <a:close/>
                  <a:moveTo>
                    <a:pt x="674717" y="92452"/>
                  </a:moveTo>
                  <a:cubicBezTo>
                    <a:pt x="674066" y="92540"/>
                    <a:pt x="673468" y="92084"/>
                    <a:pt x="673379" y="91433"/>
                  </a:cubicBezTo>
                  <a:cubicBezTo>
                    <a:pt x="673364" y="91327"/>
                    <a:pt x="673364" y="91220"/>
                    <a:pt x="673379" y="91114"/>
                  </a:cubicBezTo>
                  <a:lnTo>
                    <a:pt x="673379" y="13384"/>
                  </a:lnTo>
                  <a:cubicBezTo>
                    <a:pt x="673432" y="12996"/>
                    <a:pt x="673162" y="12636"/>
                    <a:pt x="672776" y="12581"/>
                  </a:cubicBezTo>
                  <a:cubicBezTo>
                    <a:pt x="672710" y="12572"/>
                    <a:pt x="672642" y="12572"/>
                    <a:pt x="672576" y="12581"/>
                  </a:cubicBezTo>
                  <a:lnTo>
                    <a:pt x="647697" y="12581"/>
                  </a:lnTo>
                  <a:cubicBezTo>
                    <a:pt x="647046" y="12670"/>
                    <a:pt x="646448" y="12213"/>
                    <a:pt x="646359" y="11563"/>
                  </a:cubicBezTo>
                  <a:cubicBezTo>
                    <a:pt x="646344" y="11457"/>
                    <a:pt x="646344" y="11350"/>
                    <a:pt x="646359" y="11244"/>
                  </a:cubicBezTo>
                  <a:lnTo>
                    <a:pt x="646359" y="2832"/>
                  </a:lnTo>
                  <a:cubicBezTo>
                    <a:pt x="646270" y="2181"/>
                    <a:pt x="646728" y="1582"/>
                    <a:pt x="647379" y="1494"/>
                  </a:cubicBezTo>
                  <a:cubicBezTo>
                    <a:pt x="647483" y="1480"/>
                    <a:pt x="647590" y="1480"/>
                    <a:pt x="647697" y="1494"/>
                  </a:cubicBezTo>
                  <a:lnTo>
                    <a:pt x="710966" y="1494"/>
                  </a:lnTo>
                  <a:cubicBezTo>
                    <a:pt x="711617" y="1406"/>
                    <a:pt x="712214" y="1862"/>
                    <a:pt x="712304" y="2513"/>
                  </a:cubicBezTo>
                  <a:cubicBezTo>
                    <a:pt x="712318" y="2619"/>
                    <a:pt x="712318" y="2726"/>
                    <a:pt x="712304" y="2832"/>
                  </a:cubicBezTo>
                  <a:lnTo>
                    <a:pt x="712304" y="11259"/>
                  </a:lnTo>
                  <a:cubicBezTo>
                    <a:pt x="712393" y="11909"/>
                    <a:pt x="711935" y="12508"/>
                    <a:pt x="711284" y="12596"/>
                  </a:cubicBezTo>
                  <a:cubicBezTo>
                    <a:pt x="711180" y="12611"/>
                    <a:pt x="711073" y="12611"/>
                    <a:pt x="710966" y="12596"/>
                  </a:cubicBezTo>
                  <a:lnTo>
                    <a:pt x="686086" y="12596"/>
                  </a:lnTo>
                  <a:cubicBezTo>
                    <a:pt x="685697" y="12542"/>
                    <a:pt x="685337" y="12812"/>
                    <a:pt x="685284" y="13201"/>
                  </a:cubicBezTo>
                  <a:cubicBezTo>
                    <a:pt x="685275" y="13266"/>
                    <a:pt x="685275" y="13333"/>
                    <a:pt x="685284" y="13399"/>
                  </a:cubicBezTo>
                  <a:lnTo>
                    <a:pt x="685284" y="91114"/>
                  </a:lnTo>
                  <a:cubicBezTo>
                    <a:pt x="685373" y="91765"/>
                    <a:pt x="684915" y="92364"/>
                    <a:pt x="684264" y="92452"/>
                  </a:cubicBezTo>
                  <a:cubicBezTo>
                    <a:pt x="684160" y="92466"/>
                    <a:pt x="684053" y="92466"/>
                    <a:pt x="683946" y="92452"/>
                  </a:cubicBezTo>
                  <a:close/>
                  <a:moveTo>
                    <a:pt x="740393" y="2832"/>
                  </a:moveTo>
                  <a:cubicBezTo>
                    <a:pt x="740524" y="2051"/>
                    <a:pt x="741208" y="1483"/>
                    <a:pt x="741999" y="1494"/>
                  </a:cubicBezTo>
                  <a:lnTo>
                    <a:pt x="750693" y="1494"/>
                  </a:lnTo>
                  <a:cubicBezTo>
                    <a:pt x="751525" y="1448"/>
                    <a:pt x="752263" y="2017"/>
                    <a:pt x="752432" y="2832"/>
                  </a:cubicBezTo>
                  <a:lnTo>
                    <a:pt x="783598" y="91114"/>
                  </a:lnTo>
                  <a:cubicBezTo>
                    <a:pt x="783866" y="92006"/>
                    <a:pt x="783554" y="92452"/>
                    <a:pt x="782662" y="92452"/>
                  </a:cubicBezTo>
                  <a:lnTo>
                    <a:pt x="773299" y="92452"/>
                  </a:lnTo>
                  <a:cubicBezTo>
                    <a:pt x="772467" y="92499"/>
                    <a:pt x="771729" y="91929"/>
                    <a:pt x="771560" y="91114"/>
                  </a:cubicBezTo>
                  <a:lnTo>
                    <a:pt x="764604" y="71318"/>
                  </a:lnTo>
                  <a:lnTo>
                    <a:pt x="727820" y="71318"/>
                  </a:lnTo>
                  <a:lnTo>
                    <a:pt x="720864" y="91114"/>
                  </a:lnTo>
                  <a:cubicBezTo>
                    <a:pt x="720650" y="91899"/>
                    <a:pt x="719940" y="92446"/>
                    <a:pt x="719125" y="92452"/>
                  </a:cubicBezTo>
                  <a:lnTo>
                    <a:pt x="709762" y="92452"/>
                  </a:lnTo>
                  <a:cubicBezTo>
                    <a:pt x="708870" y="92452"/>
                    <a:pt x="708558" y="92006"/>
                    <a:pt x="708826" y="91114"/>
                  </a:cubicBezTo>
                  <a:close/>
                  <a:moveTo>
                    <a:pt x="760725" y="60349"/>
                  </a:moveTo>
                  <a:lnTo>
                    <a:pt x="746413" y="19017"/>
                  </a:lnTo>
                  <a:lnTo>
                    <a:pt x="746145" y="19017"/>
                  </a:lnTo>
                  <a:lnTo>
                    <a:pt x="731699" y="60349"/>
                  </a:lnTo>
                  <a:close/>
                  <a:moveTo>
                    <a:pt x="808478" y="92452"/>
                  </a:moveTo>
                  <a:cubicBezTo>
                    <a:pt x="807827" y="92540"/>
                    <a:pt x="807230" y="92084"/>
                    <a:pt x="807140" y="91433"/>
                  </a:cubicBezTo>
                  <a:cubicBezTo>
                    <a:pt x="807126" y="91327"/>
                    <a:pt x="807126" y="91220"/>
                    <a:pt x="807140" y="91114"/>
                  </a:cubicBezTo>
                  <a:lnTo>
                    <a:pt x="807140" y="13384"/>
                  </a:lnTo>
                  <a:cubicBezTo>
                    <a:pt x="807194" y="12996"/>
                    <a:pt x="806923" y="12636"/>
                    <a:pt x="806537" y="12581"/>
                  </a:cubicBezTo>
                  <a:cubicBezTo>
                    <a:pt x="806472" y="12572"/>
                    <a:pt x="806403" y="12572"/>
                    <a:pt x="806338" y="12581"/>
                  </a:cubicBezTo>
                  <a:lnTo>
                    <a:pt x="781458" y="12581"/>
                  </a:lnTo>
                  <a:cubicBezTo>
                    <a:pt x="780807" y="12670"/>
                    <a:pt x="780210" y="12213"/>
                    <a:pt x="780121" y="11563"/>
                  </a:cubicBezTo>
                  <a:cubicBezTo>
                    <a:pt x="780106" y="11457"/>
                    <a:pt x="780106" y="11350"/>
                    <a:pt x="780121" y="11244"/>
                  </a:cubicBezTo>
                  <a:lnTo>
                    <a:pt x="780121" y="2832"/>
                  </a:lnTo>
                  <a:cubicBezTo>
                    <a:pt x="780031" y="2181"/>
                    <a:pt x="780489" y="1582"/>
                    <a:pt x="781140" y="1494"/>
                  </a:cubicBezTo>
                  <a:cubicBezTo>
                    <a:pt x="781244" y="1480"/>
                    <a:pt x="781351" y="1480"/>
                    <a:pt x="781458" y="1494"/>
                  </a:cubicBezTo>
                  <a:lnTo>
                    <a:pt x="844727" y="1494"/>
                  </a:lnTo>
                  <a:cubicBezTo>
                    <a:pt x="845378" y="1406"/>
                    <a:pt x="845976" y="1862"/>
                    <a:pt x="846065" y="2513"/>
                  </a:cubicBezTo>
                  <a:cubicBezTo>
                    <a:pt x="846080" y="2619"/>
                    <a:pt x="846080" y="2726"/>
                    <a:pt x="846065" y="2832"/>
                  </a:cubicBezTo>
                  <a:lnTo>
                    <a:pt x="846065" y="11259"/>
                  </a:lnTo>
                  <a:cubicBezTo>
                    <a:pt x="846154" y="11909"/>
                    <a:pt x="845696" y="12508"/>
                    <a:pt x="845046" y="12596"/>
                  </a:cubicBezTo>
                  <a:cubicBezTo>
                    <a:pt x="844941" y="12611"/>
                    <a:pt x="844834" y="12611"/>
                    <a:pt x="844727" y="12596"/>
                  </a:cubicBezTo>
                  <a:lnTo>
                    <a:pt x="819848" y="12596"/>
                  </a:lnTo>
                  <a:cubicBezTo>
                    <a:pt x="819458" y="12542"/>
                    <a:pt x="819099" y="12812"/>
                    <a:pt x="819045" y="13201"/>
                  </a:cubicBezTo>
                  <a:cubicBezTo>
                    <a:pt x="819036" y="13266"/>
                    <a:pt x="819036" y="13333"/>
                    <a:pt x="819045" y="13399"/>
                  </a:cubicBezTo>
                  <a:lnTo>
                    <a:pt x="819045" y="91114"/>
                  </a:lnTo>
                  <a:cubicBezTo>
                    <a:pt x="819134" y="91765"/>
                    <a:pt x="818677" y="92364"/>
                    <a:pt x="818026" y="92452"/>
                  </a:cubicBezTo>
                  <a:cubicBezTo>
                    <a:pt x="817922" y="92466"/>
                    <a:pt x="817815" y="92466"/>
                    <a:pt x="817708" y="92452"/>
                  </a:cubicBezTo>
                  <a:close/>
                  <a:moveTo>
                    <a:pt x="860259" y="2832"/>
                  </a:moveTo>
                  <a:cubicBezTo>
                    <a:pt x="860169" y="2181"/>
                    <a:pt x="860627" y="1582"/>
                    <a:pt x="861278" y="1494"/>
                  </a:cubicBezTo>
                  <a:cubicBezTo>
                    <a:pt x="861382" y="1480"/>
                    <a:pt x="861489" y="1480"/>
                    <a:pt x="861596" y="1494"/>
                  </a:cubicBezTo>
                  <a:lnTo>
                    <a:pt x="870811" y="1494"/>
                  </a:lnTo>
                  <a:cubicBezTo>
                    <a:pt x="871462" y="1406"/>
                    <a:pt x="872059" y="1862"/>
                    <a:pt x="872149" y="2513"/>
                  </a:cubicBezTo>
                  <a:cubicBezTo>
                    <a:pt x="872163" y="2619"/>
                    <a:pt x="872163" y="2726"/>
                    <a:pt x="872149" y="2832"/>
                  </a:cubicBezTo>
                  <a:lnTo>
                    <a:pt x="872149" y="91114"/>
                  </a:lnTo>
                  <a:cubicBezTo>
                    <a:pt x="872238" y="91765"/>
                    <a:pt x="871780" y="92364"/>
                    <a:pt x="871129" y="92452"/>
                  </a:cubicBezTo>
                  <a:cubicBezTo>
                    <a:pt x="871025" y="92466"/>
                    <a:pt x="870918" y="92466"/>
                    <a:pt x="870811" y="92452"/>
                  </a:cubicBezTo>
                  <a:lnTo>
                    <a:pt x="861596" y="92452"/>
                  </a:lnTo>
                  <a:cubicBezTo>
                    <a:pt x="860945" y="92540"/>
                    <a:pt x="860348" y="92084"/>
                    <a:pt x="860259" y="91433"/>
                  </a:cubicBezTo>
                  <a:cubicBezTo>
                    <a:pt x="860244" y="91327"/>
                    <a:pt x="860244" y="91220"/>
                    <a:pt x="860259" y="91114"/>
                  </a:cubicBezTo>
                  <a:close/>
                  <a:moveTo>
                    <a:pt x="924732" y="93923"/>
                  </a:moveTo>
                  <a:cubicBezTo>
                    <a:pt x="917853" y="94145"/>
                    <a:pt x="911070" y="92280"/>
                    <a:pt x="905271" y="88573"/>
                  </a:cubicBezTo>
                  <a:cubicBezTo>
                    <a:pt x="899757" y="84724"/>
                    <a:pt x="895723" y="79109"/>
                    <a:pt x="893833" y="72655"/>
                  </a:cubicBezTo>
                  <a:cubicBezTo>
                    <a:pt x="893381" y="71289"/>
                    <a:pt x="893000" y="69900"/>
                    <a:pt x="892694" y="68494"/>
                  </a:cubicBezTo>
                  <a:cubicBezTo>
                    <a:pt x="892350" y="66839"/>
                    <a:pt x="892103" y="65164"/>
                    <a:pt x="891960" y="63479"/>
                  </a:cubicBezTo>
                  <a:cubicBezTo>
                    <a:pt x="891782" y="61563"/>
                    <a:pt x="891648" y="59266"/>
                    <a:pt x="891559" y="56589"/>
                  </a:cubicBezTo>
                  <a:cubicBezTo>
                    <a:pt x="891470" y="53912"/>
                    <a:pt x="891425" y="50701"/>
                    <a:pt x="891425" y="46958"/>
                  </a:cubicBezTo>
                  <a:cubicBezTo>
                    <a:pt x="891425" y="43213"/>
                    <a:pt x="891470" y="40003"/>
                    <a:pt x="891559" y="37327"/>
                  </a:cubicBezTo>
                  <a:cubicBezTo>
                    <a:pt x="891648" y="34652"/>
                    <a:pt x="891782" y="32356"/>
                    <a:pt x="891960" y="30440"/>
                  </a:cubicBezTo>
                  <a:cubicBezTo>
                    <a:pt x="892103" y="28755"/>
                    <a:pt x="892350" y="27081"/>
                    <a:pt x="892694" y="25426"/>
                  </a:cubicBezTo>
                  <a:cubicBezTo>
                    <a:pt x="893000" y="24019"/>
                    <a:pt x="893381" y="22630"/>
                    <a:pt x="893833" y="21264"/>
                  </a:cubicBezTo>
                  <a:cubicBezTo>
                    <a:pt x="895720" y="14817"/>
                    <a:pt x="899751" y="9207"/>
                    <a:pt x="905256" y="5358"/>
                  </a:cubicBezTo>
                  <a:cubicBezTo>
                    <a:pt x="917298" y="-1776"/>
                    <a:pt x="932273" y="-1776"/>
                    <a:pt x="944314" y="5358"/>
                  </a:cubicBezTo>
                  <a:cubicBezTo>
                    <a:pt x="949828" y="9207"/>
                    <a:pt x="953862" y="14823"/>
                    <a:pt x="955752" y="21276"/>
                  </a:cubicBezTo>
                  <a:cubicBezTo>
                    <a:pt x="956204" y="22642"/>
                    <a:pt x="956585" y="24031"/>
                    <a:pt x="956891" y="25437"/>
                  </a:cubicBezTo>
                  <a:cubicBezTo>
                    <a:pt x="957236" y="27094"/>
                    <a:pt x="957482" y="28769"/>
                    <a:pt x="957625" y="30455"/>
                  </a:cubicBezTo>
                  <a:cubicBezTo>
                    <a:pt x="957803" y="32373"/>
                    <a:pt x="957937" y="34669"/>
                    <a:pt x="958026" y="37342"/>
                  </a:cubicBezTo>
                  <a:cubicBezTo>
                    <a:pt x="958116" y="40015"/>
                    <a:pt x="958160" y="43226"/>
                    <a:pt x="958160" y="46973"/>
                  </a:cubicBezTo>
                  <a:cubicBezTo>
                    <a:pt x="958160" y="50718"/>
                    <a:pt x="958116" y="53929"/>
                    <a:pt x="958026" y="56604"/>
                  </a:cubicBezTo>
                  <a:cubicBezTo>
                    <a:pt x="957937" y="59279"/>
                    <a:pt x="957803" y="61576"/>
                    <a:pt x="957625" y="63494"/>
                  </a:cubicBezTo>
                  <a:cubicBezTo>
                    <a:pt x="957482" y="65180"/>
                    <a:pt x="957236" y="66855"/>
                    <a:pt x="956891" y="68512"/>
                  </a:cubicBezTo>
                  <a:cubicBezTo>
                    <a:pt x="956585" y="69918"/>
                    <a:pt x="956204" y="71307"/>
                    <a:pt x="955752" y="72673"/>
                  </a:cubicBezTo>
                  <a:cubicBezTo>
                    <a:pt x="953862" y="79126"/>
                    <a:pt x="949828" y="84742"/>
                    <a:pt x="944314" y="88591"/>
                  </a:cubicBezTo>
                  <a:cubicBezTo>
                    <a:pt x="938470" y="92304"/>
                    <a:pt x="931637" y="94163"/>
                    <a:pt x="924717" y="93923"/>
                  </a:cubicBezTo>
                  <a:close/>
                  <a:moveTo>
                    <a:pt x="924732" y="82821"/>
                  </a:moveTo>
                  <a:cubicBezTo>
                    <a:pt x="929143" y="83016"/>
                    <a:pt x="933500" y="81797"/>
                    <a:pt x="937171" y="79343"/>
                  </a:cubicBezTo>
                  <a:cubicBezTo>
                    <a:pt x="940513" y="76839"/>
                    <a:pt x="942953" y="73319"/>
                    <a:pt x="944127" y="69311"/>
                  </a:cubicBezTo>
                  <a:cubicBezTo>
                    <a:pt x="944439" y="68325"/>
                    <a:pt x="944686" y="67319"/>
                    <a:pt x="944861" y="66300"/>
                  </a:cubicBezTo>
                  <a:cubicBezTo>
                    <a:pt x="945084" y="65095"/>
                    <a:pt x="945307" y="63602"/>
                    <a:pt x="945530" y="61821"/>
                  </a:cubicBezTo>
                  <a:cubicBezTo>
                    <a:pt x="945753" y="60039"/>
                    <a:pt x="945908" y="57944"/>
                    <a:pt x="946000" y="55534"/>
                  </a:cubicBezTo>
                  <a:cubicBezTo>
                    <a:pt x="946089" y="53126"/>
                    <a:pt x="946134" y="50273"/>
                    <a:pt x="946134" y="46973"/>
                  </a:cubicBezTo>
                  <a:cubicBezTo>
                    <a:pt x="946134" y="43674"/>
                    <a:pt x="946089" y="40820"/>
                    <a:pt x="946000" y="38412"/>
                  </a:cubicBezTo>
                  <a:cubicBezTo>
                    <a:pt x="945911" y="36005"/>
                    <a:pt x="945753" y="33909"/>
                    <a:pt x="945530" y="32126"/>
                  </a:cubicBezTo>
                  <a:cubicBezTo>
                    <a:pt x="945307" y="30342"/>
                    <a:pt x="945084" y="28849"/>
                    <a:pt x="944861" y="27646"/>
                  </a:cubicBezTo>
                  <a:cubicBezTo>
                    <a:pt x="944686" y="26627"/>
                    <a:pt x="944439" y="25621"/>
                    <a:pt x="944127" y="24635"/>
                  </a:cubicBezTo>
                  <a:cubicBezTo>
                    <a:pt x="942953" y="20627"/>
                    <a:pt x="940513" y="17107"/>
                    <a:pt x="937171" y="14603"/>
                  </a:cubicBezTo>
                  <a:cubicBezTo>
                    <a:pt x="933500" y="12149"/>
                    <a:pt x="929143" y="10931"/>
                    <a:pt x="924732" y="11125"/>
                  </a:cubicBezTo>
                  <a:cubicBezTo>
                    <a:pt x="920341" y="10923"/>
                    <a:pt x="916002" y="12143"/>
                    <a:pt x="912357" y="14603"/>
                  </a:cubicBezTo>
                  <a:cubicBezTo>
                    <a:pt x="909049" y="17125"/>
                    <a:pt x="906632" y="20641"/>
                    <a:pt x="905467" y="24635"/>
                  </a:cubicBezTo>
                  <a:cubicBezTo>
                    <a:pt x="905155" y="25621"/>
                    <a:pt x="904908" y="26627"/>
                    <a:pt x="904733" y="27646"/>
                  </a:cubicBezTo>
                  <a:cubicBezTo>
                    <a:pt x="904510" y="28849"/>
                    <a:pt x="904287" y="30342"/>
                    <a:pt x="904064" y="32126"/>
                  </a:cubicBezTo>
                  <a:cubicBezTo>
                    <a:pt x="903841" y="33909"/>
                    <a:pt x="903684" y="36005"/>
                    <a:pt x="903594" y="38412"/>
                  </a:cubicBezTo>
                  <a:cubicBezTo>
                    <a:pt x="903505" y="40820"/>
                    <a:pt x="903461" y="43674"/>
                    <a:pt x="903461" y="46973"/>
                  </a:cubicBezTo>
                  <a:cubicBezTo>
                    <a:pt x="903461" y="50273"/>
                    <a:pt x="903505" y="53126"/>
                    <a:pt x="903594" y="55534"/>
                  </a:cubicBezTo>
                  <a:cubicBezTo>
                    <a:pt x="903684" y="57941"/>
                    <a:pt x="903841" y="60037"/>
                    <a:pt x="904064" y="61821"/>
                  </a:cubicBezTo>
                  <a:cubicBezTo>
                    <a:pt x="904287" y="63604"/>
                    <a:pt x="904510" y="65097"/>
                    <a:pt x="904733" y="66300"/>
                  </a:cubicBezTo>
                  <a:cubicBezTo>
                    <a:pt x="904908" y="67319"/>
                    <a:pt x="905155" y="68325"/>
                    <a:pt x="905467" y="69311"/>
                  </a:cubicBezTo>
                  <a:cubicBezTo>
                    <a:pt x="906632" y="73305"/>
                    <a:pt x="909049" y="76821"/>
                    <a:pt x="912357" y="79343"/>
                  </a:cubicBezTo>
                  <a:cubicBezTo>
                    <a:pt x="915996" y="81800"/>
                    <a:pt x="920329" y="83020"/>
                    <a:pt x="924717" y="82821"/>
                  </a:cubicBezTo>
                  <a:close/>
                  <a:moveTo>
                    <a:pt x="977434" y="2832"/>
                  </a:moveTo>
                  <a:cubicBezTo>
                    <a:pt x="977345" y="2181"/>
                    <a:pt x="977802" y="1582"/>
                    <a:pt x="978453" y="1494"/>
                  </a:cubicBezTo>
                  <a:cubicBezTo>
                    <a:pt x="978557" y="1480"/>
                    <a:pt x="978664" y="1480"/>
                    <a:pt x="978771" y="1494"/>
                  </a:cubicBezTo>
                  <a:lnTo>
                    <a:pt x="987332" y="1494"/>
                  </a:lnTo>
                  <a:cubicBezTo>
                    <a:pt x="988292" y="1429"/>
                    <a:pt x="989196" y="1960"/>
                    <a:pt x="989606" y="2832"/>
                  </a:cubicBezTo>
                  <a:lnTo>
                    <a:pt x="1030790" y="71050"/>
                  </a:lnTo>
                  <a:lnTo>
                    <a:pt x="1031325" y="71050"/>
                  </a:lnTo>
                  <a:lnTo>
                    <a:pt x="1031325" y="2832"/>
                  </a:lnTo>
                  <a:cubicBezTo>
                    <a:pt x="1031236" y="2181"/>
                    <a:pt x="1031693" y="1582"/>
                    <a:pt x="1032344" y="1494"/>
                  </a:cubicBezTo>
                  <a:cubicBezTo>
                    <a:pt x="1032448" y="1480"/>
                    <a:pt x="1032555" y="1480"/>
                    <a:pt x="1032662" y="1494"/>
                  </a:cubicBezTo>
                  <a:lnTo>
                    <a:pt x="1041089" y="1494"/>
                  </a:lnTo>
                  <a:cubicBezTo>
                    <a:pt x="1041740" y="1406"/>
                    <a:pt x="1042338" y="1862"/>
                    <a:pt x="1042427" y="2513"/>
                  </a:cubicBezTo>
                  <a:cubicBezTo>
                    <a:pt x="1042442" y="2619"/>
                    <a:pt x="1042442" y="2726"/>
                    <a:pt x="1042427" y="2832"/>
                  </a:cubicBezTo>
                  <a:lnTo>
                    <a:pt x="1042427" y="91114"/>
                  </a:lnTo>
                  <a:cubicBezTo>
                    <a:pt x="1042516" y="91765"/>
                    <a:pt x="1042058" y="92364"/>
                    <a:pt x="1041407" y="92452"/>
                  </a:cubicBezTo>
                  <a:cubicBezTo>
                    <a:pt x="1041303" y="92466"/>
                    <a:pt x="1041196" y="92466"/>
                    <a:pt x="1041089" y="92452"/>
                  </a:cubicBezTo>
                  <a:lnTo>
                    <a:pt x="1032529" y="92452"/>
                  </a:lnTo>
                  <a:cubicBezTo>
                    <a:pt x="1031568" y="92517"/>
                    <a:pt x="1030665" y="91986"/>
                    <a:pt x="1030255" y="91114"/>
                  </a:cubicBezTo>
                  <a:lnTo>
                    <a:pt x="988937" y="23164"/>
                  </a:lnTo>
                  <a:lnTo>
                    <a:pt x="988536" y="23164"/>
                  </a:lnTo>
                  <a:lnTo>
                    <a:pt x="988536" y="91114"/>
                  </a:lnTo>
                  <a:cubicBezTo>
                    <a:pt x="988625" y="91765"/>
                    <a:pt x="988170" y="92365"/>
                    <a:pt x="987519" y="92454"/>
                  </a:cubicBezTo>
                  <a:cubicBezTo>
                    <a:pt x="987409" y="92469"/>
                    <a:pt x="987293" y="92469"/>
                    <a:pt x="987183" y="92452"/>
                  </a:cubicBezTo>
                  <a:lnTo>
                    <a:pt x="978756" y="92452"/>
                  </a:lnTo>
                  <a:cubicBezTo>
                    <a:pt x="978106" y="92540"/>
                    <a:pt x="977508" y="92084"/>
                    <a:pt x="977419" y="91433"/>
                  </a:cubicBezTo>
                  <a:cubicBezTo>
                    <a:pt x="977404" y="91327"/>
                    <a:pt x="977404" y="91220"/>
                    <a:pt x="977419" y="91114"/>
                  </a:cubicBezTo>
                  <a:close/>
                  <a:moveTo>
                    <a:pt x="1063041" y="79611"/>
                  </a:moveTo>
                  <a:cubicBezTo>
                    <a:pt x="1062952" y="78960"/>
                    <a:pt x="1063410" y="78361"/>
                    <a:pt x="1064061" y="78273"/>
                  </a:cubicBezTo>
                  <a:cubicBezTo>
                    <a:pt x="1064165" y="78259"/>
                    <a:pt x="1064272" y="78259"/>
                    <a:pt x="1064379" y="78273"/>
                  </a:cubicBezTo>
                  <a:lnTo>
                    <a:pt x="1074545" y="78273"/>
                  </a:lnTo>
                  <a:cubicBezTo>
                    <a:pt x="1075196" y="78185"/>
                    <a:pt x="1075793" y="78642"/>
                    <a:pt x="1075882" y="79292"/>
                  </a:cubicBezTo>
                  <a:cubicBezTo>
                    <a:pt x="1075897" y="79398"/>
                    <a:pt x="1075897" y="79505"/>
                    <a:pt x="1075882" y="79611"/>
                  </a:cubicBezTo>
                  <a:lnTo>
                    <a:pt x="1075882" y="91114"/>
                  </a:lnTo>
                  <a:cubicBezTo>
                    <a:pt x="1075971" y="91765"/>
                    <a:pt x="1075514" y="92364"/>
                    <a:pt x="1074863" y="92452"/>
                  </a:cubicBezTo>
                  <a:cubicBezTo>
                    <a:pt x="1074759" y="92466"/>
                    <a:pt x="1074652" y="92466"/>
                    <a:pt x="1074545" y="92452"/>
                  </a:cubicBezTo>
                  <a:lnTo>
                    <a:pt x="1064379" y="92452"/>
                  </a:lnTo>
                  <a:cubicBezTo>
                    <a:pt x="1063728" y="92540"/>
                    <a:pt x="1063130" y="92084"/>
                    <a:pt x="1063041" y="91433"/>
                  </a:cubicBezTo>
                  <a:cubicBezTo>
                    <a:pt x="1063026" y="91327"/>
                    <a:pt x="1063026" y="91220"/>
                    <a:pt x="1063041" y="91114"/>
                  </a:cubicBezTo>
                  <a:close/>
                </a:path>
              </a:pathLst>
            </a:custGeom>
            <a:solidFill>
              <a:schemeClr val="bg1"/>
            </a:solidFill>
            <a:ln w="2965" cap="flat">
              <a:noFill/>
              <a:prstDash val="solid"/>
              <a:miter/>
            </a:ln>
          </p:spPr>
          <p:txBody>
            <a:bodyPr rtlCol="0" anchor="ctr"/>
            <a:lstStyle/>
            <a:p>
              <a:endParaRPr lang="de-DE"/>
            </a:p>
          </p:txBody>
        </p:sp>
        <p:sp>
          <p:nvSpPr>
            <p:cNvPr id="12" name="Freeform: Shape 11">
              <a:extLst>
                <a:ext uri="{FF2B5EF4-FFF2-40B4-BE49-F238E27FC236}">
                  <a16:creationId xmlns:a16="http://schemas.microsoft.com/office/drawing/2014/main" id="{06DCB235-4201-4AFD-8181-3DCE4A8ADB12}"/>
                </a:ext>
              </a:extLst>
            </p:cNvPr>
            <p:cNvSpPr/>
            <p:nvPr/>
          </p:nvSpPr>
          <p:spPr>
            <a:xfrm>
              <a:off x="1458663" y="729185"/>
              <a:ext cx="1193687" cy="93972"/>
            </a:xfrm>
            <a:custGeom>
              <a:avLst/>
              <a:gdLst>
                <a:gd name="connsiteX0" fmla="*/ 31941 w 1193687"/>
                <a:gd name="connsiteY0" fmla="*/ 2904 h 93972"/>
                <a:gd name="connsiteX1" fmla="*/ 33546 w 1193687"/>
                <a:gd name="connsiteY1" fmla="*/ 1567 h 93972"/>
                <a:gd name="connsiteX2" fmla="*/ 42240 w 1193687"/>
                <a:gd name="connsiteY2" fmla="*/ 1567 h 93972"/>
                <a:gd name="connsiteX3" fmla="*/ 43979 w 1193687"/>
                <a:gd name="connsiteY3" fmla="*/ 2904 h 93972"/>
                <a:gd name="connsiteX4" fmla="*/ 75145 w 1193687"/>
                <a:gd name="connsiteY4" fmla="*/ 91187 h 93972"/>
                <a:gd name="connsiteX5" fmla="*/ 74209 w 1193687"/>
                <a:gd name="connsiteY5" fmla="*/ 92524 h 93972"/>
                <a:gd name="connsiteX6" fmla="*/ 64846 w 1193687"/>
                <a:gd name="connsiteY6" fmla="*/ 92524 h 93972"/>
                <a:gd name="connsiteX7" fmla="*/ 63107 w 1193687"/>
                <a:gd name="connsiteY7" fmla="*/ 91187 h 93972"/>
                <a:gd name="connsiteX8" fmla="*/ 56151 w 1193687"/>
                <a:gd name="connsiteY8" fmla="*/ 71390 h 93972"/>
                <a:gd name="connsiteX9" fmla="*/ 19367 w 1193687"/>
                <a:gd name="connsiteY9" fmla="*/ 71390 h 93972"/>
                <a:gd name="connsiteX10" fmla="*/ 12411 w 1193687"/>
                <a:gd name="connsiteY10" fmla="*/ 91187 h 93972"/>
                <a:gd name="connsiteX11" fmla="*/ 10672 w 1193687"/>
                <a:gd name="connsiteY11" fmla="*/ 92524 h 93972"/>
                <a:gd name="connsiteX12" fmla="*/ 1309 w 1193687"/>
                <a:gd name="connsiteY12" fmla="*/ 92524 h 93972"/>
                <a:gd name="connsiteX13" fmla="*/ 373 w 1193687"/>
                <a:gd name="connsiteY13" fmla="*/ 91187 h 93972"/>
                <a:gd name="connsiteX14" fmla="*/ 52272 w 1193687"/>
                <a:gd name="connsiteY14" fmla="*/ 60422 h 93972"/>
                <a:gd name="connsiteX15" fmla="*/ 37960 w 1193687"/>
                <a:gd name="connsiteY15" fmla="*/ 19089 h 93972"/>
                <a:gd name="connsiteX16" fmla="*/ 37692 w 1193687"/>
                <a:gd name="connsiteY16" fmla="*/ 19089 h 93972"/>
                <a:gd name="connsiteX17" fmla="*/ 23246 w 1193687"/>
                <a:gd name="connsiteY17" fmla="*/ 60422 h 93972"/>
                <a:gd name="connsiteX18" fmla="*/ 105911 w 1193687"/>
                <a:gd name="connsiteY18" fmla="*/ 92524 h 93972"/>
                <a:gd name="connsiteX19" fmla="*/ 104305 w 1193687"/>
                <a:gd name="connsiteY19" fmla="*/ 91187 h 93972"/>
                <a:gd name="connsiteX20" fmla="*/ 74878 w 1193687"/>
                <a:gd name="connsiteY20" fmla="*/ 3172 h 93972"/>
                <a:gd name="connsiteX21" fmla="*/ 74878 w 1193687"/>
                <a:gd name="connsiteY21" fmla="*/ 1968 h 93972"/>
                <a:gd name="connsiteX22" fmla="*/ 75814 w 1193687"/>
                <a:gd name="connsiteY22" fmla="*/ 1567 h 93972"/>
                <a:gd name="connsiteX23" fmla="*/ 84910 w 1193687"/>
                <a:gd name="connsiteY23" fmla="*/ 1567 h 93972"/>
                <a:gd name="connsiteX24" fmla="*/ 86783 w 1193687"/>
                <a:gd name="connsiteY24" fmla="*/ 2904 h 93972"/>
                <a:gd name="connsiteX25" fmla="*/ 110057 w 1193687"/>
                <a:gd name="connsiteY25" fmla="*/ 73129 h 93972"/>
                <a:gd name="connsiteX26" fmla="*/ 110325 w 1193687"/>
                <a:gd name="connsiteY26" fmla="*/ 73129 h 93972"/>
                <a:gd name="connsiteX27" fmla="*/ 132797 w 1193687"/>
                <a:gd name="connsiteY27" fmla="*/ 2904 h 93972"/>
                <a:gd name="connsiteX28" fmla="*/ 134536 w 1193687"/>
                <a:gd name="connsiteY28" fmla="*/ 1567 h 93972"/>
                <a:gd name="connsiteX29" fmla="*/ 143750 w 1193687"/>
                <a:gd name="connsiteY29" fmla="*/ 1567 h 93972"/>
                <a:gd name="connsiteX30" fmla="*/ 144687 w 1193687"/>
                <a:gd name="connsiteY30" fmla="*/ 3172 h 93972"/>
                <a:gd name="connsiteX31" fmla="*/ 115408 w 1193687"/>
                <a:gd name="connsiteY31" fmla="*/ 91187 h 93972"/>
                <a:gd name="connsiteX32" fmla="*/ 113803 w 1193687"/>
                <a:gd name="connsiteY32" fmla="*/ 92524 h 93972"/>
                <a:gd name="connsiteX33" fmla="*/ 158613 w 1193687"/>
                <a:gd name="connsiteY33" fmla="*/ 2904 h 93972"/>
                <a:gd name="connsiteX34" fmla="*/ 159632 w 1193687"/>
                <a:gd name="connsiteY34" fmla="*/ 1567 h 93972"/>
                <a:gd name="connsiteX35" fmla="*/ 159950 w 1193687"/>
                <a:gd name="connsiteY35" fmla="*/ 1567 h 93972"/>
                <a:gd name="connsiteX36" fmla="*/ 169165 w 1193687"/>
                <a:gd name="connsiteY36" fmla="*/ 1567 h 93972"/>
                <a:gd name="connsiteX37" fmla="*/ 170503 w 1193687"/>
                <a:gd name="connsiteY37" fmla="*/ 2586 h 93972"/>
                <a:gd name="connsiteX38" fmla="*/ 170503 w 1193687"/>
                <a:gd name="connsiteY38" fmla="*/ 2904 h 93972"/>
                <a:gd name="connsiteX39" fmla="*/ 170503 w 1193687"/>
                <a:gd name="connsiteY39" fmla="*/ 91187 h 93972"/>
                <a:gd name="connsiteX40" fmla="*/ 169484 w 1193687"/>
                <a:gd name="connsiteY40" fmla="*/ 92524 h 93972"/>
                <a:gd name="connsiteX41" fmla="*/ 169165 w 1193687"/>
                <a:gd name="connsiteY41" fmla="*/ 92524 h 93972"/>
                <a:gd name="connsiteX42" fmla="*/ 159950 w 1193687"/>
                <a:gd name="connsiteY42" fmla="*/ 92524 h 93972"/>
                <a:gd name="connsiteX43" fmla="*/ 158613 w 1193687"/>
                <a:gd name="connsiteY43" fmla="*/ 91505 h 93972"/>
                <a:gd name="connsiteX44" fmla="*/ 158613 w 1193687"/>
                <a:gd name="connsiteY44" fmla="*/ 91187 h 93972"/>
                <a:gd name="connsiteX45" fmla="*/ 216531 w 1193687"/>
                <a:gd name="connsiteY45" fmla="*/ 2904 h 93972"/>
                <a:gd name="connsiteX46" fmla="*/ 218137 w 1193687"/>
                <a:gd name="connsiteY46" fmla="*/ 1567 h 93972"/>
                <a:gd name="connsiteX47" fmla="*/ 226831 w 1193687"/>
                <a:gd name="connsiteY47" fmla="*/ 1567 h 93972"/>
                <a:gd name="connsiteX48" fmla="*/ 228570 w 1193687"/>
                <a:gd name="connsiteY48" fmla="*/ 2904 h 93972"/>
                <a:gd name="connsiteX49" fmla="*/ 259736 w 1193687"/>
                <a:gd name="connsiteY49" fmla="*/ 91187 h 93972"/>
                <a:gd name="connsiteX50" fmla="*/ 258800 w 1193687"/>
                <a:gd name="connsiteY50" fmla="*/ 92524 h 93972"/>
                <a:gd name="connsiteX51" fmla="*/ 249437 w 1193687"/>
                <a:gd name="connsiteY51" fmla="*/ 92524 h 93972"/>
                <a:gd name="connsiteX52" fmla="*/ 247698 w 1193687"/>
                <a:gd name="connsiteY52" fmla="*/ 91187 h 93972"/>
                <a:gd name="connsiteX53" fmla="*/ 240742 w 1193687"/>
                <a:gd name="connsiteY53" fmla="*/ 71390 h 93972"/>
                <a:gd name="connsiteX54" fmla="*/ 203958 w 1193687"/>
                <a:gd name="connsiteY54" fmla="*/ 71390 h 93972"/>
                <a:gd name="connsiteX55" fmla="*/ 197002 w 1193687"/>
                <a:gd name="connsiteY55" fmla="*/ 91187 h 93972"/>
                <a:gd name="connsiteX56" fmla="*/ 195263 w 1193687"/>
                <a:gd name="connsiteY56" fmla="*/ 92524 h 93972"/>
                <a:gd name="connsiteX57" fmla="*/ 185900 w 1193687"/>
                <a:gd name="connsiteY57" fmla="*/ 92524 h 93972"/>
                <a:gd name="connsiteX58" fmla="*/ 184964 w 1193687"/>
                <a:gd name="connsiteY58" fmla="*/ 91187 h 93972"/>
                <a:gd name="connsiteX59" fmla="*/ 236863 w 1193687"/>
                <a:gd name="connsiteY59" fmla="*/ 60422 h 93972"/>
                <a:gd name="connsiteX60" fmla="*/ 222551 w 1193687"/>
                <a:gd name="connsiteY60" fmla="*/ 19089 h 93972"/>
                <a:gd name="connsiteX61" fmla="*/ 222283 w 1193687"/>
                <a:gd name="connsiteY61" fmla="*/ 19089 h 93972"/>
                <a:gd name="connsiteX62" fmla="*/ 207837 w 1193687"/>
                <a:gd name="connsiteY62" fmla="*/ 60422 h 93972"/>
                <a:gd name="connsiteX63" fmla="*/ 284616 w 1193687"/>
                <a:gd name="connsiteY63" fmla="*/ 92524 h 93972"/>
                <a:gd name="connsiteX64" fmla="*/ 283278 w 1193687"/>
                <a:gd name="connsiteY64" fmla="*/ 91505 h 93972"/>
                <a:gd name="connsiteX65" fmla="*/ 283278 w 1193687"/>
                <a:gd name="connsiteY65" fmla="*/ 91187 h 93972"/>
                <a:gd name="connsiteX66" fmla="*/ 283278 w 1193687"/>
                <a:gd name="connsiteY66" fmla="*/ 13457 h 93972"/>
                <a:gd name="connsiteX67" fmla="*/ 282674 w 1193687"/>
                <a:gd name="connsiteY67" fmla="*/ 12654 h 93972"/>
                <a:gd name="connsiteX68" fmla="*/ 282476 w 1193687"/>
                <a:gd name="connsiteY68" fmla="*/ 12654 h 93972"/>
                <a:gd name="connsiteX69" fmla="*/ 257596 w 1193687"/>
                <a:gd name="connsiteY69" fmla="*/ 12654 h 93972"/>
                <a:gd name="connsiteX70" fmla="*/ 256259 w 1193687"/>
                <a:gd name="connsiteY70" fmla="*/ 11635 h 93972"/>
                <a:gd name="connsiteX71" fmla="*/ 256259 w 1193687"/>
                <a:gd name="connsiteY71" fmla="*/ 11316 h 93972"/>
                <a:gd name="connsiteX72" fmla="*/ 256259 w 1193687"/>
                <a:gd name="connsiteY72" fmla="*/ 2904 h 93972"/>
                <a:gd name="connsiteX73" fmla="*/ 257278 w 1193687"/>
                <a:gd name="connsiteY73" fmla="*/ 1567 h 93972"/>
                <a:gd name="connsiteX74" fmla="*/ 257596 w 1193687"/>
                <a:gd name="connsiteY74" fmla="*/ 1567 h 93972"/>
                <a:gd name="connsiteX75" fmla="*/ 320865 w 1193687"/>
                <a:gd name="connsiteY75" fmla="*/ 1567 h 93972"/>
                <a:gd name="connsiteX76" fmla="*/ 322203 w 1193687"/>
                <a:gd name="connsiteY76" fmla="*/ 2586 h 93972"/>
                <a:gd name="connsiteX77" fmla="*/ 322203 w 1193687"/>
                <a:gd name="connsiteY77" fmla="*/ 2904 h 93972"/>
                <a:gd name="connsiteX78" fmla="*/ 322203 w 1193687"/>
                <a:gd name="connsiteY78" fmla="*/ 11331 h 93972"/>
                <a:gd name="connsiteX79" fmla="*/ 321183 w 1193687"/>
                <a:gd name="connsiteY79" fmla="*/ 12669 h 93972"/>
                <a:gd name="connsiteX80" fmla="*/ 320865 w 1193687"/>
                <a:gd name="connsiteY80" fmla="*/ 12669 h 93972"/>
                <a:gd name="connsiteX81" fmla="*/ 295986 w 1193687"/>
                <a:gd name="connsiteY81" fmla="*/ 12669 h 93972"/>
                <a:gd name="connsiteX82" fmla="*/ 295183 w 1193687"/>
                <a:gd name="connsiteY82" fmla="*/ 13273 h 93972"/>
                <a:gd name="connsiteX83" fmla="*/ 295183 w 1193687"/>
                <a:gd name="connsiteY83" fmla="*/ 13471 h 93972"/>
                <a:gd name="connsiteX84" fmla="*/ 295183 w 1193687"/>
                <a:gd name="connsiteY84" fmla="*/ 91187 h 93972"/>
                <a:gd name="connsiteX85" fmla="*/ 294164 w 1193687"/>
                <a:gd name="connsiteY85" fmla="*/ 92524 h 93972"/>
                <a:gd name="connsiteX86" fmla="*/ 293846 w 1193687"/>
                <a:gd name="connsiteY86" fmla="*/ 92524 h 93972"/>
                <a:gd name="connsiteX87" fmla="*/ 336382 w 1193687"/>
                <a:gd name="connsiteY87" fmla="*/ 2904 h 93972"/>
                <a:gd name="connsiteX88" fmla="*/ 337401 w 1193687"/>
                <a:gd name="connsiteY88" fmla="*/ 1567 h 93972"/>
                <a:gd name="connsiteX89" fmla="*/ 337719 w 1193687"/>
                <a:gd name="connsiteY89" fmla="*/ 1567 h 93972"/>
                <a:gd name="connsiteX90" fmla="*/ 346934 w 1193687"/>
                <a:gd name="connsiteY90" fmla="*/ 1567 h 93972"/>
                <a:gd name="connsiteX91" fmla="*/ 348272 w 1193687"/>
                <a:gd name="connsiteY91" fmla="*/ 2586 h 93972"/>
                <a:gd name="connsiteX92" fmla="*/ 348272 w 1193687"/>
                <a:gd name="connsiteY92" fmla="*/ 2904 h 93972"/>
                <a:gd name="connsiteX93" fmla="*/ 348272 w 1193687"/>
                <a:gd name="connsiteY93" fmla="*/ 91187 h 93972"/>
                <a:gd name="connsiteX94" fmla="*/ 347252 w 1193687"/>
                <a:gd name="connsiteY94" fmla="*/ 92524 h 93972"/>
                <a:gd name="connsiteX95" fmla="*/ 346934 w 1193687"/>
                <a:gd name="connsiteY95" fmla="*/ 92524 h 93972"/>
                <a:gd name="connsiteX96" fmla="*/ 337719 w 1193687"/>
                <a:gd name="connsiteY96" fmla="*/ 92524 h 93972"/>
                <a:gd name="connsiteX97" fmla="*/ 336382 w 1193687"/>
                <a:gd name="connsiteY97" fmla="*/ 91505 h 93972"/>
                <a:gd name="connsiteX98" fmla="*/ 336382 w 1193687"/>
                <a:gd name="connsiteY98" fmla="*/ 91187 h 93972"/>
                <a:gd name="connsiteX99" fmla="*/ 400855 w 1193687"/>
                <a:gd name="connsiteY99" fmla="*/ 93996 h 93972"/>
                <a:gd name="connsiteX100" fmla="*/ 381391 w 1193687"/>
                <a:gd name="connsiteY100" fmla="*/ 88645 h 93972"/>
                <a:gd name="connsiteX101" fmla="*/ 369956 w 1193687"/>
                <a:gd name="connsiteY101" fmla="*/ 72728 h 93972"/>
                <a:gd name="connsiteX102" fmla="*/ 368820 w 1193687"/>
                <a:gd name="connsiteY102" fmla="*/ 68566 h 93972"/>
                <a:gd name="connsiteX103" fmla="*/ 368083 w 1193687"/>
                <a:gd name="connsiteY103" fmla="*/ 63552 h 93972"/>
                <a:gd name="connsiteX104" fmla="*/ 367682 w 1193687"/>
                <a:gd name="connsiteY104" fmla="*/ 56661 h 93972"/>
                <a:gd name="connsiteX105" fmla="*/ 367533 w 1193687"/>
                <a:gd name="connsiteY105" fmla="*/ 47046 h 93972"/>
                <a:gd name="connsiteX106" fmla="*/ 367667 w 1193687"/>
                <a:gd name="connsiteY106" fmla="*/ 37415 h 93972"/>
                <a:gd name="connsiteX107" fmla="*/ 368068 w 1193687"/>
                <a:gd name="connsiteY107" fmla="*/ 30527 h 93972"/>
                <a:gd name="connsiteX108" fmla="*/ 368805 w 1193687"/>
                <a:gd name="connsiteY108" fmla="*/ 25513 h 93972"/>
                <a:gd name="connsiteX109" fmla="*/ 369941 w 1193687"/>
                <a:gd name="connsiteY109" fmla="*/ 21351 h 93972"/>
                <a:gd name="connsiteX110" fmla="*/ 381391 w 1193687"/>
                <a:gd name="connsiteY110" fmla="*/ 5431 h 93972"/>
                <a:gd name="connsiteX111" fmla="*/ 420449 w 1193687"/>
                <a:gd name="connsiteY111" fmla="*/ 5431 h 93972"/>
                <a:gd name="connsiteX112" fmla="*/ 431887 w 1193687"/>
                <a:gd name="connsiteY112" fmla="*/ 21348 h 93972"/>
                <a:gd name="connsiteX113" fmla="*/ 433023 w 1193687"/>
                <a:gd name="connsiteY113" fmla="*/ 25510 h 93972"/>
                <a:gd name="connsiteX114" fmla="*/ 433760 w 1193687"/>
                <a:gd name="connsiteY114" fmla="*/ 30527 h 93972"/>
                <a:gd name="connsiteX115" fmla="*/ 434161 w 1193687"/>
                <a:gd name="connsiteY115" fmla="*/ 37415 h 93972"/>
                <a:gd name="connsiteX116" fmla="*/ 434295 w 1193687"/>
                <a:gd name="connsiteY116" fmla="*/ 47046 h 93972"/>
                <a:gd name="connsiteX117" fmla="*/ 434161 w 1193687"/>
                <a:gd name="connsiteY117" fmla="*/ 56676 h 93972"/>
                <a:gd name="connsiteX118" fmla="*/ 433760 w 1193687"/>
                <a:gd name="connsiteY118" fmla="*/ 63567 h 93972"/>
                <a:gd name="connsiteX119" fmla="*/ 433023 w 1193687"/>
                <a:gd name="connsiteY119" fmla="*/ 68584 h 93972"/>
                <a:gd name="connsiteX120" fmla="*/ 431887 w 1193687"/>
                <a:gd name="connsiteY120" fmla="*/ 72746 h 93972"/>
                <a:gd name="connsiteX121" fmla="*/ 420449 w 1193687"/>
                <a:gd name="connsiteY121" fmla="*/ 88663 h 93972"/>
                <a:gd name="connsiteX122" fmla="*/ 400855 w 1193687"/>
                <a:gd name="connsiteY122" fmla="*/ 93996 h 93972"/>
                <a:gd name="connsiteX123" fmla="*/ 400855 w 1193687"/>
                <a:gd name="connsiteY123" fmla="*/ 82894 h 93972"/>
                <a:gd name="connsiteX124" fmla="*/ 413295 w 1193687"/>
                <a:gd name="connsiteY124" fmla="*/ 79416 h 93972"/>
                <a:gd name="connsiteX125" fmla="*/ 420250 w 1193687"/>
                <a:gd name="connsiteY125" fmla="*/ 69384 h 93972"/>
                <a:gd name="connsiteX126" fmla="*/ 420987 w 1193687"/>
                <a:gd name="connsiteY126" fmla="*/ 66373 h 93972"/>
                <a:gd name="connsiteX127" fmla="*/ 421656 w 1193687"/>
                <a:gd name="connsiteY127" fmla="*/ 61893 h 93972"/>
                <a:gd name="connsiteX128" fmla="*/ 422126 w 1193687"/>
                <a:gd name="connsiteY128" fmla="*/ 55606 h 93972"/>
                <a:gd name="connsiteX129" fmla="*/ 422260 w 1193687"/>
                <a:gd name="connsiteY129" fmla="*/ 47046 h 93972"/>
                <a:gd name="connsiteX130" fmla="*/ 422126 w 1193687"/>
                <a:gd name="connsiteY130" fmla="*/ 38485 h 93972"/>
                <a:gd name="connsiteX131" fmla="*/ 421656 w 1193687"/>
                <a:gd name="connsiteY131" fmla="*/ 32198 h 93972"/>
                <a:gd name="connsiteX132" fmla="*/ 420987 w 1193687"/>
                <a:gd name="connsiteY132" fmla="*/ 27718 h 93972"/>
                <a:gd name="connsiteX133" fmla="*/ 420250 w 1193687"/>
                <a:gd name="connsiteY133" fmla="*/ 24707 h 93972"/>
                <a:gd name="connsiteX134" fmla="*/ 413295 w 1193687"/>
                <a:gd name="connsiteY134" fmla="*/ 14675 h 93972"/>
                <a:gd name="connsiteX135" fmla="*/ 400855 w 1193687"/>
                <a:gd name="connsiteY135" fmla="*/ 11197 h 93972"/>
                <a:gd name="connsiteX136" fmla="*/ 388480 w 1193687"/>
                <a:gd name="connsiteY136" fmla="*/ 14675 h 93972"/>
                <a:gd name="connsiteX137" fmla="*/ 381593 w 1193687"/>
                <a:gd name="connsiteY137" fmla="*/ 24707 h 93972"/>
                <a:gd name="connsiteX138" fmla="*/ 380859 w 1193687"/>
                <a:gd name="connsiteY138" fmla="*/ 27718 h 93972"/>
                <a:gd name="connsiteX139" fmla="*/ 380190 w 1193687"/>
                <a:gd name="connsiteY139" fmla="*/ 32198 h 93972"/>
                <a:gd name="connsiteX140" fmla="*/ 379720 w 1193687"/>
                <a:gd name="connsiteY140" fmla="*/ 38485 h 93972"/>
                <a:gd name="connsiteX141" fmla="*/ 379587 w 1193687"/>
                <a:gd name="connsiteY141" fmla="*/ 47046 h 93972"/>
                <a:gd name="connsiteX142" fmla="*/ 379720 w 1193687"/>
                <a:gd name="connsiteY142" fmla="*/ 55606 h 93972"/>
                <a:gd name="connsiteX143" fmla="*/ 380190 w 1193687"/>
                <a:gd name="connsiteY143" fmla="*/ 61893 h 93972"/>
                <a:gd name="connsiteX144" fmla="*/ 380859 w 1193687"/>
                <a:gd name="connsiteY144" fmla="*/ 66373 h 93972"/>
                <a:gd name="connsiteX145" fmla="*/ 381593 w 1193687"/>
                <a:gd name="connsiteY145" fmla="*/ 69384 h 93972"/>
                <a:gd name="connsiteX146" fmla="*/ 388480 w 1193687"/>
                <a:gd name="connsiteY146" fmla="*/ 79416 h 93972"/>
                <a:gd name="connsiteX147" fmla="*/ 400855 w 1193687"/>
                <a:gd name="connsiteY147" fmla="*/ 82894 h 93972"/>
                <a:gd name="connsiteX148" fmla="*/ 453557 w 1193687"/>
                <a:gd name="connsiteY148" fmla="*/ 2904 h 93972"/>
                <a:gd name="connsiteX149" fmla="*/ 454576 w 1193687"/>
                <a:gd name="connsiteY149" fmla="*/ 1567 h 93972"/>
                <a:gd name="connsiteX150" fmla="*/ 454894 w 1193687"/>
                <a:gd name="connsiteY150" fmla="*/ 1567 h 93972"/>
                <a:gd name="connsiteX151" fmla="*/ 463455 w 1193687"/>
                <a:gd name="connsiteY151" fmla="*/ 1567 h 93972"/>
                <a:gd name="connsiteX152" fmla="*/ 465729 w 1193687"/>
                <a:gd name="connsiteY152" fmla="*/ 2904 h 93972"/>
                <a:gd name="connsiteX153" fmla="*/ 506928 w 1193687"/>
                <a:gd name="connsiteY153" fmla="*/ 71123 h 93972"/>
                <a:gd name="connsiteX154" fmla="*/ 507463 w 1193687"/>
                <a:gd name="connsiteY154" fmla="*/ 71123 h 93972"/>
                <a:gd name="connsiteX155" fmla="*/ 507463 w 1193687"/>
                <a:gd name="connsiteY155" fmla="*/ 2904 h 93972"/>
                <a:gd name="connsiteX156" fmla="*/ 508482 w 1193687"/>
                <a:gd name="connsiteY156" fmla="*/ 1567 h 93972"/>
                <a:gd name="connsiteX157" fmla="*/ 508800 w 1193687"/>
                <a:gd name="connsiteY157" fmla="*/ 1567 h 93972"/>
                <a:gd name="connsiteX158" fmla="*/ 517227 w 1193687"/>
                <a:gd name="connsiteY158" fmla="*/ 1567 h 93972"/>
                <a:gd name="connsiteX159" fmla="*/ 518565 w 1193687"/>
                <a:gd name="connsiteY159" fmla="*/ 2586 h 93972"/>
                <a:gd name="connsiteX160" fmla="*/ 518565 w 1193687"/>
                <a:gd name="connsiteY160" fmla="*/ 2904 h 93972"/>
                <a:gd name="connsiteX161" fmla="*/ 518565 w 1193687"/>
                <a:gd name="connsiteY161" fmla="*/ 91187 h 93972"/>
                <a:gd name="connsiteX162" fmla="*/ 517545 w 1193687"/>
                <a:gd name="connsiteY162" fmla="*/ 92524 h 93972"/>
                <a:gd name="connsiteX163" fmla="*/ 517227 w 1193687"/>
                <a:gd name="connsiteY163" fmla="*/ 92524 h 93972"/>
                <a:gd name="connsiteX164" fmla="*/ 508667 w 1193687"/>
                <a:gd name="connsiteY164" fmla="*/ 92524 h 93972"/>
                <a:gd name="connsiteX165" fmla="*/ 506393 w 1193687"/>
                <a:gd name="connsiteY165" fmla="*/ 91187 h 93972"/>
                <a:gd name="connsiteX166" fmla="*/ 465060 w 1193687"/>
                <a:gd name="connsiteY166" fmla="*/ 23236 h 93972"/>
                <a:gd name="connsiteX167" fmla="*/ 464659 w 1193687"/>
                <a:gd name="connsiteY167" fmla="*/ 23236 h 93972"/>
                <a:gd name="connsiteX168" fmla="*/ 464659 w 1193687"/>
                <a:gd name="connsiteY168" fmla="*/ 91187 h 93972"/>
                <a:gd name="connsiteX169" fmla="*/ 463639 w 1193687"/>
                <a:gd name="connsiteY169" fmla="*/ 92524 h 93972"/>
                <a:gd name="connsiteX170" fmla="*/ 463321 w 1193687"/>
                <a:gd name="connsiteY170" fmla="*/ 92524 h 93972"/>
                <a:gd name="connsiteX171" fmla="*/ 454894 w 1193687"/>
                <a:gd name="connsiteY171" fmla="*/ 92524 h 93972"/>
                <a:gd name="connsiteX172" fmla="*/ 453557 w 1193687"/>
                <a:gd name="connsiteY172" fmla="*/ 91505 h 93972"/>
                <a:gd name="connsiteX173" fmla="*/ 453557 w 1193687"/>
                <a:gd name="connsiteY173" fmla="*/ 91187 h 93972"/>
                <a:gd name="connsiteX174" fmla="*/ 539164 w 1193687"/>
                <a:gd name="connsiteY174" fmla="*/ 79683 h 93972"/>
                <a:gd name="connsiteX175" fmla="*/ 540184 w 1193687"/>
                <a:gd name="connsiteY175" fmla="*/ 78346 h 93972"/>
                <a:gd name="connsiteX176" fmla="*/ 540502 w 1193687"/>
                <a:gd name="connsiteY176" fmla="*/ 78346 h 93972"/>
                <a:gd name="connsiteX177" fmla="*/ 550668 w 1193687"/>
                <a:gd name="connsiteY177" fmla="*/ 78346 h 93972"/>
                <a:gd name="connsiteX178" fmla="*/ 552005 w 1193687"/>
                <a:gd name="connsiteY178" fmla="*/ 79365 h 93972"/>
                <a:gd name="connsiteX179" fmla="*/ 552005 w 1193687"/>
                <a:gd name="connsiteY179" fmla="*/ 79683 h 93972"/>
                <a:gd name="connsiteX180" fmla="*/ 552005 w 1193687"/>
                <a:gd name="connsiteY180" fmla="*/ 91187 h 93972"/>
                <a:gd name="connsiteX181" fmla="*/ 550986 w 1193687"/>
                <a:gd name="connsiteY181" fmla="*/ 92524 h 93972"/>
                <a:gd name="connsiteX182" fmla="*/ 550668 w 1193687"/>
                <a:gd name="connsiteY182" fmla="*/ 92524 h 93972"/>
                <a:gd name="connsiteX183" fmla="*/ 540502 w 1193687"/>
                <a:gd name="connsiteY183" fmla="*/ 92524 h 93972"/>
                <a:gd name="connsiteX184" fmla="*/ 539164 w 1193687"/>
                <a:gd name="connsiteY184" fmla="*/ 91505 h 93972"/>
                <a:gd name="connsiteX185" fmla="*/ 539164 w 1193687"/>
                <a:gd name="connsiteY185" fmla="*/ 91187 h 93972"/>
                <a:gd name="connsiteX186" fmla="*/ 601883 w 1193687"/>
                <a:gd name="connsiteY186" fmla="*/ 2904 h 93972"/>
                <a:gd name="connsiteX187" fmla="*/ 602903 w 1193687"/>
                <a:gd name="connsiteY187" fmla="*/ 1567 h 93972"/>
                <a:gd name="connsiteX188" fmla="*/ 603221 w 1193687"/>
                <a:gd name="connsiteY188" fmla="*/ 1567 h 93972"/>
                <a:gd name="connsiteX189" fmla="*/ 612465 w 1193687"/>
                <a:gd name="connsiteY189" fmla="*/ 1567 h 93972"/>
                <a:gd name="connsiteX190" fmla="*/ 613803 w 1193687"/>
                <a:gd name="connsiteY190" fmla="*/ 2586 h 93972"/>
                <a:gd name="connsiteX191" fmla="*/ 613803 w 1193687"/>
                <a:gd name="connsiteY191" fmla="*/ 2904 h 93972"/>
                <a:gd name="connsiteX192" fmla="*/ 613803 w 1193687"/>
                <a:gd name="connsiteY192" fmla="*/ 80620 h 93972"/>
                <a:gd name="connsiteX193" fmla="*/ 614406 w 1193687"/>
                <a:gd name="connsiteY193" fmla="*/ 81422 h 93972"/>
                <a:gd name="connsiteX194" fmla="*/ 614606 w 1193687"/>
                <a:gd name="connsiteY194" fmla="*/ 81422 h 93972"/>
                <a:gd name="connsiteX195" fmla="*/ 657944 w 1193687"/>
                <a:gd name="connsiteY195" fmla="*/ 81422 h 93972"/>
                <a:gd name="connsiteX196" fmla="*/ 659282 w 1193687"/>
                <a:gd name="connsiteY196" fmla="*/ 82441 h 93972"/>
                <a:gd name="connsiteX197" fmla="*/ 659282 w 1193687"/>
                <a:gd name="connsiteY197" fmla="*/ 82760 h 93972"/>
                <a:gd name="connsiteX198" fmla="*/ 659282 w 1193687"/>
                <a:gd name="connsiteY198" fmla="*/ 91187 h 93972"/>
                <a:gd name="connsiteX199" fmla="*/ 658262 w 1193687"/>
                <a:gd name="connsiteY199" fmla="*/ 92524 h 93972"/>
                <a:gd name="connsiteX200" fmla="*/ 657944 w 1193687"/>
                <a:gd name="connsiteY200" fmla="*/ 92524 h 93972"/>
                <a:gd name="connsiteX201" fmla="*/ 603251 w 1193687"/>
                <a:gd name="connsiteY201" fmla="*/ 92524 h 93972"/>
                <a:gd name="connsiteX202" fmla="*/ 601913 w 1193687"/>
                <a:gd name="connsiteY202" fmla="*/ 91505 h 93972"/>
                <a:gd name="connsiteX203" fmla="*/ 601913 w 1193687"/>
                <a:gd name="connsiteY203" fmla="*/ 91187 h 93972"/>
                <a:gd name="connsiteX204" fmla="*/ 703958 w 1193687"/>
                <a:gd name="connsiteY204" fmla="*/ 93996 h 93972"/>
                <a:gd name="connsiteX205" fmla="*/ 684495 w 1193687"/>
                <a:gd name="connsiteY205" fmla="*/ 88645 h 93972"/>
                <a:gd name="connsiteX206" fmla="*/ 673056 w 1193687"/>
                <a:gd name="connsiteY206" fmla="*/ 72728 h 93972"/>
                <a:gd name="connsiteX207" fmla="*/ 671921 w 1193687"/>
                <a:gd name="connsiteY207" fmla="*/ 68566 h 93972"/>
                <a:gd name="connsiteX208" fmla="*/ 671187 w 1193687"/>
                <a:gd name="connsiteY208" fmla="*/ 63552 h 93972"/>
                <a:gd name="connsiteX209" fmla="*/ 670785 w 1193687"/>
                <a:gd name="connsiteY209" fmla="*/ 56661 h 93972"/>
                <a:gd name="connsiteX210" fmla="*/ 670652 w 1193687"/>
                <a:gd name="connsiteY210" fmla="*/ 47031 h 93972"/>
                <a:gd name="connsiteX211" fmla="*/ 670785 w 1193687"/>
                <a:gd name="connsiteY211" fmla="*/ 37400 h 93972"/>
                <a:gd name="connsiteX212" fmla="*/ 671187 w 1193687"/>
                <a:gd name="connsiteY212" fmla="*/ 30513 h 93972"/>
                <a:gd name="connsiteX213" fmla="*/ 671915 w 1193687"/>
                <a:gd name="connsiteY213" fmla="*/ 25510 h 93972"/>
                <a:gd name="connsiteX214" fmla="*/ 673051 w 1193687"/>
                <a:gd name="connsiteY214" fmla="*/ 21348 h 93972"/>
                <a:gd name="connsiteX215" fmla="*/ 684495 w 1193687"/>
                <a:gd name="connsiteY215" fmla="*/ 5431 h 93972"/>
                <a:gd name="connsiteX216" fmla="*/ 723553 w 1193687"/>
                <a:gd name="connsiteY216" fmla="*/ 5431 h 93972"/>
                <a:gd name="connsiteX217" fmla="*/ 734991 w 1193687"/>
                <a:gd name="connsiteY217" fmla="*/ 21348 h 93972"/>
                <a:gd name="connsiteX218" fmla="*/ 736126 w 1193687"/>
                <a:gd name="connsiteY218" fmla="*/ 25510 h 93972"/>
                <a:gd name="connsiteX219" fmla="*/ 736864 w 1193687"/>
                <a:gd name="connsiteY219" fmla="*/ 30527 h 93972"/>
                <a:gd name="connsiteX220" fmla="*/ 737265 w 1193687"/>
                <a:gd name="connsiteY220" fmla="*/ 37415 h 93972"/>
                <a:gd name="connsiteX221" fmla="*/ 737399 w 1193687"/>
                <a:gd name="connsiteY221" fmla="*/ 47046 h 93972"/>
                <a:gd name="connsiteX222" fmla="*/ 737265 w 1193687"/>
                <a:gd name="connsiteY222" fmla="*/ 56676 h 93972"/>
                <a:gd name="connsiteX223" fmla="*/ 736864 w 1193687"/>
                <a:gd name="connsiteY223" fmla="*/ 63567 h 93972"/>
                <a:gd name="connsiteX224" fmla="*/ 736126 w 1193687"/>
                <a:gd name="connsiteY224" fmla="*/ 68584 h 93972"/>
                <a:gd name="connsiteX225" fmla="*/ 734991 w 1193687"/>
                <a:gd name="connsiteY225" fmla="*/ 72746 h 93972"/>
                <a:gd name="connsiteX226" fmla="*/ 723553 w 1193687"/>
                <a:gd name="connsiteY226" fmla="*/ 88663 h 93972"/>
                <a:gd name="connsiteX227" fmla="*/ 703958 w 1193687"/>
                <a:gd name="connsiteY227" fmla="*/ 93996 h 93972"/>
                <a:gd name="connsiteX228" fmla="*/ 703958 w 1193687"/>
                <a:gd name="connsiteY228" fmla="*/ 82894 h 93972"/>
                <a:gd name="connsiteX229" fmla="*/ 716398 w 1193687"/>
                <a:gd name="connsiteY229" fmla="*/ 79416 h 93972"/>
                <a:gd name="connsiteX230" fmla="*/ 723354 w 1193687"/>
                <a:gd name="connsiteY230" fmla="*/ 69384 h 93972"/>
                <a:gd name="connsiteX231" fmla="*/ 724091 w 1193687"/>
                <a:gd name="connsiteY231" fmla="*/ 66373 h 93972"/>
                <a:gd name="connsiteX232" fmla="*/ 724760 w 1193687"/>
                <a:gd name="connsiteY232" fmla="*/ 61893 h 93972"/>
                <a:gd name="connsiteX233" fmla="*/ 725229 w 1193687"/>
                <a:gd name="connsiteY233" fmla="*/ 55606 h 93972"/>
                <a:gd name="connsiteX234" fmla="*/ 725363 w 1193687"/>
                <a:gd name="connsiteY234" fmla="*/ 47046 h 93972"/>
                <a:gd name="connsiteX235" fmla="*/ 725229 w 1193687"/>
                <a:gd name="connsiteY235" fmla="*/ 38485 h 93972"/>
                <a:gd name="connsiteX236" fmla="*/ 724760 w 1193687"/>
                <a:gd name="connsiteY236" fmla="*/ 32198 h 93972"/>
                <a:gd name="connsiteX237" fmla="*/ 724091 w 1193687"/>
                <a:gd name="connsiteY237" fmla="*/ 27718 h 93972"/>
                <a:gd name="connsiteX238" fmla="*/ 723354 w 1193687"/>
                <a:gd name="connsiteY238" fmla="*/ 24707 h 93972"/>
                <a:gd name="connsiteX239" fmla="*/ 716398 w 1193687"/>
                <a:gd name="connsiteY239" fmla="*/ 14675 h 93972"/>
                <a:gd name="connsiteX240" fmla="*/ 703958 w 1193687"/>
                <a:gd name="connsiteY240" fmla="*/ 11197 h 93972"/>
                <a:gd name="connsiteX241" fmla="*/ 691584 w 1193687"/>
                <a:gd name="connsiteY241" fmla="*/ 14675 h 93972"/>
                <a:gd name="connsiteX242" fmla="*/ 684697 w 1193687"/>
                <a:gd name="connsiteY242" fmla="*/ 24707 h 93972"/>
                <a:gd name="connsiteX243" fmla="*/ 683962 w 1193687"/>
                <a:gd name="connsiteY243" fmla="*/ 27718 h 93972"/>
                <a:gd name="connsiteX244" fmla="*/ 683294 w 1193687"/>
                <a:gd name="connsiteY244" fmla="*/ 32198 h 93972"/>
                <a:gd name="connsiteX245" fmla="*/ 682824 w 1193687"/>
                <a:gd name="connsiteY245" fmla="*/ 38485 h 93972"/>
                <a:gd name="connsiteX246" fmla="*/ 682690 w 1193687"/>
                <a:gd name="connsiteY246" fmla="*/ 47046 h 93972"/>
                <a:gd name="connsiteX247" fmla="*/ 682824 w 1193687"/>
                <a:gd name="connsiteY247" fmla="*/ 55606 h 93972"/>
                <a:gd name="connsiteX248" fmla="*/ 683294 w 1193687"/>
                <a:gd name="connsiteY248" fmla="*/ 61893 h 93972"/>
                <a:gd name="connsiteX249" fmla="*/ 683962 w 1193687"/>
                <a:gd name="connsiteY249" fmla="*/ 66373 h 93972"/>
                <a:gd name="connsiteX250" fmla="*/ 684697 w 1193687"/>
                <a:gd name="connsiteY250" fmla="*/ 69384 h 93972"/>
                <a:gd name="connsiteX251" fmla="*/ 691584 w 1193687"/>
                <a:gd name="connsiteY251" fmla="*/ 79416 h 93972"/>
                <a:gd name="connsiteX252" fmla="*/ 703958 w 1193687"/>
                <a:gd name="connsiteY252" fmla="*/ 82894 h 93972"/>
                <a:gd name="connsiteX253" fmla="*/ 755858 w 1193687"/>
                <a:gd name="connsiteY253" fmla="*/ 72728 h 93972"/>
                <a:gd name="connsiteX254" fmla="*/ 754788 w 1193687"/>
                <a:gd name="connsiteY254" fmla="*/ 68566 h 93972"/>
                <a:gd name="connsiteX255" fmla="*/ 754053 w 1193687"/>
                <a:gd name="connsiteY255" fmla="*/ 63552 h 93972"/>
                <a:gd name="connsiteX256" fmla="*/ 753584 w 1193687"/>
                <a:gd name="connsiteY256" fmla="*/ 56661 h 93972"/>
                <a:gd name="connsiteX257" fmla="*/ 753450 w 1193687"/>
                <a:gd name="connsiteY257" fmla="*/ 47031 h 93972"/>
                <a:gd name="connsiteX258" fmla="*/ 753584 w 1193687"/>
                <a:gd name="connsiteY258" fmla="*/ 37400 h 93972"/>
                <a:gd name="connsiteX259" fmla="*/ 754053 w 1193687"/>
                <a:gd name="connsiteY259" fmla="*/ 30513 h 93972"/>
                <a:gd name="connsiteX260" fmla="*/ 754788 w 1193687"/>
                <a:gd name="connsiteY260" fmla="*/ 25498 h 93972"/>
                <a:gd name="connsiteX261" fmla="*/ 755858 w 1193687"/>
                <a:gd name="connsiteY261" fmla="*/ 21337 h 93972"/>
                <a:gd name="connsiteX262" fmla="*/ 767361 w 1193687"/>
                <a:gd name="connsiteY262" fmla="*/ 5431 h 93972"/>
                <a:gd name="connsiteX263" fmla="*/ 787024 w 1193687"/>
                <a:gd name="connsiteY263" fmla="*/ 80 h 93972"/>
                <a:gd name="connsiteX264" fmla="*/ 797859 w 1193687"/>
                <a:gd name="connsiteY264" fmla="*/ 1483 h 93972"/>
                <a:gd name="connsiteX265" fmla="*/ 806420 w 1193687"/>
                <a:gd name="connsiteY265" fmla="*/ 5362 h 93972"/>
                <a:gd name="connsiteX266" fmla="*/ 812840 w 1193687"/>
                <a:gd name="connsiteY266" fmla="*/ 11114 h 93972"/>
                <a:gd name="connsiteX267" fmla="*/ 817254 w 1193687"/>
                <a:gd name="connsiteY267" fmla="*/ 18135 h 93972"/>
                <a:gd name="connsiteX268" fmla="*/ 817061 w 1193687"/>
                <a:gd name="connsiteY268" fmla="*/ 19873 h 93972"/>
                <a:gd name="connsiteX269" fmla="*/ 816853 w 1193687"/>
                <a:gd name="connsiteY269" fmla="*/ 20008 h 93972"/>
                <a:gd name="connsiteX270" fmla="*/ 808827 w 1193687"/>
                <a:gd name="connsiteY270" fmla="*/ 23872 h 93972"/>
                <a:gd name="connsiteX271" fmla="*/ 806955 w 1193687"/>
                <a:gd name="connsiteY271" fmla="*/ 23203 h 93972"/>
                <a:gd name="connsiteX272" fmla="*/ 798929 w 1193687"/>
                <a:gd name="connsiteY272" fmla="*/ 14107 h 93972"/>
                <a:gd name="connsiteX273" fmla="*/ 787039 w 1193687"/>
                <a:gd name="connsiteY273" fmla="*/ 11165 h 93972"/>
                <a:gd name="connsiteX274" fmla="*/ 774397 w 1193687"/>
                <a:gd name="connsiteY274" fmla="*/ 14643 h 93972"/>
                <a:gd name="connsiteX275" fmla="*/ 767373 w 1193687"/>
                <a:gd name="connsiteY275" fmla="*/ 24675 h 93972"/>
                <a:gd name="connsiteX276" fmla="*/ 766571 w 1193687"/>
                <a:gd name="connsiteY276" fmla="*/ 27617 h 93972"/>
                <a:gd name="connsiteX277" fmla="*/ 765976 w 1193687"/>
                <a:gd name="connsiteY277" fmla="*/ 31898 h 93972"/>
                <a:gd name="connsiteX278" fmla="*/ 765643 w 1193687"/>
                <a:gd name="connsiteY278" fmla="*/ 38116 h 93972"/>
                <a:gd name="connsiteX279" fmla="*/ 765489 w 1193687"/>
                <a:gd name="connsiteY279" fmla="*/ 47046 h 93972"/>
                <a:gd name="connsiteX280" fmla="*/ 765622 w 1193687"/>
                <a:gd name="connsiteY280" fmla="*/ 55942 h 93972"/>
                <a:gd name="connsiteX281" fmla="*/ 765955 w 1193687"/>
                <a:gd name="connsiteY281" fmla="*/ 62161 h 93972"/>
                <a:gd name="connsiteX282" fmla="*/ 766550 w 1193687"/>
                <a:gd name="connsiteY282" fmla="*/ 66441 h 93972"/>
                <a:gd name="connsiteX283" fmla="*/ 767352 w 1193687"/>
                <a:gd name="connsiteY283" fmla="*/ 69384 h 93972"/>
                <a:gd name="connsiteX284" fmla="*/ 774376 w 1193687"/>
                <a:gd name="connsiteY284" fmla="*/ 79416 h 93972"/>
                <a:gd name="connsiteX285" fmla="*/ 787018 w 1193687"/>
                <a:gd name="connsiteY285" fmla="*/ 82894 h 93972"/>
                <a:gd name="connsiteX286" fmla="*/ 799205 w 1193687"/>
                <a:gd name="connsiteY286" fmla="*/ 79550 h 93972"/>
                <a:gd name="connsiteX287" fmla="*/ 806562 w 1193687"/>
                <a:gd name="connsiteY287" fmla="*/ 69785 h 93972"/>
                <a:gd name="connsiteX288" fmla="*/ 807751 w 1193687"/>
                <a:gd name="connsiteY288" fmla="*/ 64033 h 93972"/>
                <a:gd name="connsiteX289" fmla="*/ 808286 w 1193687"/>
                <a:gd name="connsiteY289" fmla="*/ 55472 h 93972"/>
                <a:gd name="connsiteX290" fmla="*/ 807683 w 1193687"/>
                <a:gd name="connsiteY290" fmla="*/ 54670 h 93972"/>
                <a:gd name="connsiteX291" fmla="*/ 807484 w 1193687"/>
                <a:gd name="connsiteY291" fmla="*/ 54670 h 93972"/>
                <a:gd name="connsiteX292" fmla="*/ 789827 w 1193687"/>
                <a:gd name="connsiteY292" fmla="*/ 54670 h 93972"/>
                <a:gd name="connsiteX293" fmla="*/ 788490 w 1193687"/>
                <a:gd name="connsiteY293" fmla="*/ 53651 h 93972"/>
                <a:gd name="connsiteX294" fmla="*/ 788490 w 1193687"/>
                <a:gd name="connsiteY294" fmla="*/ 53332 h 93972"/>
                <a:gd name="connsiteX295" fmla="*/ 788490 w 1193687"/>
                <a:gd name="connsiteY295" fmla="*/ 45559 h 93972"/>
                <a:gd name="connsiteX296" fmla="*/ 789509 w 1193687"/>
                <a:gd name="connsiteY296" fmla="*/ 44222 h 93972"/>
                <a:gd name="connsiteX297" fmla="*/ 789827 w 1193687"/>
                <a:gd name="connsiteY297" fmla="*/ 44222 h 93972"/>
                <a:gd name="connsiteX298" fmla="*/ 818854 w 1193687"/>
                <a:gd name="connsiteY298" fmla="*/ 44222 h 93972"/>
                <a:gd name="connsiteX299" fmla="*/ 820191 w 1193687"/>
                <a:gd name="connsiteY299" fmla="*/ 45241 h 93972"/>
                <a:gd name="connsiteX300" fmla="*/ 820191 w 1193687"/>
                <a:gd name="connsiteY300" fmla="*/ 45559 h 93972"/>
                <a:gd name="connsiteX301" fmla="*/ 820191 w 1193687"/>
                <a:gd name="connsiteY301" fmla="*/ 52396 h 93972"/>
                <a:gd name="connsiteX302" fmla="*/ 819597 w 1193687"/>
                <a:gd name="connsiteY302" fmla="*/ 63831 h 93972"/>
                <a:gd name="connsiteX303" fmla="*/ 817926 w 1193687"/>
                <a:gd name="connsiteY303" fmla="*/ 72451 h 93972"/>
                <a:gd name="connsiteX304" fmla="*/ 806488 w 1193687"/>
                <a:gd name="connsiteY304" fmla="*/ 88434 h 93972"/>
                <a:gd name="connsiteX305" fmla="*/ 787027 w 1193687"/>
                <a:gd name="connsiteY305" fmla="*/ 93987 h 93972"/>
                <a:gd name="connsiteX306" fmla="*/ 767364 w 1193687"/>
                <a:gd name="connsiteY306" fmla="*/ 88636 h 93972"/>
                <a:gd name="connsiteX307" fmla="*/ 755858 w 1193687"/>
                <a:gd name="connsiteY307" fmla="*/ 72728 h 93972"/>
                <a:gd name="connsiteX308" fmla="*/ 839459 w 1193687"/>
                <a:gd name="connsiteY308" fmla="*/ 2904 h 93972"/>
                <a:gd name="connsiteX309" fmla="*/ 840478 w 1193687"/>
                <a:gd name="connsiteY309" fmla="*/ 1567 h 93972"/>
                <a:gd name="connsiteX310" fmla="*/ 840796 w 1193687"/>
                <a:gd name="connsiteY310" fmla="*/ 1567 h 93972"/>
                <a:gd name="connsiteX311" fmla="*/ 850011 w 1193687"/>
                <a:gd name="connsiteY311" fmla="*/ 1567 h 93972"/>
                <a:gd name="connsiteX312" fmla="*/ 851349 w 1193687"/>
                <a:gd name="connsiteY312" fmla="*/ 2586 h 93972"/>
                <a:gd name="connsiteX313" fmla="*/ 851349 w 1193687"/>
                <a:gd name="connsiteY313" fmla="*/ 2904 h 93972"/>
                <a:gd name="connsiteX314" fmla="*/ 851349 w 1193687"/>
                <a:gd name="connsiteY314" fmla="*/ 91187 h 93972"/>
                <a:gd name="connsiteX315" fmla="*/ 850329 w 1193687"/>
                <a:gd name="connsiteY315" fmla="*/ 92524 h 93972"/>
                <a:gd name="connsiteX316" fmla="*/ 850011 w 1193687"/>
                <a:gd name="connsiteY316" fmla="*/ 92524 h 93972"/>
                <a:gd name="connsiteX317" fmla="*/ 840796 w 1193687"/>
                <a:gd name="connsiteY317" fmla="*/ 92524 h 93972"/>
                <a:gd name="connsiteX318" fmla="*/ 839459 w 1193687"/>
                <a:gd name="connsiteY318" fmla="*/ 91505 h 93972"/>
                <a:gd name="connsiteX319" fmla="*/ 839459 w 1193687"/>
                <a:gd name="connsiteY319" fmla="*/ 91187 h 93972"/>
                <a:gd name="connsiteX320" fmla="*/ 901390 w 1193687"/>
                <a:gd name="connsiteY320" fmla="*/ 93996 h 93972"/>
                <a:gd name="connsiteX321" fmla="*/ 891893 w 1193687"/>
                <a:gd name="connsiteY321" fmla="*/ 93059 h 93972"/>
                <a:gd name="connsiteX322" fmla="*/ 883065 w 1193687"/>
                <a:gd name="connsiteY322" fmla="*/ 90583 h 93972"/>
                <a:gd name="connsiteX323" fmla="*/ 875441 w 1193687"/>
                <a:gd name="connsiteY323" fmla="*/ 86972 h 93972"/>
                <a:gd name="connsiteX324" fmla="*/ 869421 w 1193687"/>
                <a:gd name="connsiteY324" fmla="*/ 82626 h 93972"/>
                <a:gd name="connsiteX325" fmla="*/ 869225 w 1193687"/>
                <a:gd name="connsiteY325" fmla="*/ 80689 h 93972"/>
                <a:gd name="connsiteX326" fmla="*/ 869288 w 1193687"/>
                <a:gd name="connsiteY326" fmla="*/ 80620 h 93972"/>
                <a:gd name="connsiteX327" fmla="*/ 875173 w 1193687"/>
                <a:gd name="connsiteY327" fmla="*/ 73664 h 93972"/>
                <a:gd name="connsiteX328" fmla="*/ 876882 w 1193687"/>
                <a:gd name="connsiteY328" fmla="*/ 73389 h 93972"/>
                <a:gd name="connsiteX329" fmla="*/ 877046 w 1193687"/>
                <a:gd name="connsiteY329" fmla="*/ 73530 h 93972"/>
                <a:gd name="connsiteX330" fmla="*/ 888014 w 1193687"/>
                <a:gd name="connsiteY330" fmla="*/ 79951 h 93972"/>
                <a:gd name="connsiteX331" fmla="*/ 902460 w 1193687"/>
                <a:gd name="connsiteY331" fmla="*/ 82894 h 93972"/>
                <a:gd name="connsiteX332" fmla="*/ 917242 w 1193687"/>
                <a:gd name="connsiteY332" fmla="*/ 78613 h 93972"/>
                <a:gd name="connsiteX333" fmla="*/ 922525 w 1193687"/>
                <a:gd name="connsiteY333" fmla="*/ 67377 h 93972"/>
                <a:gd name="connsiteX334" fmla="*/ 921588 w 1193687"/>
                <a:gd name="connsiteY334" fmla="*/ 62027 h 93972"/>
                <a:gd name="connsiteX335" fmla="*/ 918446 w 1193687"/>
                <a:gd name="connsiteY335" fmla="*/ 57746 h 93972"/>
                <a:gd name="connsiteX336" fmla="*/ 912626 w 1193687"/>
                <a:gd name="connsiteY336" fmla="*/ 54536 h 93972"/>
                <a:gd name="connsiteX337" fmla="*/ 903531 w 1193687"/>
                <a:gd name="connsiteY337" fmla="*/ 52530 h 93972"/>
                <a:gd name="connsiteX338" fmla="*/ 898983 w 1193687"/>
                <a:gd name="connsiteY338" fmla="*/ 51861 h 93972"/>
                <a:gd name="connsiteX339" fmla="*/ 872230 w 1193687"/>
                <a:gd name="connsiteY339" fmla="*/ 26714 h 93972"/>
                <a:gd name="connsiteX340" fmla="*/ 874311 w 1193687"/>
                <a:gd name="connsiteY340" fmla="*/ 15745 h 93972"/>
                <a:gd name="connsiteX341" fmla="*/ 880256 w 1193687"/>
                <a:gd name="connsiteY341" fmla="*/ 7318 h 93972"/>
                <a:gd name="connsiteX342" fmla="*/ 889619 w 1193687"/>
                <a:gd name="connsiteY342" fmla="*/ 1968 h 93972"/>
                <a:gd name="connsiteX343" fmla="*/ 901925 w 1193687"/>
                <a:gd name="connsiteY343" fmla="*/ 95 h 93972"/>
                <a:gd name="connsiteX344" fmla="*/ 917240 w 1193687"/>
                <a:gd name="connsiteY344" fmla="*/ 2435 h 93972"/>
                <a:gd name="connsiteX345" fmla="*/ 929629 w 1193687"/>
                <a:gd name="connsiteY345" fmla="*/ 8522 h 93972"/>
                <a:gd name="connsiteX346" fmla="*/ 930087 w 1193687"/>
                <a:gd name="connsiteY346" fmla="*/ 10140 h 93972"/>
                <a:gd name="connsiteX347" fmla="*/ 929896 w 1193687"/>
                <a:gd name="connsiteY347" fmla="*/ 10395 h 93972"/>
                <a:gd name="connsiteX348" fmla="*/ 925348 w 1193687"/>
                <a:gd name="connsiteY348" fmla="*/ 17752 h 93972"/>
                <a:gd name="connsiteX349" fmla="*/ 923532 w 1193687"/>
                <a:gd name="connsiteY349" fmla="*/ 18063 h 93972"/>
                <a:gd name="connsiteX350" fmla="*/ 923476 w 1193687"/>
                <a:gd name="connsiteY350" fmla="*/ 18019 h 93972"/>
                <a:gd name="connsiteX351" fmla="*/ 912626 w 1193687"/>
                <a:gd name="connsiteY351" fmla="*/ 12862 h 93972"/>
                <a:gd name="connsiteX352" fmla="*/ 901524 w 1193687"/>
                <a:gd name="connsiteY352" fmla="*/ 11191 h 93972"/>
                <a:gd name="connsiteX353" fmla="*/ 888683 w 1193687"/>
                <a:gd name="connsiteY353" fmla="*/ 15270 h 93972"/>
                <a:gd name="connsiteX354" fmla="*/ 884269 w 1193687"/>
                <a:gd name="connsiteY354" fmla="*/ 25902 h 93972"/>
                <a:gd name="connsiteX355" fmla="*/ 888549 w 1193687"/>
                <a:gd name="connsiteY355" fmla="*/ 35331 h 93972"/>
                <a:gd name="connsiteX356" fmla="*/ 903397 w 1193687"/>
                <a:gd name="connsiteY356" fmla="*/ 40482 h 93972"/>
                <a:gd name="connsiteX357" fmla="*/ 907811 w 1193687"/>
                <a:gd name="connsiteY357" fmla="*/ 41151 h 93972"/>
                <a:gd name="connsiteX358" fmla="*/ 927875 w 1193687"/>
                <a:gd name="connsiteY358" fmla="*/ 49177 h 93972"/>
                <a:gd name="connsiteX359" fmla="*/ 934563 w 1193687"/>
                <a:gd name="connsiteY359" fmla="*/ 66566 h 93972"/>
                <a:gd name="connsiteX360" fmla="*/ 932482 w 1193687"/>
                <a:gd name="connsiteY360" fmla="*/ 77600 h 93972"/>
                <a:gd name="connsiteX361" fmla="*/ 926196 w 1193687"/>
                <a:gd name="connsiteY361" fmla="*/ 86220 h 93972"/>
                <a:gd name="connsiteX362" fmla="*/ 915762 w 1193687"/>
                <a:gd name="connsiteY362" fmla="*/ 91906 h 93972"/>
                <a:gd name="connsiteX363" fmla="*/ 901390 w 1193687"/>
                <a:gd name="connsiteY363" fmla="*/ 93996 h 93972"/>
                <a:gd name="connsiteX364" fmla="*/ 971348 w 1193687"/>
                <a:gd name="connsiteY364" fmla="*/ 92524 h 93972"/>
                <a:gd name="connsiteX365" fmla="*/ 970010 w 1193687"/>
                <a:gd name="connsiteY365" fmla="*/ 91505 h 93972"/>
                <a:gd name="connsiteX366" fmla="*/ 970010 w 1193687"/>
                <a:gd name="connsiteY366" fmla="*/ 91187 h 93972"/>
                <a:gd name="connsiteX367" fmla="*/ 970010 w 1193687"/>
                <a:gd name="connsiteY367" fmla="*/ 13457 h 93972"/>
                <a:gd name="connsiteX368" fmla="*/ 969407 w 1193687"/>
                <a:gd name="connsiteY368" fmla="*/ 12654 h 93972"/>
                <a:gd name="connsiteX369" fmla="*/ 969207 w 1193687"/>
                <a:gd name="connsiteY369" fmla="*/ 12654 h 93972"/>
                <a:gd name="connsiteX370" fmla="*/ 944328 w 1193687"/>
                <a:gd name="connsiteY370" fmla="*/ 12654 h 93972"/>
                <a:gd name="connsiteX371" fmla="*/ 942990 w 1193687"/>
                <a:gd name="connsiteY371" fmla="*/ 11635 h 93972"/>
                <a:gd name="connsiteX372" fmla="*/ 942990 w 1193687"/>
                <a:gd name="connsiteY372" fmla="*/ 11316 h 93972"/>
                <a:gd name="connsiteX373" fmla="*/ 942990 w 1193687"/>
                <a:gd name="connsiteY373" fmla="*/ 2904 h 93972"/>
                <a:gd name="connsiteX374" fmla="*/ 944010 w 1193687"/>
                <a:gd name="connsiteY374" fmla="*/ 1567 h 93972"/>
                <a:gd name="connsiteX375" fmla="*/ 944328 w 1193687"/>
                <a:gd name="connsiteY375" fmla="*/ 1567 h 93972"/>
                <a:gd name="connsiteX376" fmla="*/ 1007597 w 1193687"/>
                <a:gd name="connsiteY376" fmla="*/ 1567 h 93972"/>
                <a:gd name="connsiteX377" fmla="*/ 1008935 w 1193687"/>
                <a:gd name="connsiteY377" fmla="*/ 2586 h 93972"/>
                <a:gd name="connsiteX378" fmla="*/ 1008935 w 1193687"/>
                <a:gd name="connsiteY378" fmla="*/ 2904 h 93972"/>
                <a:gd name="connsiteX379" fmla="*/ 1008935 w 1193687"/>
                <a:gd name="connsiteY379" fmla="*/ 11331 h 93972"/>
                <a:gd name="connsiteX380" fmla="*/ 1007915 w 1193687"/>
                <a:gd name="connsiteY380" fmla="*/ 12669 h 93972"/>
                <a:gd name="connsiteX381" fmla="*/ 1007597 w 1193687"/>
                <a:gd name="connsiteY381" fmla="*/ 12669 h 93972"/>
                <a:gd name="connsiteX382" fmla="*/ 982717 w 1193687"/>
                <a:gd name="connsiteY382" fmla="*/ 12669 h 93972"/>
                <a:gd name="connsiteX383" fmla="*/ 981915 w 1193687"/>
                <a:gd name="connsiteY383" fmla="*/ 13273 h 93972"/>
                <a:gd name="connsiteX384" fmla="*/ 981915 w 1193687"/>
                <a:gd name="connsiteY384" fmla="*/ 13471 h 93972"/>
                <a:gd name="connsiteX385" fmla="*/ 981915 w 1193687"/>
                <a:gd name="connsiteY385" fmla="*/ 91187 h 93972"/>
                <a:gd name="connsiteX386" fmla="*/ 980895 w 1193687"/>
                <a:gd name="connsiteY386" fmla="*/ 92524 h 93972"/>
                <a:gd name="connsiteX387" fmla="*/ 980577 w 1193687"/>
                <a:gd name="connsiteY387" fmla="*/ 92524 h 93972"/>
                <a:gd name="connsiteX388" fmla="*/ 1023113 w 1193687"/>
                <a:gd name="connsiteY388" fmla="*/ 2904 h 93972"/>
                <a:gd name="connsiteX389" fmla="*/ 1024133 w 1193687"/>
                <a:gd name="connsiteY389" fmla="*/ 1567 h 93972"/>
                <a:gd name="connsiteX390" fmla="*/ 1024451 w 1193687"/>
                <a:gd name="connsiteY390" fmla="*/ 1567 h 93972"/>
                <a:gd name="connsiteX391" fmla="*/ 1033666 w 1193687"/>
                <a:gd name="connsiteY391" fmla="*/ 1567 h 93972"/>
                <a:gd name="connsiteX392" fmla="*/ 1035003 w 1193687"/>
                <a:gd name="connsiteY392" fmla="*/ 2586 h 93972"/>
                <a:gd name="connsiteX393" fmla="*/ 1035003 w 1193687"/>
                <a:gd name="connsiteY393" fmla="*/ 2904 h 93972"/>
                <a:gd name="connsiteX394" fmla="*/ 1035003 w 1193687"/>
                <a:gd name="connsiteY394" fmla="*/ 91187 h 93972"/>
                <a:gd name="connsiteX395" fmla="*/ 1033984 w 1193687"/>
                <a:gd name="connsiteY395" fmla="*/ 92524 h 93972"/>
                <a:gd name="connsiteX396" fmla="*/ 1033666 w 1193687"/>
                <a:gd name="connsiteY396" fmla="*/ 92524 h 93972"/>
                <a:gd name="connsiteX397" fmla="*/ 1024451 w 1193687"/>
                <a:gd name="connsiteY397" fmla="*/ 92524 h 93972"/>
                <a:gd name="connsiteX398" fmla="*/ 1023113 w 1193687"/>
                <a:gd name="connsiteY398" fmla="*/ 91505 h 93972"/>
                <a:gd name="connsiteX399" fmla="*/ 1023113 w 1193687"/>
                <a:gd name="connsiteY399" fmla="*/ 91187 h 93972"/>
                <a:gd name="connsiteX400" fmla="*/ 1056702 w 1193687"/>
                <a:gd name="connsiteY400" fmla="*/ 72594 h 93972"/>
                <a:gd name="connsiteX401" fmla="*/ 1055564 w 1193687"/>
                <a:gd name="connsiteY401" fmla="*/ 68516 h 93972"/>
                <a:gd name="connsiteX402" fmla="*/ 1054830 w 1193687"/>
                <a:gd name="connsiteY402" fmla="*/ 63567 h 93972"/>
                <a:gd name="connsiteX403" fmla="*/ 1054428 w 1193687"/>
                <a:gd name="connsiteY403" fmla="*/ 56676 h 93972"/>
                <a:gd name="connsiteX404" fmla="*/ 1054295 w 1193687"/>
                <a:gd name="connsiteY404" fmla="*/ 47046 h 93972"/>
                <a:gd name="connsiteX405" fmla="*/ 1054428 w 1193687"/>
                <a:gd name="connsiteY405" fmla="*/ 37415 h 93972"/>
                <a:gd name="connsiteX406" fmla="*/ 1054830 w 1193687"/>
                <a:gd name="connsiteY406" fmla="*/ 30527 h 93972"/>
                <a:gd name="connsiteX407" fmla="*/ 1055564 w 1193687"/>
                <a:gd name="connsiteY407" fmla="*/ 25578 h 93972"/>
                <a:gd name="connsiteX408" fmla="*/ 1056702 w 1193687"/>
                <a:gd name="connsiteY408" fmla="*/ 21500 h 93972"/>
                <a:gd name="connsiteX409" fmla="*/ 1067938 w 1193687"/>
                <a:gd name="connsiteY409" fmla="*/ 5383 h 93972"/>
                <a:gd name="connsiteX410" fmla="*/ 1086932 w 1193687"/>
                <a:gd name="connsiteY410" fmla="*/ 98 h 93972"/>
                <a:gd name="connsiteX411" fmla="*/ 1104654 w 1193687"/>
                <a:gd name="connsiteY411" fmla="*/ 4854 h 93972"/>
                <a:gd name="connsiteX412" fmla="*/ 1116092 w 1193687"/>
                <a:gd name="connsiteY412" fmla="*/ 18429 h 93972"/>
                <a:gd name="connsiteX413" fmla="*/ 1115557 w 1193687"/>
                <a:gd name="connsiteY413" fmla="*/ 20168 h 93972"/>
                <a:gd name="connsiteX414" fmla="*/ 1107532 w 1193687"/>
                <a:gd name="connsiteY414" fmla="*/ 24047 h 93972"/>
                <a:gd name="connsiteX415" fmla="*/ 1105867 w 1193687"/>
                <a:gd name="connsiteY415" fmla="*/ 23816 h 93972"/>
                <a:gd name="connsiteX416" fmla="*/ 1105659 w 1193687"/>
                <a:gd name="connsiteY416" fmla="*/ 23379 h 93972"/>
                <a:gd name="connsiteX417" fmla="*/ 1098570 w 1193687"/>
                <a:gd name="connsiteY417" fmla="*/ 14619 h 93972"/>
                <a:gd name="connsiteX418" fmla="*/ 1086932 w 1193687"/>
                <a:gd name="connsiteY418" fmla="*/ 11209 h 93972"/>
                <a:gd name="connsiteX419" fmla="*/ 1074894 w 1193687"/>
                <a:gd name="connsiteY419" fmla="*/ 14687 h 93972"/>
                <a:gd name="connsiteX420" fmla="*/ 1068057 w 1193687"/>
                <a:gd name="connsiteY420" fmla="*/ 24585 h 93972"/>
                <a:gd name="connsiteX421" fmla="*/ 1067323 w 1193687"/>
                <a:gd name="connsiteY421" fmla="*/ 27730 h 93972"/>
                <a:gd name="connsiteX422" fmla="*/ 1066788 w 1193687"/>
                <a:gd name="connsiteY422" fmla="*/ 31892 h 93972"/>
                <a:gd name="connsiteX423" fmla="*/ 1066455 w 1193687"/>
                <a:gd name="connsiteY423" fmla="*/ 38045 h 93972"/>
                <a:gd name="connsiteX424" fmla="*/ 1066321 w 1193687"/>
                <a:gd name="connsiteY424" fmla="*/ 47075 h 93972"/>
                <a:gd name="connsiteX425" fmla="*/ 1066455 w 1193687"/>
                <a:gd name="connsiteY425" fmla="*/ 56103 h 93972"/>
                <a:gd name="connsiteX426" fmla="*/ 1066788 w 1193687"/>
                <a:gd name="connsiteY426" fmla="*/ 62256 h 93972"/>
                <a:gd name="connsiteX427" fmla="*/ 1067323 w 1193687"/>
                <a:gd name="connsiteY427" fmla="*/ 66471 h 93972"/>
                <a:gd name="connsiteX428" fmla="*/ 1068057 w 1193687"/>
                <a:gd name="connsiteY428" fmla="*/ 69547 h 93972"/>
                <a:gd name="connsiteX429" fmla="*/ 1074894 w 1193687"/>
                <a:gd name="connsiteY429" fmla="*/ 79446 h 93972"/>
                <a:gd name="connsiteX430" fmla="*/ 1086932 w 1193687"/>
                <a:gd name="connsiteY430" fmla="*/ 82923 h 93972"/>
                <a:gd name="connsiteX431" fmla="*/ 1098570 w 1193687"/>
                <a:gd name="connsiteY431" fmla="*/ 79511 h 93972"/>
                <a:gd name="connsiteX432" fmla="*/ 1105659 w 1193687"/>
                <a:gd name="connsiteY432" fmla="*/ 70751 h 93972"/>
                <a:gd name="connsiteX433" fmla="*/ 1107095 w 1193687"/>
                <a:gd name="connsiteY433" fmla="*/ 69875 h 93972"/>
                <a:gd name="connsiteX434" fmla="*/ 1107532 w 1193687"/>
                <a:gd name="connsiteY434" fmla="*/ 70082 h 93972"/>
                <a:gd name="connsiteX435" fmla="*/ 1115557 w 1193687"/>
                <a:gd name="connsiteY435" fmla="*/ 73946 h 93972"/>
                <a:gd name="connsiteX436" fmla="*/ 1116092 w 1193687"/>
                <a:gd name="connsiteY436" fmla="*/ 75685 h 93972"/>
                <a:gd name="connsiteX437" fmla="*/ 1104654 w 1193687"/>
                <a:gd name="connsiteY437" fmla="*/ 89261 h 93972"/>
                <a:gd name="connsiteX438" fmla="*/ 1086932 w 1193687"/>
                <a:gd name="connsiteY438" fmla="*/ 94017 h 93972"/>
                <a:gd name="connsiteX439" fmla="*/ 1067938 w 1193687"/>
                <a:gd name="connsiteY439" fmla="*/ 88732 h 93972"/>
                <a:gd name="connsiteX440" fmla="*/ 1056687 w 1193687"/>
                <a:gd name="connsiteY440" fmla="*/ 72609 h 93972"/>
                <a:gd name="connsiteX441" fmla="*/ 1160769 w 1193687"/>
                <a:gd name="connsiteY441" fmla="*/ 93996 h 93972"/>
                <a:gd name="connsiteX442" fmla="*/ 1151272 w 1193687"/>
                <a:gd name="connsiteY442" fmla="*/ 93059 h 93972"/>
                <a:gd name="connsiteX443" fmla="*/ 1142443 w 1193687"/>
                <a:gd name="connsiteY443" fmla="*/ 90583 h 93972"/>
                <a:gd name="connsiteX444" fmla="*/ 1134819 w 1193687"/>
                <a:gd name="connsiteY444" fmla="*/ 86972 h 93972"/>
                <a:gd name="connsiteX445" fmla="*/ 1128785 w 1193687"/>
                <a:gd name="connsiteY445" fmla="*/ 82626 h 93972"/>
                <a:gd name="connsiteX446" fmla="*/ 1128589 w 1193687"/>
                <a:gd name="connsiteY446" fmla="*/ 80689 h 93972"/>
                <a:gd name="connsiteX447" fmla="*/ 1128651 w 1193687"/>
                <a:gd name="connsiteY447" fmla="*/ 80620 h 93972"/>
                <a:gd name="connsiteX448" fmla="*/ 1134537 w 1193687"/>
                <a:gd name="connsiteY448" fmla="*/ 73664 h 93972"/>
                <a:gd name="connsiteX449" fmla="*/ 1136246 w 1193687"/>
                <a:gd name="connsiteY449" fmla="*/ 73389 h 93972"/>
                <a:gd name="connsiteX450" fmla="*/ 1136409 w 1193687"/>
                <a:gd name="connsiteY450" fmla="*/ 73530 h 93972"/>
                <a:gd name="connsiteX451" fmla="*/ 1147378 w 1193687"/>
                <a:gd name="connsiteY451" fmla="*/ 79951 h 93972"/>
                <a:gd name="connsiteX452" fmla="*/ 1161824 w 1193687"/>
                <a:gd name="connsiteY452" fmla="*/ 82894 h 93972"/>
                <a:gd name="connsiteX453" fmla="*/ 1176606 w 1193687"/>
                <a:gd name="connsiteY453" fmla="*/ 78613 h 93972"/>
                <a:gd name="connsiteX454" fmla="*/ 1181888 w 1193687"/>
                <a:gd name="connsiteY454" fmla="*/ 67377 h 93972"/>
                <a:gd name="connsiteX455" fmla="*/ 1180952 w 1193687"/>
                <a:gd name="connsiteY455" fmla="*/ 62027 h 93972"/>
                <a:gd name="connsiteX456" fmla="*/ 1177810 w 1193687"/>
                <a:gd name="connsiteY456" fmla="*/ 57746 h 93972"/>
                <a:gd name="connsiteX457" fmla="*/ 1171990 w 1193687"/>
                <a:gd name="connsiteY457" fmla="*/ 54536 h 93972"/>
                <a:gd name="connsiteX458" fmla="*/ 1162894 w 1193687"/>
                <a:gd name="connsiteY458" fmla="*/ 52530 h 93972"/>
                <a:gd name="connsiteX459" fmla="*/ 1158346 w 1193687"/>
                <a:gd name="connsiteY459" fmla="*/ 51861 h 93972"/>
                <a:gd name="connsiteX460" fmla="*/ 1131594 w 1193687"/>
                <a:gd name="connsiteY460" fmla="*/ 26714 h 93972"/>
                <a:gd name="connsiteX461" fmla="*/ 1133675 w 1193687"/>
                <a:gd name="connsiteY461" fmla="*/ 15745 h 93972"/>
                <a:gd name="connsiteX462" fmla="*/ 1139620 w 1193687"/>
                <a:gd name="connsiteY462" fmla="*/ 7318 h 93972"/>
                <a:gd name="connsiteX463" fmla="*/ 1148983 w 1193687"/>
                <a:gd name="connsiteY463" fmla="*/ 1968 h 93972"/>
                <a:gd name="connsiteX464" fmla="*/ 1161289 w 1193687"/>
                <a:gd name="connsiteY464" fmla="*/ 95 h 93972"/>
                <a:gd name="connsiteX465" fmla="*/ 1176603 w 1193687"/>
                <a:gd name="connsiteY465" fmla="*/ 2435 h 93972"/>
                <a:gd name="connsiteX466" fmla="*/ 1188978 w 1193687"/>
                <a:gd name="connsiteY466" fmla="*/ 8522 h 93972"/>
                <a:gd name="connsiteX467" fmla="*/ 1189435 w 1193687"/>
                <a:gd name="connsiteY467" fmla="*/ 10140 h 93972"/>
                <a:gd name="connsiteX468" fmla="*/ 1189245 w 1193687"/>
                <a:gd name="connsiteY468" fmla="*/ 10395 h 93972"/>
                <a:gd name="connsiteX469" fmla="*/ 1184697 w 1193687"/>
                <a:gd name="connsiteY469" fmla="*/ 17752 h 93972"/>
                <a:gd name="connsiteX470" fmla="*/ 1182881 w 1193687"/>
                <a:gd name="connsiteY470" fmla="*/ 18063 h 93972"/>
                <a:gd name="connsiteX471" fmla="*/ 1182825 w 1193687"/>
                <a:gd name="connsiteY471" fmla="*/ 18019 h 93972"/>
                <a:gd name="connsiteX472" fmla="*/ 1171990 w 1193687"/>
                <a:gd name="connsiteY472" fmla="*/ 12862 h 93972"/>
                <a:gd name="connsiteX473" fmla="*/ 1160888 w 1193687"/>
                <a:gd name="connsiteY473" fmla="*/ 11197 h 93972"/>
                <a:gd name="connsiteX474" fmla="*/ 1148047 w 1193687"/>
                <a:gd name="connsiteY474" fmla="*/ 15276 h 93972"/>
                <a:gd name="connsiteX475" fmla="*/ 1143647 w 1193687"/>
                <a:gd name="connsiteY475" fmla="*/ 25911 h 93972"/>
                <a:gd name="connsiteX476" fmla="*/ 1147928 w 1193687"/>
                <a:gd name="connsiteY476" fmla="*/ 35340 h 93972"/>
                <a:gd name="connsiteX477" fmla="*/ 1162760 w 1193687"/>
                <a:gd name="connsiteY477" fmla="*/ 40506 h 93972"/>
                <a:gd name="connsiteX478" fmla="*/ 1167174 w 1193687"/>
                <a:gd name="connsiteY478" fmla="*/ 41175 h 93972"/>
                <a:gd name="connsiteX479" fmla="*/ 1187239 w 1193687"/>
                <a:gd name="connsiteY479" fmla="*/ 49201 h 93972"/>
                <a:gd name="connsiteX480" fmla="*/ 1193927 w 1193687"/>
                <a:gd name="connsiteY480" fmla="*/ 66590 h 93972"/>
                <a:gd name="connsiteX481" fmla="*/ 1191846 w 1193687"/>
                <a:gd name="connsiteY481" fmla="*/ 77623 h 93972"/>
                <a:gd name="connsiteX482" fmla="*/ 1185559 w 1193687"/>
                <a:gd name="connsiteY482" fmla="*/ 86244 h 93972"/>
                <a:gd name="connsiteX483" fmla="*/ 1175126 w 1193687"/>
                <a:gd name="connsiteY483" fmla="*/ 91930 h 93972"/>
                <a:gd name="connsiteX484" fmla="*/ 1160754 w 1193687"/>
                <a:gd name="connsiteY484" fmla="*/ 93996 h 93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Lst>
              <a:rect l="l" t="t" r="r" b="b"/>
              <a:pathLst>
                <a:path w="1193687" h="93972">
                  <a:moveTo>
                    <a:pt x="31941" y="2904"/>
                  </a:moveTo>
                  <a:cubicBezTo>
                    <a:pt x="32072" y="2123"/>
                    <a:pt x="32754" y="1556"/>
                    <a:pt x="33546" y="1567"/>
                  </a:cubicBezTo>
                  <a:lnTo>
                    <a:pt x="42240" y="1567"/>
                  </a:lnTo>
                  <a:cubicBezTo>
                    <a:pt x="43071" y="1520"/>
                    <a:pt x="43811" y="2089"/>
                    <a:pt x="43979" y="2904"/>
                  </a:cubicBezTo>
                  <a:lnTo>
                    <a:pt x="75145" y="91187"/>
                  </a:lnTo>
                  <a:cubicBezTo>
                    <a:pt x="75413" y="92079"/>
                    <a:pt x="75101" y="92524"/>
                    <a:pt x="74209" y="92524"/>
                  </a:cubicBezTo>
                  <a:lnTo>
                    <a:pt x="64846" y="92524"/>
                  </a:lnTo>
                  <a:cubicBezTo>
                    <a:pt x="64015" y="92571"/>
                    <a:pt x="63275" y="92002"/>
                    <a:pt x="63107" y="91187"/>
                  </a:cubicBezTo>
                  <a:lnTo>
                    <a:pt x="56151" y="71390"/>
                  </a:lnTo>
                  <a:lnTo>
                    <a:pt x="19367" y="71390"/>
                  </a:lnTo>
                  <a:lnTo>
                    <a:pt x="12411" y="91187"/>
                  </a:lnTo>
                  <a:cubicBezTo>
                    <a:pt x="12197" y="91972"/>
                    <a:pt x="11486" y="92518"/>
                    <a:pt x="10672" y="92524"/>
                  </a:cubicBezTo>
                  <a:lnTo>
                    <a:pt x="1309" y="92524"/>
                  </a:lnTo>
                  <a:cubicBezTo>
                    <a:pt x="417" y="92524"/>
                    <a:pt x="105" y="92079"/>
                    <a:pt x="373" y="91187"/>
                  </a:cubicBezTo>
                  <a:close/>
                  <a:moveTo>
                    <a:pt x="52272" y="60422"/>
                  </a:moveTo>
                  <a:lnTo>
                    <a:pt x="37960" y="19089"/>
                  </a:lnTo>
                  <a:lnTo>
                    <a:pt x="37692" y="19089"/>
                  </a:lnTo>
                  <a:lnTo>
                    <a:pt x="23246" y="60422"/>
                  </a:lnTo>
                  <a:close/>
                  <a:moveTo>
                    <a:pt x="105911" y="92524"/>
                  </a:moveTo>
                  <a:cubicBezTo>
                    <a:pt x="105119" y="92535"/>
                    <a:pt x="104437" y="91968"/>
                    <a:pt x="104305" y="91187"/>
                  </a:cubicBezTo>
                  <a:lnTo>
                    <a:pt x="74878" y="3172"/>
                  </a:lnTo>
                  <a:cubicBezTo>
                    <a:pt x="74695" y="2791"/>
                    <a:pt x="74695" y="2348"/>
                    <a:pt x="74878" y="1968"/>
                  </a:cubicBezTo>
                  <a:cubicBezTo>
                    <a:pt x="75099" y="1680"/>
                    <a:pt x="75453" y="1528"/>
                    <a:pt x="75814" y="1567"/>
                  </a:cubicBezTo>
                  <a:lnTo>
                    <a:pt x="84910" y="1567"/>
                  </a:lnTo>
                  <a:cubicBezTo>
                    <a:pt x="85780" y="1487"/>
                    <a:pt x="86576" y="2056"/>
                    <a:pt x="86783" y="2904"/>
                  </a:cubicBezTo>
                  <a:lnTo>
                    <a:pt x="110057" y="73129"/>
                  </a:lnTo>
                  <a:lnTo>
                    <a:pt x="110325" y="73129"/>
                  </a:lnTo>
                  <a:lnTo>
                    <a:pt x="132797" y="2904"/>
                  </a:lnTo>
                  <a:cubicBezTo>
                    <a:pt x="132965" y="2089"/>
                    <a:pt x="133704" y="1520"/>
                    <a:pt x="134536" y="1567"/>
                  </a:cubicBezTo>
                  <a:lnTo>
                    <a:pt x="143750" y="1567"/>
                  </a:lnTo>
                  <a:cubicBezTo>
                    <a:pt x="144741" y="1567"/>
                    <a:pt x="145053" y="2102"/>
                    <a:pt x="144687" y="3172"/>
                  </a:cubicBezTo>
                  <a:lnTo>
                    <a:pt x="115408" y="91187"/>
                  </a:lnTo>
                  <a:cubicBezTo>
                    <a:pt x="115276" y="91968"/>
                    <a:pt x="114594" y="92535"/>
                    <a:pt x="113803" y="92524"/>
                  </a:cubicBezTo>
                  <a:close/>
                  <a:moveTo>
                    <a:pt x="158613" y="2904"/>
                  </a:moveTo>
                  <a:cubicBezTo>
                    <a:pt x="158525" y="2253"/>
                    <a:pt x="158981" y="1655"/>
                    <a:pt x="159632" y="1567"/>
                  </a:cubicBezTo>
                  <a:cubicBezTo>
                    <a:pt x="159737" y="1552"/>
                    <a:pt x="159844" y="1552"/>
                    <a:pt x="159950" y="1567"/>
                  </a:cubicBezTo>
                  <a:lnTo>
                    <a:pt x="169165" y="1567"/>
                  </a:lnTo>
                  <a:cubicBezTo>
                    <a:pt x="169816" y="1479"/>
                    <a:pt x="170415" y="1935"/>
                    <a:pt x="170503" y="2586"/>
                  </a:cubicBezTo>
                  <a:cubicBezTo>
                    <a:pt x="170517" y="2691"/>
                    <a:pt x="170517" y="2798"/>
                    <a:pt x="170503" y="2904"/>
                  </a:cubicBezTo>
                  <a:lnTo>
                    <a:pt x="170503" y="91187"/>
                  </a:lnTo>
                  <a:cubicBezTo>
                    <a:pt x="170591" y="91837"/>
                    <a:pt x="170134" y="92436"/>
                    <a:pt x="169484" y="92524"/>
                  </a:cubicBezTo>
                  <a:cubicBezTo>
                    <a:pt x="169378" y="92539"/>
                    <a:pt x="169271" y="92539"/>
                    <a:pt x="169165" y="92524"/>
                  </a:cubicBezTo>
                  <a:lnTo>
                    <a:pt x="159950" y="92524"/>
                  </a:lnTo>
                  <a:cubicBezTo>
                    <a:pt x="159300" y="92612"/>
                    <a:pt x="158701" y="92156"/>
                    <a:pt x="158613" y="91505"/>
                  </a:cubicBezTo>
                  <a:cubicBezTo>
                    <a:pt x="158598" y="91400"/>
                    <a:pt x="158598" y="91293"/>
                    <a:pt x="158613" y="91187"/>
                  </a:cubicBezTo>
                  <a:close/>
                  <a:moveTo>
                    <a:pt x="216531" y="2904"/>
                  </a:moveTo>
                  <a:cubicBezTo>
                    <a:pt x="216663" y="2123"/>
                    <a:pt x="217345" y="1556"/>
                    <a:pt x="218137" y="1567"/>
                  </a:cubicBezTo>
                  <a:lnTo>
                    <a:pt x="226831" y="1567"/>
                  </a:lnTo>
                  <a:cubicBezTo>
                    <a:pt x="227662" y="1520"/>
                    <a:pt x="228402" y="2089"/>
                    <a:pt x="228570" y="2904"/>
                  </a:cubicBezTo>
                  <a:lnTo>
                    <a:pt x="259736" y="91187"/>
                  </a:lnTo>
                  <a:cubicBezTo>
                    <a:pt x="260004" y="92079"/>
                    <a:pt x="259692" y="92524"/>
                    <a:pt x="258800" y="92524"/>
                  </a:cubicBezTo>
                  <a:lnTo>
                    <a:pt x="249437" y="92524"/>
                  </a:lnTo>
                  <a:cubicBezTo>
                    <a:pt x="248606" y="92571"/>
                    <a:pt x="247866" y="92002"/>
                    <a:pt x="247698" y="91187"/>
                  </a:cubicBezTo>
                  <a:lnTo>
                    <a:pt x="240742" y="71390"/>
                  </a:lnTo>
                  <a:lnTo>
                    <a:pt x="203958" y="71390"/>
                  </a:lnTo>
                  <a:lnTo>
                    <a:pt x="197002" y="91187"/>
                  </a:lnTo>
                  <a:cubicBezTo>
                    <a:pt x="196788" y="91972"/>
                    <a:pt x="196077" y="92518"/>
                    <a:pt x="195263" y="92524"/>
                  </a:cubicBezTo>
                  <a:lnTo>
                    <a:pt x="185900" y="92524"/>
                  </a:lnTo>
                  <a:cubicBezTo>
                    <a:pt x="185008" y="92524"/>
                    <a:pt x="184696" y="92079"/>
                    <a:pt x="184964" y="91187"/>
                  </a:cubicBezTo>
                  <a:close/>
                  <a:moveTo>
                    <a:pt x="236863" y="60422"/>
                  </a:moveTo>
                  <a:lnTo>
                    <a:pt x="222551" y="19089"/>
                  </a:lnTo>
                  <a:lnTo>
                    <a:pt x="222283" y="19089"/>
                  </a:lnTo>
                  <a:lnTo>
                    <a:pt x="207837" y="60422"/>
                  </a:lnTo>
                  <a:close/>
                  <a:moveTo>
                    <a:pt x="284616" y="92524"/>
                  </a:moveTo>
                  <a:cubicBezTo>
                    <a:pt x="283965" y="92612"/>
                    <a:pt x="283366" y="92156"/>
                    <a:pt x="283278" y="91505"/>
                  </a:cubicBezTo>
                  <a:cubicBezTo>
                    <a:pt x="283264" y="91400"/>
                    <a:pt x="283264" y="91293"/>
                    <a:pt x="283278" y="91187"/>
                  </a:cubicBezTo>
                  <a:lnTo>
                    <a:pt x="283278" y="13457"/>
                  </a:lnTo>
                  <a:cubicBezTo>
                    <a:pt x="283333" y="13068"/>
                    <a:pt x="283063" y="12709"/>
                    <a:pt x="282674" y="12654"/>
                  </a:cubicBezTo>
                  <a:cubicBezTo>
                    <a:pt x="282608" y="12645"/>
                    <a:pt x="282542" y="12645"/>
                    <a:pt x="282476" y="12654"/>
                  </a:cubicBezTo>
                  <a:lnTo>
                    <a:pt x="257596" y="12654"/>
                  </a:lnTo>
                  <a:cubicBezTo>
                    <a:pt x="256946" y="12742"/>
                    <a:pt x="256347" y="12286"/>
                    <a:pt x="256259" y="11635"/>
                  </a:cubicBezTo>
                  <a:cubicBezTo>
                    <a:pt x="256244" y="11529"/>
                    <a:pt x="256244" y="11422"/>
                    <a:pt x="256259" y="11316"/>
                  </a:cubicBezTo>
                  <a:lnTo>
                    <a:pt x="256259" y="2904"/>
                  </a:lnTo>
                  <a:cubicBezTo>
                    <a:pt x="256171" y="2253"/>
                    <a:pt x="256627" y="1655"/>
                    <a:pt x="257278" y="1567"/>
                  </a:cubicBezTo>
                  <a:cubicBezTo>
                    <a:pt x="257383" y="1552"/>
                    <a:pt x="257490" y="1552"/>
                    <a:pt x="257596" y="1567"/>
                  </a:cubicBezTo>
                  <a:lnTo>
                    <a:pt x="320865" y="1567"/>
                  </a:lnTo>
                  <a:cubicBezTo>
                    <a:pt x="321516" y="1479"/>
                    <a:pt x="322114" y="1935"/>
                    <a:pt x="322203" y="2586"/>
                  </a:cubicBezTo>
                  <a:cubicBezTo>
                    <a:pt x="322218" y="2691"/>
                    <a:pt x="322218" y="2798"/>
                    <a:pt x="322203" y="2904"/>
                  </a:cubicBezTo>
                  <a:lnTo>
                    <a:pt x="322203" y="11331"/>
                  </a:lnTo>
                  <a:cubicBezTo>
                    <a:pt x="322292" y="11982"/>
                    <a:pt x="321834" y="12581"/>
                    <a:pt x="321183" y="12669"/>
                  </a:cubicBezTo>
                  <a:cubicBezTo>
                    <a:pt x="321079" y="12683"/>
                    <a:pt x="320972" y="12683"/>
                    <a:pt x="320865" y="12669"/>
                  </a:cubicBezTo>
                  <a:lnTo>
                    <a:pt x="295986" y="12669"/>
                  </a:lnTo>
                  <a:cubicBezTo>
                    <a:pt x="295596" y="12614"/>
                    <a:pt x="295237" y="12885"/>
                    <a:pt x="295183" y="13273"/>
                  </a:cubicBezTo>
                  <a:cubicBezTo>
                    <a:pt x="295174" y="13339"/>
                    <a:pt x="295174" y="13406"/>
                    <a:pt x="295183" y="13471"/>
                  </a:cubicBezTo>
                  <a:lnTo>
                    <a:pt x="295183" y="91187"/>
                  </a:lnTo>
                  <a:cubicBezTo>
                    <a:pt x="295272" y="91837"/>
                    <a:pt x="294815" y="92436"/>
                    <a:pt x="294164" y="92524"/>
                  </a:cubicBezTo>
                  <a:cubicBezTo>
                    <a:pt x="294058" y="92539"/>
                    <a:pt x="293951" y="92539"/>
                    <a:pt x="293846" y="92524"/>
                  </a:cubicBezTo>
                  <a:close/>
                  <a:moveTo>
                    <a:pt x="336382" y="2904"/>
                  </a:moveTo>
                  <a:cubicBezTo>
                    <a:pt x="336293" y="2253"/>
                    <a:pt x="336750" y="1655"/>
                    <a:pt x="337401" y="1567"/>
                  </a:cubicBezTo>
                  <a:cubicBezTo>
                    <a:pt x="337505" y="1552"/>
                    <a:pt x="337612" y="1552"/>
                    <a:pt x="337719" y="1567"/>
                  </a:cubicBezTo>
                  <a:lnTo>
                    <a:pt x="346934" y="1567"/>
                  </a:lnTo>
                  <a:cubicBezTo>
                    <a:pt x="347585" y="1479"/>
                    <a:pt x="348182" y="1935"/>
                    <a:pt x="348272" y="2586"/>
                  </a:cubicBezTo>
                  <a:cubicBezTo>
                    <a:pt x="348286" y="2691"/>
                    <a:pt x="348286" y="2798"/>
                    <a:pt x="348272" y="2904"/>
                  </a:cubicBezTo>
                  <a:lnTo>
                    <a:pt x="348272" y="91187"/>
                  </a:lnTo>
                  <a:cubicBezTo>
                    <a:pt x="348361" y="91837"/>
                    <a:pt x="347903" y="92436"/>
                    <a:pt x="347252" y="92524"/>
                  </a:cubicBezTo>
                  <a:cubicBezTo>
                    <a:pt x="347148" y="92539"/>
                    <a:pt x="347041" y="92539"/>
                    <a:pt x="346934" y="92524"/>
                  </a:cubicBezTo>
                  <a:lnTo>
                    <a:pt x="337719" y="92524"/>
                  </a:lnTo>
                  <a:cubicBezTo>
                    <a:pt x="337068" y="92612"/>
                    <a:pt x="336471" y="92156"/>
                    <a:pt x="336382" y="91505"/>
                  </a:cubicBezTo>
                  <a:cubicBezTo>
                    <a:pt x="336367" y="91400"/>
                    <a:pt x="336367" y="91293"/>
                    <a:pt x="336382" y="91187"/>
                  </a:cubicBezTo>
                  <a:close/>
                  <a:moveTo>
                    <a:pt x="400855" y="93996"/>
                  </a:moveTo>
                  <a:cubicBezTo>
                    <a:pt x="393976" y="94218"/>
                    <a:pt x="387190" y="92353"/>
                    <a:pt x="381391" y="88645"/>
                  </a:cubicBezTo>
                  <a:cubicBezTo>
                    <a:pt x="375877" y="84796"/>
                    <a:pt x="371843" y="79181"/>
                    <a:pt x="369956" y="72728"/>
                  </a:cubicBezTo>
                  <a:cubicBezTo>
                    <a:pt x="369504" y="71362"/>
                    <a:pt x="369124" y="69973"/>
                    <a:pt x="368820" y="68566"/>
                  </a:cubicBezTo>
                  <a:cubicBezTo>
                    <a:pt x="368473" y="66911"/>
                    <a:pt x="368229" y="65236"/>
                    <a:pt x="368083" y="63552"/>
                  </a:cubicBezTo>
                  <a:cubicBezTo>
                    <a:pt x="367905" y="61635"/>
                    <a:pt x="367771" y="59339"/>
                    <a:pt x="367682" y="56661"/>
                  </a:cubicBezTo>
                  <a:cubicBezTo>
                    <a:pt x="367593" y="53984"/>
                    <a:pt x="367542" y="50779"/>
                    <a:pt x="367533" y="47046"/>
                  </a:cubicBezTo>
                  <a:cubicBezTo>
                    <a:pt x="367533" y="43300"/>
                    <a:pt x="367578" y="40090"/>
                    <a:pt x="367667" y="37415"/>
                  </a:cubicBezTo>
                  <a:cubicBezTo>
                    <a:pt x="367756" y="34739"/>
                    <a:pt x="367890" y="32444"/>
                    <a:pt x="368068" y="30527"/>
                  </a:cubicBezTo>
                  <a:cubicBezTo>
                    <a:pt x="368214" y="28843"/>
                    <a:pt x="368458" y="27168"/>
                    <a:pt x="368805" y="25513"/>
                  </a:cubicBezTo>
                  <a:cubicBezTo>
                    <a:pt x="369109" y="24107"/>
                    <a:pt x="369489" y="22717"/>
                    <a:pt x="369941" y="21351"/>
                  </a:cubicBezTo>
                  <a:cubicBezTo>
                    <a:pt x="371831" y="14895"/>
                    <a:pt x="375871" y="9279"/>
                    <a:pt x="381391" y="5431"/>
                  </a:cubicBezTo>
                  <a:cubicBezTo>
                    <a:pt x="393432" y="-1703"/>
                    <a:pt x="408408" y="-1703"/>
                    <a:pt x="420449" y="5431"/>
                  </a:cubicBezTo>
                  <a:cubicBezTo>
                    <a:pt x="425963" y="9280"/>
                    <a:pt x="429997" y="14895"/>
                    <a:pt x="431887" y="21348"/>
                  </a:cubicBezTo>
                  <a:cubicBezTo>
                    <a:pt x="432339" y="22714"/>
                    <a:pt x="432720" y="24104"/>
                    <a:pt x="433023" y="25510"/>
                  </a:cubicBezTo>
                  <a:cubicBezTo>
                    <a:pt x="433371" y="27166"/>
                    <a:pt x="433614" y="28841"/>
                    <a:pt x="433760" y="30527"/>
                  </a:cubicBezTo>
                  <a:cubicBezTo>
                    <a:pt x="433938" y="32446"/>
                    <a:pt x="434072" y="34742"/>
                    <a:pt x="434161" y="37415"/>
                  </a:cubicBezTo>
                  <a:cubicBezTo>
                    <a:pt x="434251" y="40088"/>
                    <a:pt x="434295" y="43298"/>
                    <a:pt x="434295" y="47046"/>
                  </a:cubicBezTo>
                  <a:cubicBezTo>
                    <a:pt x="434295" y="50791"/>
                    <a:pt x="434251" y="54001"/>
                    <a:pt x="434161" y="56676"/>
                  </a:cubicBezTo>
                  <a:cubicBezTo>
                    <a:pt x="434072" y="59352"/>
                    <a:pt x="433938" y="61648"/>
                    <a:pt x="433760" y="63567"/>
                  </a:cubicBezTo>
                  <a:cubicBezTo>
                    <a:pt x="433614" y="65253"/>
                    <a:pt x="433371" y="66928"/>
                    <a:pt x="433023" y="68584"/>
                  </a:cubicBezTo>
                  <a:cubicBezTo>
                    <a:pt x="432720" y="69990"/>
                    <a:pt x="432339" y="71380"/>
                    <a:pt x="431887" y="72746"/>
                  </a:cubicBezTo>
                  <a:cubicBezTo>
                    <a:pt x="429997" y="79199"/>
                    <a:pt x="425963" y="84814"/>
                    <a:pt x="420449" y="88663"/>
                  </a:cubicBezTo>
                  <a:cubicBezTo>
                    <a:pt x="414605" y="92376"/>
                    <a:pt x="407775" y="94235"/>
                    <a:pt x="400855" y="93996"/>
                  </a:cubicBezTo>
                  <a:close/>
                  <a:moveTo>
                    <a:pt x="400855" y="82894"/>
                  </a:moveTo>
                  <a:cubicBezTo>
                    <a:pt x="405266" y="83088"/>
                    <a:pt x="409624" y="81870"/>
                    <a:pt x="413295" y="79416"/>
                  </a:cubicBezTo>
                  <a:cubicBezTo>
                    <a:pt x="416636" y="76911"/>
                    <a:pt x="419076" y="73391"/>
                    <a:pt x="420250" y="69384"/>
                  </a:cubicBezTo>
                  <a:cubicBezTo>
                    <a:pt x="420562" y="68398"/>
                    <a:pt x="420809" y="67392"/>
                    <a:pt x="420987" y="66373"/>
                  </a:cubicBezTo>
                  <a:cubicBezTo>
                    <a:pt x="421210" y="65168"/>
                    <a:pt x="421433" y="63674"/>
                    <a:pt x="421656" y="61893"/>
                  </a:cubicBezTo>
                  <a:cubicBezTo>
                    <a:pt x="421879" y="60112"/>
                    <a:pt x="422037" y="58016"/>
                    <a:pt x="422126" y="55606"/>
                  </a:cubicBezTo>
                  <a:cubicBezTo>
                    <a:pt x="422215" y="53199"/>
                    <a:pt x="422260" y="50345"/>
                    <a:pt x="422260" y="47046"/>
                  </a:cubicBezTo>
                  <a:cubicBezTo>
                    <a:pt x="422260" y="43746"/>
                    <a:pt x="422215" y="40892"/>
                    <a:pt x="422126" y="38485"/>
                  </a:cubicBezTo>
                  <a:cubicBezTo>
                    <a:pt x="422037" y="36077"/>
                    <a:pt x="421879" y="33981"/>
                    <a:pt x="421656" y="32198"/>
                  </a:cubicBezTo>
                  <a:cubicBezTo>
                    <a:pt x="421433" y="30415"/>
                    <a:pt x="421210" y="28921"/>
                    <a:pt x="420987" y="27718"/>
                  </a:cubicBezTo>
                  <a:cubicBezTo>
                    <a:pt x="420809" y="26699"/>
                    <a:pt x="420562" y="25693"/>
                    <a:pt x="420250" y="24707"/>
                  </a:cubicBezTo>
                  <a:cubicBezTo>
                    <a:pt x="419076" y="20699"/>
                    <a:pt x="416636" y="17180"/>
                    <a:pt x="413295" y="14675"/>
                  </a:cubicBezTo>
                  <a:cubicBezTo>
                    <a:pt x="409624" y="12221"/>
                    <a:pt x="405266" y="11003"/>
                    <a:pt x="400855" y="11197"/>
                  </a:cubicBezTo>
                  <a:cubicBezTo>
                    <a:pt x="396464" y="10996"/>
                    <a:pt x="392125" y="12215"/>
                    <a:pt x="388480" y="14675"/>
                  </a:cubicBezTo>
                  <a:cubicBezTo>
                    <a:pt x="385172" y="17198"/>
                    <a:pt x="382758" y="20714"/>
                    <a:pt x="381593" y="24707"/>
                  </a:cubicBezTo>
                  <a:cubicBezTo>
                    <a:pt x="381281" y="25693"/>
                    <a:pt x="381034" y="26699"/>
                    <a:pt x="380859" y="27718"/>
                  </a:cubicBezTo>
                  <a:cubicBezTo>
                    <a:pt x="380636" y="28921"/>
                    <a:pt x="380413" y="30415"/>
                    <a:pt x="380190" y="32198"/>
                  </a:cubicBezTo>
                  <a:cubicBezTo>
                    <a:pt x="379967" y="33981"/>
                    <a:pt x="379810" y="36077"/>
                    <a:pt x="379720" y="38485"/>
                  </a:cubicBezTo>
                  <a:cubicBezTo>
                    <a:pt x="379631" y="40892"/>
                    <a:pt x="379587" y="43746"/>
                    <a:pt x="379587" y="47046"/>
                  </a:cubicBezTo>
                  <a:cubicBezTo>
                    <a:pt x="379587" y="50345"/>
                    <a:pt x="379631" y="53199"/>
                    <a:pt x="379720" y="55606"/>
                  </a:cubicBezTo>
                  <a:cubicBezTo>
                    <a:pt x="379810" y="58014"/>
                    <a:pt x="379967" y="60110"/>
                    <a:pt x="380190" y="61893"/>
                  </a:cubicBezTo>
                  <a:cubicBezTo>
                    <a:pt x="380413" y="63677"/>
                    <a:pt x="380636" y="65170"/>
                    <a:pt x="380859" y="66373"/>
                  </a:cubicBezTo>
                  <a:cubicBezTo>
                    <a:pt x="381034" y="67392"/>
                    <a:pt x="381281" y="68398"/>
                    <a:pt x="381593" y="69384"/>
                  </a:cubicBezTo>
                  <a:cubicBezTo>
                    <a:pt x="382758" y="73377"/>
                    <a:pt x="385172" y="76893"/>
                    <a:pt x="388480" y="79416"/>
                  </a:cubicBezTo>
                  <a:cubicBezTo>
                    <a:pt x="392125" y="81876"/>
                    <a:pt x="396464" y="83095"/>
                    <a:pt x="400855" y="82894"/>
                  </a:cubicBezTo>
                  <a:close/>
                  <a:moveTo>
                    <a:pt x="453557" y="2904"/>
                  </a:moveTo>
                  <a:cubicBezTo>
                    <a:pt x="453468" y="2253"/>
                    <a:pt x="453925" y="1655"/>
                    <a:pt x="454576" y="1567"/>
                  </a:cubicBezTo>
                  <a:cubicBezTo>
                    <a:pt x="454680" y="1552"/>
                    <a:pt x="454787" y="1552"/>
                    <a:pt x="454894" y="1567"/>
                  </a:cubicBezTo>
                  <a:lnTo>
                    <a:pt x="463455" y="1567"/>
                  </a:lnTo>
                  <a:cubicBezTo>
                    <a:pt x="464415" y="1502"/>
                    <a:pt x="465319" y="2033"/>
                    <a:pt x="465729" y="2904"/>
                  </a:cubicBezTo>
                  <a:lnTo>
                    <a:pt x="506928" y="71123"/>
                  </a:lnTo>
                  <a:lnTo>
                    <a:pt x="507463" y="71123"/>
                  </a:lnTo>
                  <a:lnTo>
                    <a:pt x="507463" y="2904"/>
                  </a:lnTo>
                  <a:cubicBezTo>
                    <a:pt x="507373" y="2253"/>
                    <a:pt x="507831" y="1655"/>
                    <a:pt x="508482" y="1567"/>
                  </a:cubicBezTo>
                  <a:cubicBezTo>
                    <a:pt x="508586" y="1552"/>
                    <a:pt x="508693" y="1552"/>
                    <a:pt x="508800" y="1567"/>
                  </a:cubicBezTo>
                  <a:lnTo>
                    <a:pt x="517227" y="1567"/>
                  </a:lnTo>
                  <a:cubicBezTo>
                    <a:pt x="517878" y="1479"/>
                    <a:pt x="518476" y="1935"/>
                    <a:pt x="518565" y="2586"/>
                  </a:cubicBezTo>
                  <a:cubicBezTo>
                    <a:pt x="518580" y="2691"/>
                    <a:pt x="518580" y="2798"/>
                    <a:pt x="518565" y="2904"/>
                  </a:cubicBezTo>
                  <a:lnTo>
                    <a:pt x="518565" y="91187"/>
                  </a:lnTo>
                  <a:cubicBezTo>
                    <a:pt x="518654" y="91837"/>
                    <a:pt x="518196" y="92436"/>
                    <a:pt x="517545" y="92524"/>
                  </a:cubicBezTo>
                  <a:cubicBezTo>
                    <a:pt x="517441" y="92539"/>
                    <a:pt x="517334" y="92539"/>
                    <a:pt x="517227" y="92524"/>
                  </a:cubicBezTo>
                  <a:lnTo>
                    <a:pt x="508667" y="92524"/>
                  </a:lnTo>
                  <a:cubicBezTo>
                    <a:pt x="507706" y="92589"/>
                    <a:pt x="506803" y="92058"/>
                    <a:pt x="506393" y="91187"/>
                  </a:cubicBezTo>
                  <a:lnTo>
                    <a:pt x="465060" y="23236"/>
                  </a:lnTo>
                  <a:lnTo>
                    <a:pt x="464659" y="23236"/>
                  </a:lnTo>
                  <a:lnTo>
                    <a:pt x="464659" y="91187"/>
                  </a:lnTo>
                  <a:cubicBezTo>
                    <a:pt x="464748" y="91837"/>
                    <a:pt x="464290" y="92436"/>
                    <a:pt x="463639" y="92524"/>
                  </a:cubicBezTo>
                  <a:cubicBezTo>
                    <a:pt x="463535" y="92539"/>
                    <a:pt x="463428" y="92539"/>
                    <a:pt x="463321" y="92524"/>
                  </a:cubicBezTo>
                  <a:lnTo>
                    <a:pt x="454894" y="92524"/>
                  </a:lnTo>
                  <a:cubicBezTo>
                    <a:pt x="454243" y="92612"/>
                    <a:pt x="453646" y="92156"/>
                    <a:pt x="453557" y="91505"/>
                  </a:cubicBezTo>
                  <a:cubicBezTo>
                    <a:pt x="453542" y="91400"/>
                    <a:pt x="453542" y="91293"/>
                    <a:pt x="453557" y="91187"/>
                  </a:cubicBezTo>
                  <a:close/>
                  <a:moveTo>
                    <a:pt x="539164" y="79683"/>
                  </a:moveTo>
                  <a:cubicBezTo>
                    <a:pt x="539075" y="79033"/>
                    <a:pt x="539533" y="78434"/>
                    <a:pt x="540184" y="78346"/>
                  </a:cubicBezTo>
                  <a:cubicBezTo>
                    <a:pt x="540288" y="78331"/>
                    <a:pt x="540395" y="78331"/>
                    <a:pt x="540502" y="78346"/>
                  </a:cubicBezTo>
                  <a:lnTo>
                    <a:pt x="550668" y="78346"/>
                  </a:lnTo>
                  <a:cubicBezTo>
                    <a:pt x="551319" y="78258"/>
                    <a:pt x="551916" y="78714"/>
                    <a:pt x="552005" y="79365"/>
                  </a:cubicBezTo>
                  <a:cubicBezTo>
                    <a:pt x="552020" y="79470"/>
                    <a:pt x="552020" y="79577"/>
                    <a:pt x="552005" y="79683"/>
                  </a:cubicBezTo>
                  <a:lnTo>
                    <a:pt x="552005" y="91187"/>
                  </a:lnTo>
                  <a:cubicBezTo>
                    <a:pt x="552094" y="91837"/>
                    <a:pt x="551637" y="92436"/>
                    <a:pt x="550986" y="92524"/>
                  </a:cubicBezTo>
                  <a:cubicBezTo>
                    <a:pt x="550882" y="92539"/>
                    <a:pt x="550775" y="92539"/>
                    <a:pt x="550668" y="92524"/>
                  </a:cubicBezTo>
                  <a:lnTo>
                    <a:pt x="540502" y="92524"/>
                  </a:lnTo>
                  <a:cubicBezTo>
                    <a:pt x="539851" y="92612"/>
                    <a:pt x="539253" y="92156"/>
                    <a:pt x="539164" y="91505"/>
                  </a:cubicBezTo>
                  <a:cubicBezTo>
                    <a:pt x="539149" y="91400"/>
                    <a:pt x="539149" y="91293"/>
                    <a:pt x="539164" y="91187"/>
                  </a:cubicBezTo>
                  <a:close/>
                  <a:moveTo>
                    <a:pt x="601883" y="2904"/>
                  </a:moveTo>
                  <a:cubicBezTo>
                    <a:pt x="601794" y="2253"/>
                    <a:pt x="602252" y="1655"/>
                    <a:pt x="602903" y="1567"/>
                  </a:cubicBezTo>
                  <a:cubicBezTo>
                    <a:pt x="603007" y="1552"/>
                    <a:pt x="603114" y="1552"/>
                    <a:pt x="603221" y="1567"/>
                  </a:cubicBezTo>
                  <a:lnTo>
                    <a:pt x="612465" y="1567"/>
                  </a:lnTo>
                  <a:cubicBezTo>
                    <a:pt x="613116" y="1479"/>
                    <a:pt x="613714" y="1935"/>
                    <a:pt x="613803" y="2586"/>
                  </a:cubicBezTo>
                  <a:cubicBezTo>
                    <a:pt x="613818" y="2691"/>
                    <a:pt x="613818" y="2798"/>
                    <a:pt x="613803" y="2904"/>
                  </a:cubicBezTo>
                  <a:lnTo>
                    <a:pt x="613803" y="80620"/>
                  </a:lnTo>
                  <a:cubicBezTo>
                    <a:pt x="613750" y="81008"/>
                    <a:pt x="614020" y="81368"/>
                    <a:pt x="614406" y="81422"/>
                  </a:cubicBezTo>
                  <a:cubicBezTo>
                    <a:pt x="614472" y="81431"/>
                    <a:pt x="614540" y="81431"/>
                    <a:pt x="614606" y="81422"/>
                  </a:cubicBezTo>
                  <a:lnTo>
                    <a:pt x="657944" y="81422"/>
                  </a:lnTo>
                  <a:cubicBezTo>
                    <a:pt x="658595" y="81334"/>
                    <a:pt x="659193" y="81791"/>
                    <a:pt x="659282" y="82441"/>
                  </a:cubicBezTo>
                  <a:cubicBezTo>
                    <a:pt x="659297" y="82547"/>
                    <a:pt x="659297" y="82654"/>
                    <a:pt x="659282" y="82760"/>
                  </a:cubicBezTo>
                  <a:lnTo>
                    <a:pt x="659282" y="91187"/>
                  </a:lnTo>
                  <a:cubicBezTo>
                    <a:pt x="659371" y="91837"/>
                    <a:pt x="658913" y="92436"/>
                    <a:pt x="658262" y="92524"/>
                  </a:cubicBezTo>
                  <a:cubicBezTo>
                    <a:pt x="658158" y="92539"/>
                    <a:pt x="658051" y="92539"/>
                    <a:pt x="657944" y="92524"/>
                  </a:cubicBezTo>
                  <a:lnTo>
                    <a:pt x="603251" y="92524"/>
                  </a:lnTo>
                  <a:cubicBezTo>
                    <a:pt x="602600" y="92612"/>
                    <a:pt x="602002" y="92156"/>
                    <a:pt x="601913" y="91505"/>
                  </a:cubicBezTo>
                  <a:cubicBezTo>
                    <a:pt x="601898" y="91400"/>
                    <a:pt x="601898" y="91293"/>
                    <a:pt x="601913" y="91187"/>
                  </a:cubicBezTo>
                  <a:close/>
                  <a:moveTo>
                    <a:pt x="703958" y="93996"/>
                  </a:moveTo>
                  <a:cubicBezTo>
                    <a:pt x="697080" y="94218"/>
                    <a:pt x="690294" y="92353"/>
                    <a:pt x="684495" y="88645"/>
                  </a:cubicBezTo>
                  <a:cubicBezTo>
                    <a:pt x="678981" y="84796"/>
                    <a:pt x="674947" y="79181"/>
                    <a:pt x="673056" y="72728"/>
                  </a:cubicBezTo>
                  <a:cubicBezTo>
                    <a:pt x="672605" y="71362"/>
                    <a:pt x="672224" y="69973"/>
                    <a:pt x="671921" y="68566"/>
                  </a:cubicBezTo>
                  <a:cubicBezTo>
                    <a:pt x="671576" y="66911"/>
                    <a:pt x="671329" y="65236"/>
                    <a:pt x="671187" y="63552"/>
                  </a:cubicBezTo>
                  <a:cubicBezTo>
                    <a:pt x="671008" y="61635"/>
                    <a:pt x="670875" y="59339"/>
                    <a:pt x="670785" y="56661"/>
                  </a:cubicBezTo>
                  <a:cubicBezTo>
                    <a:pt x="670696" y="53984"/>
                    <a:pt x="670652" y="50774"/>
                    <a:pt x="670652" y="47031"/>
                  </a:cubicBezTo>
                  <a:cubicBezTo>
                    <a:pt x="670652" y="43285"/>
                    <a:pt x="670696" y="40075"/>
                    <a:pt x="670785" y="37400"/>
                  </a:cubicBezTo>
                  <a:cubicBezTo>
                    <a:pt x="670875" y="34725"/>
                    <a:pt x="671008" y="32429"/>
                    <a:pt x="671187" y="30513"/>
                  </a:cubicBezTo>
                  <a:cubicBezTo>
                    <a:pt x="671329" y="28832"/>
                    <a:pt x="671573" y="27161"/>
                    <a:pt x="671915" y="25510"/>
                  </a:cubicBezTo>
                  <a:cubicBezTo>
                    <a:pt x="672218" y="24104"/>
                    <a:pt x="672599" y="22714"/>
                    <a:pt x="673051" y="21348"/>
                  </a:cubicBezTo>
                  <a:cubicBezTo>
                    <a:pt x="674941" y="14894"/>
                    <a:pt x="678978" y="9279"/>
                    <a:pt x="684495" y="5431"/>
                  </a:cubicBezTo>
                  <a:cubicBezTo>
                    <a:pt x="696536" y="-1703"/>
                    <a:pt x="711511" y="-1703"/>
                    <a:pt x="723553" y="5431"/>
                  </a:cubicBezTo>
                  <a:cubicBezTo>
                    <a:pt x="729067" y="9280"/>
                    <a:pt x="733100" y="14895"/>
                    <a:pt x="734991" y="21348"/>
                  </a:cubicBezTo>
                  <a:cubicBezTo>
                    <a:pt x="735443" y="22714"/>
                    <a:pt x="735823" y="24104"/>
                    <a:pt x="736126" y="25510"/>
                  </a:cubicBezTo>
                  <a:cubicBezTo>
                    <a:pt x="736474" y="27166"/>
                    <a:pt x="736718" y="28841"/>
                    <a:pt x="736864" y="30527"/>
                  </a:cubicBezTo>
                  <a:cubicBezTo>
                    <a:pt x="737042" y="32446"/>
                    <a:pt x="737176" y="34742"/>
                    <a:pt x="737265" y="37415"/>
                  </a:cubicBezTo>
                  <a:cubicBezTo>
                    <a:pt x="737354" y="40088"/>
                    <a:pt x="737399" y="43298"/>
                    <a:pt x="737399" y="47046"/>
                  </a:cubicBezTo>
                  <a:cubicBezTo>
                    <a:pt x="737399" y="50791"/>
                    <a:pt x="737354" y="54001"/>
                    <a:pt x="737265" y="56676"/>
                  </a:cubicBezTo>
                  <a:cubicBezTo>
                    <a:pt x="737176" y="59352"/>
                    <a:pt x="737042" y="61648"/>
                    <a:pt x="736864" y="63567"/>
                  </a:cubicBezTo>
                  <a:cubicBezTo>
                    <a:pt x="736718" y="65253"/>
                    <a:pt x="736474" y="66928"/>
                    <a:pt x="736126" y="68584"/>
                  </a:cubicBezTo>
                  <a:cubicBezTo>
                    <a:pt x="735823" y="69990"/>
                    <a:pt x="735443" y="71380"/>
                    <a:pt x="734991" y="72746"/>
                  </a:cubicBezTo>
                  <a:cubicBezTo>
                    <a:pt x="733100" y="79199"/>
                    <a:pt x="729067" y="84814"/>
                    <a:pt x="723553" y="88663"/>
                  </a:cubicBezTo>
                  <a:cubicBezTo>
                    <a:pt x="717709" y="92376"/>
                    <a:pt x="710878" y="94235"/>
                    <a:pt x="703958" y="93996"/>
                  </a:cubicBezTo>
                  <a:close/>
                  <a:moveTo>
                    <a:pt x="703958" y="82894"/>
                  </a:moveTo>
                  <a:cubicBezTo>
                    <a:pt x="708369" y="83088"/>
                    <a:pt x="712727" y="81870"/>
                    <a:pt x="716398" y="79416"/>
                  </a:cubicBezTo>
                  <a:cubicBezTo>
                    <a:pt x="719739" y="76911"/>
                    <a:pt x="722180" y="73391"/>
                    <a:pt x="723354" y="69384"/>
                  </a:cubicBezTo>
                  <a:cubicBezTo>
                    <a:pt x="723666" y="68398"/>
                    <a:pt x="723913" y="67392"/>
                    <a:pt x="724091" y="66373"/>
                  </a:cubicBezTo>
                  <a:cubicBezTo>
                    <a:pt x="724314" y="65168"/>
                    <a:pt x="724537" y="63674"/>
                    <a:pt x="724760" y="61893"/>
                  </a:cubicBezTo>
                  <a:cubicBezTo>
                    <a:pt x="724983" y="60112"/>
                    <a:pt x="725140" y="58016"/>
                    <a:pt x="725229" y="55606"/>
                  </a:cubicBezTo>
                  <a:cubicBezTo>
                    <a:pt x="725319" y="53199"/>
                    <a:pt x="725363" y="50345"/>
                    <a:pt x="725363" y="47046"/>
                  </a:cubicBezTo>
                  <a:cubicBezTo>
                    <a:pt x="725363" y="43746"/>
                    <a:pt x="725319" y="40892"/>
                    <a:pt x="725229" y="38485"/>
                  </a:cubicBezTo>
                  <a:cubicBezTo>
                    <a:pt x="725140" y="36077"/>
                    <a:pt x="724983" y="33981"/>
                    <a:pt x="724760" y="32198"/>
                  </a:cubicBezTo>
                  <a:cubicBezTo>
                    <a:pt x="724537" y="30415"/>
                    <a:pt x="724314" y="28921"/>
                    <a:pt x="724091" y="27718"/>
                  </a:cubicBezTo>
                  <a:cubicBezTo>
                    <a:pt x="723913" y="26699"/>
                    <a:pt x="723666" y="25693"/>
                    <a:pt x="723354" y="24707"/>
                  </a:cubicBezTo>
                  <a:cubicBezTo>
                    <a:pt x="722180" y="20699"/>
                    <a:pt x="719739" y="17180"/>
                    <a:pt x="716398" y="14675"/>
                  </a:cubicBezTo>
                  <a:cubicBezTo>
                    <a:pt x="712727" y="12221"/>
                    <a:pt x="708369" y="11003"/>
                    <a:pt x="703958" y="11197"/>
                  </a:cubicBezTo>
                  <a:cubicBezTo>
                    <a:pt x="699568" y="10996"/>
                    <a:pt x="695228" y="12215"/>
                    <a:pt x="691584" y="14675"/>
                  </a:cubicBezTo>
                  <a:cubicBezTo>
                    <a:pt x="688276" y="17198"/>
                    <a:pt x="685862" y="20714"/>
                    <a:pt x="684697" y="24707"/>
                  </a:cubicBezTo>
                  <a:cubicBezTo>
                    <a:pt x="684385" y="25693"/>
                    <a:pt x="684138" y="26699"/>
                    <a:pt x="683962" y="27718"/>
                  </a:cubicBezTo>
                  <a:cubicBezTo>
                    <a:pt x="683740" y="28921"/>
                    <a:pt x="683517" y="30415"/>
                    <a:pt x="683294" y="32198"/>
                  </a:cubicBezTo>
                  <a:cubicBezTo>
                    <a:pt x="683071" y="33981"/>
                    <a:pt x="682913" y="36077"/>
                    <a:pt x="682824" y="38485"/>
                  </a:cubicBezTo>
                  <a:cubicBezTo>
                    <a:pt x="682735" y="40892"/>
                    <a:pt x="682690" y="43746"/>
                    <a:pt x="682690" y="47046"/>
                  </a:cubicBezTo>
                  <a:cubicBezTo>
                    <a:pt x="682690" y="50345"/>
                    <a:pt x="682735" y="53199"/>
                    <a:pt x="682824" y="55606"/>
                  </a:cubicBezTo>
                  <a:cubicBezTo>
                    <a:pt x="682913" y="58014"/>
                    <a:pt x="683071" y="60110"/>
                    <a:pt x="683294" y="61893"/>
                  </a:cubicBezTo>
                  <a:cubicBezTo>
                    <a:pt x="683517" y="63677"/>
                    <a:pt x="683740" y="65170"/>
                    <a:pt x="683962" y="66373"/>
                  </a:cubicBezTo>
                  <a:cubicBezTo>
                    <a:pt x="684138" y="67392"/>
                    <a:pt x="684385" y="68398"/>
                    <a:pt x="684697" y="69384"/>
                  </a:cubicBezTo>
                  <a:cubicBezTo>
                    <a:pt x="685862" y="73377"/>
                    <a:pt x="688276" y="76893"/>
                    <a:pt x="691584" y="79416"/>
                  </a:cubicBezTo>
                  <a:cubicBezTo>
                    <a:pt x="695228" y="81876"/>
                    <a:pt x="699568" y="83095"/>
                    <a:pt x="703958" y="82894"/>
                  </a:cubicBezTo>
                  <a:close/>
                  <a:moveTo>
                    <a:pt x="755858" y="72728"/>
                  </a:moveTo>
                  <a:cubicBezTo>
                    <a:pt x="755406" y="71367"/>
                    <a:pt x="755049" y="69976"/>
                    <a:pt x="754788" y="68566"/>
                  </a:cubicBezTo>
                  <a:cubicBezTo>
                    <a:pt x="754520" y="67139"/>
                    <a:pt x="754276" y="65468"/>
                    <a:pt x="754053" y="63552"/>
                  </a:cubicBezTo>
                  <a:cubicBezTo>
                    <a:pt x="753831" y="61635"/>
                    <a:pt x="753676" y="59339"/>
                    <a:pt x="753584" y="56661"/>
                  </a:cubicBezTo>
                  <a:cubicBezTo>
                    <a:pt x="753495" y="53986"/>
                    <a:pt x="753450" y="50776"/>
                    <a:pt x="753450" y="47031"/>
                  </a:cubicBezTo>
                  <a:cubicBezTo>
                    <a:pt x="753450" y="43285"/>
                    <a:pt x="753495" y="40075"/>
                    <a:pt x="753584" y="37400"/>
                  </a:cubicBezTo>
                  <a:cubicBezTo>
                    <a:pt x="753673" y="34725"/>
                    <a:pt x="753831" y="32429"/>
                    <a:pt x="754053" y="30513"/>
                  </a:cubicBezTo>
                  <a:cubicBezTo>
                    <a:pt x="754276" y="28596"/>
                    <a:pt x="754523" y="26925"/>
                    <a:pt x="754788" y="25498"/>
                  </a:cubicBezTo>
                  <a:cubicBezTo>
                    <a:pt x="755049" y="24088"/>
                    <a:pt x="755406" y="22698"/>
                    <a:pt x="755858" y="21337"/>
                  </a:cubicBezTo>
                  <a:cubicBezTo>
                    <a:pt x="757757" y="14874"/>
                    <a:pt x="761818" y="9259"/>
                    <a:pt x="767361" y="5431"/>
                  </a:cubicBezTo>
                  <a:cubicBezTo>
                    <a:pt x="773232" y="1717"/>
                    <a:pt x="780081" y="-147"/>
                    <a:pt x="787024" y="80"/>
                  </a:cubicBezTo>
                  <a:cubicBezTo>
                    <a:pt x="790683" y="33"/>
                    <a:pt x="794331" y="505"/>
                    <a:pt x="797859" y="1483"/>
                  </a:cubicBezTo>
                  <a:cubicBezTo>
                    <a:pt x="800891" y="2339"/>
                    <a:pt x="803777" y="3646"/>
                    <a:pt x="806420" y="5362"/>
                  </a:cubicBezTo>
                  <a:cubicBezTo>
                    <a:pt x="808839" y="6943"/>
                    <a:pt x="811003" y="8882"/>
                    <a:pt x="812840" y="11114"/>
                  </a:cubicBezTo>
                  <a:cubicBezTo>
                    <a:pt x="814600" y="13260"/>
                    <a:pt x="816083" y="15619"/>
                    <a:pt x="817254" y="18135"/>
                  </a:cubicBezTo>
                  <a:cubicBezTo>
                    <a:pt x="817682" y="18669"/>
                    <a:pt x="817593" y="19447"/>
                    <a:pt x="817061" y="19873"/>
                  </a:cubicBezTo>
                  <a:cubicBezTo>
                    <a:pt x="816996" y="19925"/>
                    <a:pt x="816927" y="19970"/>
                    <a:pt x="816853" y="20008"/>
                  </a:cubicBezTo>
                  <a:lnTo>
                    <a:pt x="808827" y="23872"/>
                  </a:lnTo>
                  <a:cubicBezTo>
                    <a:pt x="808034" y="24318"/>
                    <a:pt x="807409" y="24095"/>
                    <a:pt x="806955" y="23203"/>
                  </a:cubicBezTo>
                  <a:cubicBezTo>
                    <a:pt x="805109" y="19530"/>
                    <a:pt x="802344" y="16396"/>
                    <a:pt x="798929" y="14107"/>
                  </a:cubicBezTo>
                  <a:cubicBezTo>
                    <a:pt x="795323" y="12022"/>
                    <a:pt x="791201" y="11001"/>
                    <a:pt x="787039" y="11165"/>
                  </a:cubicBezTo>
                  <a:cubicBezTo>
                    <a:pt x="782566" y="10966"/>
                    <a:pt x="778139" y="12183"/>
                    <a:pt x="774397" y="14643"/>
                  </a:cubicBezTo>
                  <a:cubicBezTo>
                    <a:pt x="771020" y="17129"/>
                    <a:pt x="768553" y="20653"/>
                    <a:pt x="767373" y="24675"/>
                  </a:cubicBezTo>
                  <a:cubicBezTo>
                    <a:pt x="767106" y="25477"/>
                    <a:pt x="766838" y="26458"/>
                    <a:pt x="766571" y="27617"/>
                  </a:cubicBezTo>
                  <a:cubicBezTo>
                    <a:pt x="766270" y="29028"/>
                    <a:pt x="766071" y="30458"/>
                    <a:pt x="765976" y="31898"/>
                  </a:cubicBezTo>
                  <a:cubicBezTo>
                    <a:pt x="765842" y="33592"/>
                    <a:pt x="765732" y="35665"/>
                    <a:pt x="765643" y="38116"/>
                  </a:cubicBezTo>
                  <a:cubicBezTo>
                    <a:pt x="765554" y="40568"/>
                    <a:pt x="765503" y="43544"/>
                    <a:pt x="765489" y="47046"/>
                  </a:cubicBezTo>
                  <a:cubicBezTo>
                    <a:pt x="765489" y="50523"/>
                    <a:pt x="765533" y="53489"/>
                    <a:pt x="765622" y="55942"/>
                  </a:cubicBezTo>
                  <a:cubicBezTo>
                    <a:pt x="765712" y="58395"/>
                    <a:pt x="765822" y="60468"/>
                    <a:pt x="765955" y="62161"/>
                  </a:cubicBezTo>
                  <a:cubicBezTo>
                    <a:pt x="766050" y="63600"/>
                    <a:pt x="766250" y="65030"/>
                    <a:pt x="766550" y="66441"/>
                  </a:cubicBezTo>
                  <a:cubicBezTo>
                    <a:pt x="766817" y="67600"/>
                    <a:pt x="767085" y="68581"/>
                    <a:pt x="767352" y="69384"/>
                  </a:cubicBezTo>
                  <a:cubicBezTo>
                    <a:pt x="768532" y="73406"/>
                    <a:pt x="771003" y="76930"/>
                    <a:pt x="774376" y="79416"/>
                  </a:cubicBezTo>
                  <a:cubicBezTo>
                    <a:pt x="778119" y="81876"/>
                    <a:pt x="782545" y="83093"/>
                    <a:pt x="787018" y="82894"/>
                  </a:cubicBezTo>
                  <a:cubicBezTo>
                    <a:pt x="791319" y="82991"/>
                    <a:pt x="795555" y="81829"/>
                    <a:pt x="799205" y="79550"/>
                  </a:cubicBezTo>
                  <a:cubicBezTo>
                    <a:pt x="802728" y="77261"/>
                    <a:pt x="805335" y="73803"/>
                    <a:pt x="806562" y="69785"/>
                  </a:cubicBezTo>
                  <a:cubicBezTo>
                    <a:pt x="807082" y="67895"/>
                    <a:pt x="807481" y="65974"/>
                    <a:pt x="807751" y="64033"/>
                  </a:cubicBezTo>
                  <a:cubicBezTo>
                    <a:pt x="808141" y="61197"/>
                    <a:pt x="808322" y="58335"/>
                    <a:pt x="808286" y="55472"/>
                  </a:cubicBezTo>
                  <a:cubicBezTo>
                    <a:pt x="808340" y="55084"/>
                    <a:pt x="808069" y="54725"/>
                    <a:pt x="807683" y="54670"/>
                  </a:cubicBezTo>
                  <a:cubicBezTo>
                    <a:pt x="807618" y="54661"/>
                    <a:pt x="807549" y="54661"/>
                    <a:pt x="807484" y="54670"/>
                  </a:cubicBezTo>
                  <a:lnTo>
                    <a:pt x="789827" y="54670"/>
                  </a:lnTo>
                  <a:cubicBezTo>
                    <a:pt x="789176" y="54758"/>
                    <a:pt x="788579" y="54302"/>
                    <a:pt x="788490" y="53651"/>
                  </a:cubicBezTo>
                  <a:cubicBezTo>
                    <a:pt x="788475" y="53545"/>
                    <a:pt x="788475" y="53438"/>
                    <a:pt x="788490" y="53332"/>
                  </a:cubicBezTo>
                  <a:lnTo>
                    <a:pt x="788490" y="45559"/>
                  </a:lnTo>
                  <a:cubicBezTo>
                    <a:pt x="788400" y="44909"/>
                    <a:pt x="788858" y="44310"/>
                    <a:pt x="789509" y="44222"/>
                  </a:cubicBezTo>
                  <a:cubicBezTo>
                    <a:pt x="789613" y="44207"/>
                    <a:pt x="789720" y="44207"/>
                    <a:pt x="789827" y="44222"/>
                  </a:cubicBezTo>
                  <a:lnTo>
                    <a:pt x="818854" y="44222"/>
                  </a:lnTo>
                  <a:cubicBezTo>
                    <a:pt x="819504" y="44134"/>
                    <a:pt x="820102" y="44590"/>
                    <a:pt x="820191" y="45241"/>
                  </a:cubicBezTo>
                  <a:cubicBezTo>
                    <a:pt x="820206" y="45346"/>
                    <a:pt x="820206" y="45453"/>
                    <a:pt x="820191" y="45559"/>
                  </a:cubicBezTo>
                  <a:lnTo>
                    <a:pt x="820191" y="52396"/>
                  </a:lnTo>
                  <a:cubicBezTo>
                    <a:pt x="820209" y="56216"/>
                    <a:pt x="820010" y="60034"/>
                    <a:pt x="819597" y="63831"/>
                  </a:cubicBezTo>
                  <a:cubicBezTo>
                    <a:pt x="819314" y="66751"/>
                    <a:pt x="818755" y="69638"/>
                    <a:pt x="817926" y="72451"/>
                  </a:cubicBezTo>
                  <a:cubicBezTo>
                    <a:pt x="816042" y="78925"/>
                    <a:pt x="812008" y="84563"/>
                    <a:pt x="806488" y="88434"/>
                  </a:cubicBezTo>
                  <a:cubicBezTo>
                    <a:pt x="800727" y="92243"/>
                    <a:pt x="793932" y="94182"/>
                    <a:pt x="787027" y="93987"/>
                  </a:cubicBezTo>
                  <a:cubicBezTo>
                    <a:pt x="780084" y="94214"/>
                    <a:pt x="773235" y="92350"/>
                    <a:pt x="767364" y="88636"/>
                  </a:cubicBezTo>
                  <a:cubicBezTo>
                    <a:pt x="761821" y="84808"/>
                    <a:pt x="757757" y="79192"/>
                    <a:pt x="755858" y="72728"/>
                  </a:cubicBezTo>
                  <a:close/>
                  <a:moveTo>
                    <a:pt x="839459" y="2904"/>
                  </a:moveTo>
                  <a:cubicBezTo>
                    <a:pt x="839370" y="2253"/>
                    <a:pt x="839827" y="1655"/>
                    <a:pt x="840478" y="1567"/>
                  </a:cubicBezTo>
                  <a:cubicBezTo>
                    <a:pt x="840582" y="1552"/>
                    <a:pt x="840689" y="1552"/>
                    <a:pt x="840796" y="1567"/>
                  </a:cubicBezTo>
                  <a:lnTo>
                    <a:pt x="850011" y="1567"/>
                  </a:lnTo>
                  <a:cubicBezTo>
                    <a:pt x="850662" y="1479"/>
                    <a:pt x="851259" y="1935"/>
                    <a:pt x="851349" y="2586"/>
                  </a:cubicBezTo>
                  <a:cubicBezTo>
                    <a:pt x="851363" y="2691"/>
                    <a:pt x="851363" y="2798"/>
                    <a:pt x="851349" y="2904"/>
                  </a:cubicBezTo>
                  <a:lnTo>
                    <a:pt x="851349" y="91187"/>
                  </a:lnTo>
                  <a:cubicBezTo>
                    <a:pt x="851438" y="91837"/>
                    <a:pt x="850980" y="92436"/>
                    <a:pt x="850329" y="92524"/>
                  </a:cubicBezTo>
                  <a:cubicBezTo>
                    <a:pt x="850225" y="92539"/>
                    <a:pt x="850118" y="92539"/>
                    <a:pt x="850011" y="92524"/>
                  </a:cubicBezTo>
                  <a:lnTo>
                    <a:pt x="840796" y="92524"/>
                  </a:lnTo>
                  <a:cubicBezTo>
                    <a:pt x="840145" y="92612"/>
                    <a:pt x="839548" y="92156"/>
                    <a:pt x="839459" y="91505"/>
                  </a:cubicBezTo>
                  <a:cubicBezTo>
                    <a:pt x="839444" y="91400"/>
                    <a:pt x="839444" y="91293"/>
                    <a:pt x="839459" y="91187"/>
                  </a:cubicBezTo>
                  <a:close/>
                  <a:moveTo>
                    <a:pt x="901390" y="93996"/>
                  </a:moveTo>
                  <a:cubicBezTo>
                    <a:pt x="898201" y="93998"/>
                    <a:pt x="895020" y="93684"/>
                    <a:pt x="891893" y="93059"/>
                  </a:cubicBezTo>
                  <a:cubicBezTo>
                    <a:pt x="888891" y="92468"/>
                    <a:pt x="885939" y="91640"/>
                    <a:pt x="883065" y="90583"/>
                  </a:cubicBezTo>
                  <a:cubicBezTo>
                    <a:pt x="880419" y="89614"/>
                    <a:pt x="877866" y="88405"/>
                    <a:pt x="875441" y="86972"/>
                  </a:cubicBezTo>
                  <a:cubicBezTo>
                    <a:pt x="873300" y="85719"/>
                    <a:pt x="871285" y="84264"/>
                    <a:pt x="869421" y="82626"/>
                  </a:cubicBezTo>
                  <a:cubicBezTo>
                    <a:pt x="868833" y="82145"/>
                    <a:pt x="868747" y="81278"/>
                    <a:pt x="869225" y="80689"/>
                  </a:cubicBezTo>
                  <a:cubicBezTo>
                    <a:pt x="869246" y="80665"/>
                    <a:pt x="869267" y="80642"/>
                    <a:pt x="869288" y="80620"/>
                  </a:cubicBezTo>
                  <a:lnTo>
                    <a:pt x="875173" y="73664"/>
                  </a:lnTo>
                  <a:cubicBezTo>
                    <a:pt x="875568" y="73116"/>
                    <a:pt x="876335" y="72993"/>
                    <a:pt x="876882" y="73389"/>
                  </a:cubicBezTo>
                  <a:cubicBezTo>
                    <a:pt x="876942" y="73431"/>
                    <a:pt x="876995" y="73479"/>
                    <a:pt x="877046" y="73530"/>
                  </a:cubicBezTo>
                  <a:cubicBezTo>
                    <a:pt x="880428" y="76108"/>
                    <a:pt x="884111" y="78264"/>
                    <a:pt x="888014" y="79951"/>
                  </a:cubicBezTo>
                  <a:cubicBezTo>
                    <a:pt x="892565" y="81950"/>
                    <a:pt x="897490" y="82953"/>
                    <a:pt x="902460" y="82894"/>
                  </a:cubicBezTo>
                  <a:cubicBezTo>
                    <a:pt x="907734" y="83216"/>
                    <a:pt x="912956" y="81703"/>
                    <a:pt x="917242" y="78613"/>
                  </a:cubicBezTo>
                  <a:cubicBezTo>
                    <a:pt x="920688" y="75920"/>
                    <a:pt x="922649" y="71749"/>
                    <a:pt x="922525" y="67377"/>
                  </a:cubicBezTo>
                  <a:cubicBezTo>
                    <a:pt x="922548" y="65551"/>
                    <a:pt x="922230" y="63736"/>
                    <a:pt x="921588" y="62027"/>
                  </a:cubicBezTo>
                  <a:cubicBezTo>
                    <a:pt x="920919" y="60358"/>
                    <a:pt x="919838" y="58886"/>
                    <a:pt x="918446" y="57746"/>
                  </a:cubicBezTo>
                  <a:cubicBezTo>
                    <a:pt x="916707" y="56348"/>
                    <a:pt x="914737" y="55261"/>
                    <a:pt x="912626" y="54536"/>
                  </a:cubicBezTo>
                  <a:cubicBezTo>
                    <a:pt x="909681" y="53523"/>
                    <a:pt x="906628" y="52850"/>
                    <a:pt x="903531" y="52530"/>
                  </a:cubicBezTo>
                  <a:lnTo>
                    <a:pt x="898983" y="51861"/>
                  </a:lnTo>
                  <a:cubicBezTo>
                    <a:pt x="881148" y="49453"/>
                    <a:pt x="872230" y="41071"/>
                    <a:pt x="872230" y="26714"/>
                  </a:cubicBezTo>
                  <a:cubicBezTo>
                    <a:pt x="872183" y="22955"/>
                    <a:pt x="872890" y="19226"/>
                    <a:pt x="874311" y="15745"/>
                  </a:cubicBezTo>
                  <a:cubicBezTo>
                    <a:pt x="875634" y="12526"/>
                    <a:pt x="877667" y="9645"/>
                    <a:pt x="880256" y="7318"/>
                  </a:cubicBezTo>
                  <a:cubicBezTo>
                    <a:pt x="882982" y="4919"/>
                    <a:pt x="886168" y="3099"/>
                    <a:pt x="889619" y="1968"/>
                  </a:cubicBezTo>
                  <a:cubicBezTo>
                    <a:pt x="893590" y="670"/>
                    <a:pt x="897749" y="38"/>
                    <a:pt x="901925" y="95"/>
                  </a:cubicBezTo>
                  <a:cubicBezTo>
                    <a:pt x="907121" y="71"/>
                    <a:pt x="912287" y="861"/>
                    <a:pt x="917240" y="2435"/>
                  </a:cubicBezTo>
                  <a:cubicBezTo>
                    <a:pt x="921672" y="3779"/>
                    <a:pt x="925857" y="5835"/>
                    <a:pt x="929629" y="8522"/>
                  </a:cubicBezTo>
                  <a:cubicBezTo>
                    <a:pt x="930203" y="8842"/>
                    <a:pt x="930408" y="9566"/>
                    <a:pt x="930087" y="10140"/>
                  </a:cubicBezTo>
                  <a:cubicBezTo>
                    <a:pt x="930036" y="10233"/>
                    <a:pt x="929971" y="10319"/>
                    <a:pt x="929896" y="10395"/>
                  </a:cubicBezTo>
                  <a:lnTo>
                    <a:pt x="925348" y="17752"/>
                  </a:lnTo>
                  <a:cubicBezTo>
                    <a:pt x="924932" y="18339"/>
                    <a:pt x="924121" y="18478"/>
                    <a:pt x="923532" y="18063"/>
                  </a:cubicBezTo>
                  <a:cubicBezTo>
                    <a:pt x="923514" y="18049"/>
                    <a:pt x="923494" y="18034"/>
                    <a:pt x="923476" y="18019"/>
                  </a:cubicBezTo>
                  <a:cubicBezTo>
                    <a:pt x="920081" y="15865"/>
                    <a:pt x="916440" y="14133"/>
                    <a:pt x="912626" y="12862"/>
                  </a:cubicBezTo>
                  <a:cubicBezTo>
                    <a:pt x="909036" y="11731"/>
                    <a:pt x="905290" y="11167"/>
                    <a:pt x="901524" y="11191"/>
                  </a:cubicBezTo>
                  <a:cubicBezTo>
                    <a:pt x="896881" y="10866"/>
                    <a:pt x="892289" y="12324"/>
                    <a:pt x="888683" y="15270"/>
                  </a:cubicBezTo>
                  <a:cubicBezTo>
                    <a:pt x="885734" y="18002"/>
                    <a:pt x="884123" y="21885"/>
                    <a:pt x="884269" y="25902"/>
                  </a:cubicBezTo>
                  <a:cubicBezTo>
                    <a:pt x="884177" y="29535"/>
                    <a:pt x="885755" y="33009"/>
                    <a:pt x="888549" y="35331"/>
                  </a:cubicBezTo>
                  <a:cubicBezTo>
                    <a:pt x="892943" y="38358"/>
                    <a:pt x="898073" y="40139"/>
                    <a:pt x="903397" y="40482"/>
                  </a:cubicBezTo>
                  <a:lnTo>
                    <a:pt x="907811" y="41151"/>
                  </a:lnTo>
                  <a:cubicBezTo>
                    <a:pt x="915156" y="41744"/>
                    <a:pt x="922147" y="44541"/>
                    <a:pt x="927875" y="49177"/>
                  </a:cubicBezTo>
                  <a:cubicBezTo>
                    <a:pt x="932518" y="53730"/>
                    <a:pt x="934959" y="60074"/>
                    <a:pt x="934563" y="66566"/>
                  </a:cubicBezTo>
                  <a:cubicBezTo>
                    <a:pt x="934605" y="70345"/>
                    <a:pt x="933897" y="74095"/>
                    <a:pt x="932482" y="77600"/>
                  </a:cubicBezTo>
                  <a:cubicBezTo>
                    <a:pt x="931106" y="80934"/>
                    <a:pt x="928948" y="83890"/>
                    <a:pt x="926196" y="86220"/>
                  </a:cubicBezTo>
                  <a:cubicBezTo>
                    <a:pt x="923119" y="88775"/>
                    <a:pt x="919576" y="90706"/>
                    <a:pt x="915762" y="91906"/>
                  </a:cubicBezTo>
                  <a:cubicBezTo>
                    <a:pt x="911113" y="93368"/>
                    <a:pt x="906262" y="94074"/>
                    <a:pt x="901390" y="93996"/>
                  </a:cubicBezTo>
                  <a:close/>
                  <a:moveTo>
                    <a:pt x="971348" y="92524"/>
                  </a:moveTo>
                  <a:cubicBezTo>
                    <a:pt x="970697" y="92612"/>
                    <a:pt x="970099" y="92156"/>
                    <a:pt x="970010" y="91505"/>
                  </a:cubicBezTo>
                  <a:cubicBezTo>
                    <a:pt x="969995" y="91400"/>
                    <a:pt x="969995" y="91293"/>
                    <a:pt x="970010" y="91187"/>
                  </a:cubicBezTo>
                  <a:lnTo>
                    <a:pt x="970010" y="13457"/>
                  </a:lnTo>
                  <a:cubicBezTo>
                    <a:pt x="970063" y="13068"/>
                    <a:pt x="969793" y="12709"/>
                    <a:pt x="969407" y="12654"/>
                  </a:cubicBezTo>
                  <a:cubicBezTo>
                    <a:pt x="969341" y="12645"/>
                    <a:pt x="969273" y="12645"/>
                    <a:pt x="969207" y="12654"/>
                  </a:cubicBezTo>
                  <a:lnTo>
                    <a:pt x="944328" y="12654"/>
                  </a:lnTo>
                  <a:cubicBezTo>
                    <a:pt x="943677" y="12742"/>
                    <a:pt x="943079" y="12286"/>
                    <a:pt x="942990" y="11635"/>
                  </a:cubicBezTo>
                  <a:cubicBezTo>
                    <a:pt x="942975" y="11529"/>
                    <a:pt x="942975" y="11422"/>
                    <a:pt x="942990" y="11316"/>
                  </a:cubicBezTo>
                  <a:lnTo>
                    <a:pt x="942990" y="2904"/>
                  </a:lnTo>
                  <a:cubicBezTo>
                    <a:pt x="942901" y="2253"/>
                    <a:pt x="943359" y="1655"/>
                    <a:pt x="944010" y="1567"/>
                  </a:cubicBezTo>
                  <a:cubicBezTo>
                    <a:pt x="944114" y="1552"/>
                    <a:pt x="944221" y="1552"/>
                    <a:pt x="944328" y="1567"/>
                  </a:cubicBezTo>
                  <a:lnTo>
                    <a:pt x="1007597" y="1567"/>
                  </a:lnTo>
                  <a:cubicBezTo>
                    <a:pt x="1008248" y="1479"/>
                    <a:pt x="1008845" y="1935"/>
                    <a:pt x="1008935" y="2586"/>
                  </a:cubicBezTo>
                  <a:cubicBezTo>
                    <a:pt x="1008949" y="2691"/>
                    <a:pt x="1008949" y="2798"/>
                    <a:pt x="1008935" y="2904"/>
                  </a:cubicBezTo>
                  <a:lnTo>
                    <a:pt x="1008935" y="11331"/>
                  </a:lnTo>
                  <a:cubicBezTo>
                    <a:pt x="1009024" y="11982"/>
                    <a:pt x="1008566" y="12581"/>
                    <a:pt x="1007915" y="12669"/>
                  </a:cubicBezTo>
                  <a:cubicBezTo>
                    <a:pt x="1007811" y="12683"/>
                    <a:pt x="1007704" y="12683"/>
                    <a:pt x="1007597" y="12669"/>
                  </a:cubicBezTo>
                  <a:lnTo>
                    <a:pt x="982717" y="12669"/>
                  </a:lnTo>
                  <a:cubicBezTo>
                    <a:pt x="982328" y="12614"/>
                    <a:pt x="981968" y="12885"/>
                    <a:pt x="981915" y="13273"/>
                  </a:cubicBezTo>
                  <a:cubicBezTo>
                    <a:pt x="981906" y="13339"/>
                    <a:pt x="981906" y="13406"/>
                    <a:pt x="981915" y="13471"/>
                  </a:cubicBezTo>
                  <a:lnTo>
                    <a:pt x="981915" y="91187"/>
                  </a:lnTo>
                  <a:cubicBezTo>
                    <a:pt x="982004" y="91837"/>
                    <a:pt x="981546" y="92436"/>
                    <a:pt x="980895" y="92524"/>
                  </a:cubicBezTo>
                  <a:cubicBezTo>
                    <a:pt x="980791" y="92539"/>
                    <a:pt x="980684" y="92539"/>
                    <a:pt x="980577" y="92524"/>
                  </a:cubicBezTo>
                  <a:close/>
                  <a:moveTo>
                    <a:pt x="1023113" y="2904"/>
                  </a:moveTo>
                  <a:cubicBezTo>
                    <a:pt x="1023024" y="2253"/>
                    <a:pt x="1023482" y="1655"/>
                    <a:pt x="1024133" y="1567"/>
                  </a:cubicBezTo>
                  <a:cubicBezTo>
                    <a:pt x="1024237" y="1552"/>
                    <a:pt x="1024344" y="1552"/>
                    <a:pt x="1024451" y="1567"/>
                  </a:cubicBezTo>
                  <a:lnTo>
                    <a:pt x="1033666" y="1567"/>
                  </a:lnTo>
                  <a:cubicBezTo>
                    <a:pt x="1034317" y="1479"/>
                    <a:pt x="1034914" y="1935"/>
                    <a:pt x="1035003" y="2586"/>
                  </a:cubicBezTo>
                  <a:cubicBezTo>
                    <a:pt x="1035018" y="2691"/>
                    <a:pt x="1035018" y="2798"/>
                    <a:pt x="1035003" y="2904"/>
                  </a:cubicBezTo>
                  <a:lnTo>
                    <a:pt x="1035003" y="91187"/>
                  </a:lnTo>
                  <a:cubicBezTo>
                    <a:pt x="1035092" y="91837"/>
                    <a:pt x="1034635" y="92436"/>
                    <a:pt x="1033984" y="92524"/>
                  </a:cubicBezTo>
                  <a:cubicBezTo>
                    <a:pt x="1033880" y="92539"/>
                    <a:pt x="1033773" y="92539"/>
                    <a:pt x="1033666" y="92524"/>
                  </a:cubicBezTo>
                  <a:lnTo>
                    <a:pt x="1024451" y="92524"/>
                  </a:lnTo>
                  <a:cubicBezTo>
                    <a:pt x="1023800" y="92612"/>
                    <a:pt x="1023202" y="92156"/>
                    <a:pt x="1023113" y="91505"/>
                  </a:cubicBezTo>
                  <a:cubicBezTo>
                    <a:pt x="1023098" y="91400"/>
                    <a:pt x="1023098" y="91293"/>
                    <a:pt x="1023113" y="91187"/>
                  </a:cubicBezTo>
                  <a:close/>
                  <a:moveTo>
                    <a:pt x="1056702" y="72594"/>
                  </a:moveTo>
                  <a:cubicBezTo>
                    <a:pt x="1056256" y="71256"/>
                    <a:pt x="1055876" y="69897"/>
                    <a:pt x="1055564" y="68516"/>
                  </a:cubicBezTo>
                  <a:cubicBezTo>
                    <a:pt x="1055213" y="66883"/>
                    <a:pt x="1054969" y="65230"/>
                    <a:pt x="1054830" y="63567"/>
                  </a:cubicBezTo>
                  <a:cubicBezTo>
                    <a:pt x="1054651" y="61650"/>
                    <a:pt x="1054518" y="59354"/>
                    <a:pt x="1054428" y="56676"/>
                  </a:cubicBezTo>
                  <a:cubicBezTo>
                    <a:pt x="1054339" y="53999"/>
                    <a:pt x="1054295" y="50789"/>
                    <a:pt x="1054295" y="47046"/>
                  </a:cubicBezTo>
                  <a:cubicBezTo>
                    <a:pt x="1054295" y="43300"/>
                    <a:pt x="1054339" y="40090"/>
                    <a:pt x="1054428" y="37415"/>
                  </a:cubicBezTo>
                  <a:cubicBezTo>
                    <a:pt x="1054518" y="34739"/>
                    <a:pt x="1054651" y="32444"/>
                    <a:pt x="1054830" y="30527"/>
                  </a:cubicBezTo>
                  <a:cubicBezTo>
                    <a:pt x="1054969" y="28864"/>
                    <a:pt x="1055213" y="27211"/>
                    <a:pt x="1055564" y="25578"/>
                  </a:cubicBezTo>
                  <a:cubicBezTo>
                    <a:pt x="1055876" y="24191"/>
                    <a:pt x="1056256" y="22832"/>
                    <a:pt x="1056702" y="21500"/>
                  </a:cubicBezTo>
                  <a:cubicBezTo>
                    <a:pt x="1058507" y="15006"/>
                    <a:pt x="1062469" y="9321"/>
                    <a:pt x="1067938" y="5383"/>
                  </a:cubicBezTo>
                  <a:cubicBezTo>
                    <a:pt x="1073583" y="1724"/>
                    <a:pt x="1080209" y="-120"/>
                    <a:pt x="1086932" y="98"/>
                  </a:cubicBezTo>
                  <a:cubicBezTo>
                    <a:pt x="1093175" y="-45"/>
                    <a:pt x="1099325" y="1605"/>
                    <a:pt x="1104654" y="4854"/>
                  </a:cubicBezTo>
                  <a:cubicBezTo>
                    <a:pt x="1109764" y="8104"/>
                    <a:pt x="1113756" y="12842"/>
                    <a:pt x="1116092" y="18429"/>
                  </a:cubicBezTo>
                  <a:cubicBezTo>
                    <a:pt x="1116416" y="19058"/>
                    <a:pt x="1116179" y="19830"/>
                    <a:pt x="1115557" y="20168"/>
                  </a:cubicBezTo>
                  <a:lnTo>
                    <a:pt x="1107532" y="24047"/>
                  </a:lnTo>
                  <a:cubicBezTo>
                    <a:pt x="1107008" y="24443"/>
                    <a:pt x="1106262" y="24340"/>
                    <a:pt x="1105867" y="23816"/>
                  </a:cubicBezTo>
                  <a:cubicBezTo>
                    <a:pt x="1105769" y="23686"/>
                    <a:pt x="1105698" y="23537"/>
                    <a:pt x="1105659" y="23379"/>
                  </a:cubicBezTo>
                  <a:cubicBezTo>
                    <a:pt x="1103994" y="19957"/>
                    <a:pt x="1101569" y="16961"/>
                    <a:pt x="1098570" y="14619"/>
                  </a:cubicBezTo>
                  <a:cubicBezTo>
                    <a:pt x="1095184" y="12208"/>
                    <a:pt x="1091085" y="11007"/>
                    <a:pt x="1086932" y="11209"/>
                  </a:cubicBezTo>
                  <a:cubicBezTo>
                    <a:pt x="1082643" y="10998"/>
                    <a:pt x="1078407" y="12221"/>
                    <a:pt x="1074894" y="14687"/>
                  </a:cubicBezTo>
                  <a:cubicBezTo>
                    <a:pt x="1071690" y="17241"/>
                    <a:pt x="1069311" y="20685"/>
                    <a:pt x="1068057" y="24585"/>
                  </a:cubicBezTo>
                  <a:cubicBezTo>
                    <a:pt x="1067790" y="25576"/>
                    <a:pt x="1067546" y="26625"/>
                    <a:pt x="1067323" y="27730"/>
                  </a:cubicBezTo>
                  <a:cubicBezTo>
                    <a:pt x="1067064" y="29106"/>
                    <a:pt x="1066886" y="30496"/>
                    <a:pt x="1066788" y="31892"/>
                  </a:cubicBezTo>
                  <a:cubicBezTo>
                    <a:pt x="1066654" y="33541"/>
                    <a:pt x="1066541" y="35592"/>
                    <a:pt x="1066455" y="38045"/>
                  </a:cubicBezTo>
                  <a:cubicBezTo>
                    <a:pt x="1066369" y="40498"/>
                    <a:pt x="1066324" y="43508"/>
                    <a:pt x="1066321" y="47075"/>
                  </a:cubicBezTo>
                  <a:cubicBezTo>
                    <a:pt x="1066321" y="50642"/>
                    <a:pt x="1066366" y="53651"/>
                    <a:pt x="1066455" y="56103"/>
                  </a:cubicBezTo>
                  <a:cubicBezTo>
                    <a:pt x="1066544" y="58554"/>
                    <a:pt x="1066654" y="60605"/>
                    <a:pt x="1066788" y="62256"/>
                  </a:cubicBezTo>
                  <a:cubicBezTo>
                    <a:pt x="1066892" y="63669"/>
                    <a:pt x="1067070" y="65076"/>
                    <a:pt x="1067323" y="66471"/>
                  </a:cubicBezTo>
                  <a:cubicBezTo>
                    <a:pt x="1067516" y="67508"/>
                    <a:pt x="1067760" y="68535"/>
                    <a:pt x="1068057" y="69547"/>
                  </a:cubicBezTo>
                  <a:cubicBezTo>
                    <a:pt x="1069311" y="73448"/>
                    <a:pt x="1071690" y="76891"/>
                    <a:pt x="1074894" y="79446"/>
                  </a:cubicBezTo>
                  <a:cubicBezTo>
                    <a:pt x="1078407" y="81911"/>
                    <a:pt x="1082643" y="83135"/>
                    <a:pt x="1086932" y="82923"/>
                  </a:cubicBezTo>
                  <a:cubicBezTo>
                    <a:pt x="1091085" y="83125"/>
                    <a:pt x="1095184" y="81922"/>
                    <a:pt x="1098570" y="79511"/>
                  </a:cubicBezTo>
                  <a:cubicBezTo>
                    <a:pt x="1101569" y="77168"/>
                    <a:pt x="1103994" y="74172"/>
                    <a:pt x="1105659" y="70751"/>
                  </a:cubicBezTo>
                  <a:cubicBezTo>
                    <a:pt x="1105814" y="70113"/>
                    <a:pt x="1106456" y="69720"/>
                    <a:pt x="1107095" y="69875"/>
                  </a:cubicBezTo>
                  <a:cubicBezTo>
                    <a:pt x="1107252" y="69913"/>
                    <a:pt x="1107401" y="69984"/>
                    <a:pt x="1107532" y="70082"/>
                  </a:cubicBezTo>
                  <a:lnTo>
                    <a:pt x="1115557" y="73946"/>
                  </a:lnTo>
                  <a:cubicBezTo>
                    <a:pt x="1116179" y="74285"/>
                    <a:pt x="1116416" y="75057"/>
                    <a:pt x="1116092" y="75685"/>
                  </a:cubicBezTo>
                  <a:cubicBezTo>
                    <a:pt x="1113756" y="81273"/>
                    <a:pt x="1109764" y="86011"/>
                    <a:pt x="1104654" y="89261"/>
                  </a:cubicBezTo>
                  <a:cubicBezTo>
                    <a:pt x="1099325" y="92510"/>
                    <a:pt x="1093175" y="94160"/>
                    <a:pt x="1086932" y="94017"/>
                  </a:cubicBezTo>
                  <a:cubicBezTo>
                    <a:pt x="1080209" y="94235"/>
                    <a:pt x="1073583" y="92391"/>
                    <a:pt x="1067938" y="88732"/>
                  </a:cubicBezTo>
                  <a:cubicBezTo>
                    <a:pt x="1062463" y="84794"/>
                    <a:pt x="1058492" y="79107"/>
                    <a:pt x="1056687" y="72609"/>
                  </a:cubicBezTo>
                  <a:close/>
                  <a:moveTo>
                    <a:pt x="1160769" y="93996"/>
                  </a:moveTo>
                  <a:cubicBezTo>
                    <a:pt x="1157579" y="93998"/>
                    <a:pt x="1154399" y="93684"/>
                    <a:pt x="1151272" y="93059"/>
                  </a:cubicBezTo>
                  <a:cubicBezTo>
                    <a:pt x="1148269" y="92468"/>
                    <a:pt x="1145318" y="91640"/>
                    <a:pt x="1142443" y="90583"/>
                  </a:cubicBezTo>
                  <a:cubicBezTo>
                    <a:pt x="1139798" y="89614"/>
                    <a:pt x="1137245" y="88405"/>
                    <a:pt x="1134819" y="86972"/>
                  </a:cubicBezTo>
                  <a:cubicBezTo>
                    <a:pt x="1132673" y="85720"/>
                    <a:pt x="1130652" y="84264"/>
                    <a:pt x="1128785" y="82626"/>
                  </a:cubicBezTo>
                  <a:cubicBezTo>
                    <a:pt x="1128196" y="82145"/>
                    <a:pt x="1128110" y="81278"/>
                    <a:pt x="1128589" y="80689"/>
                  </a:cubicBezTo>
                  <a:cubicBezTo>
                    <a:pt x="1128609" y="80665"/>
                    <a:pt x="1128630" y="80642"/>
                    <a:pt x="1128651" y="80620"/>
                  </a:cubicBezTo>
                  <a:lnTo>
                    <a:pt x="1134537" y="73664"/>
                  </a:lnTo>
                  <a:cubicBezTo>
                    <a:pt x="1134932" y="73116"/>
                    <a:pt x="1135699" y="72993"/>
                    <a:pt x="1136246" y="73389"/>
                  </a:cubicBezTo>
                  <a:cubicBezTo>
                    <a:pt x="1136305" y="73431"/>
                    <a:pt x="1136359" y="73479"/>
                    <a:pt x="1136409" y="73530"/>
                  </a:cubicBezTo>
                  <a:cubicBezTo>
                    <a:pt x="1139792" y="76108"/>
                    <a:pt x="1143475" y="78264"/>
                    <a:pt x="1147378" y="79951"/>
                  </a:cubicBezTo>
                  <a:cubicBezTo>
                    <a:pt x="1151929" y="81950"/>
                    <a:pt x="1156854" y="82953"/>
                    <a:pt x="1161824" y="82894"/>
                  </a:cubicBezTo>
                  <a:cubicBezTo>
                    <a:pt x="1167097" y="83216"/>
                    <a:pt x="1172320" y="81703"/>
                    <a:pt x="1176606" y="78613"/>
                  </a:cubicBezTo>
                  <a:cubicBezTo>
                    <a:pt x="1180051" y="75920"/>
                    <a:pt x="1182013" y="71749"/>
                    <a:pt x="1181888" y="67377"/>
                  </a:cubicBezTo>
                  <a:cubicBezTo>
                    <a:pt x="1181912" y="65551"/>
                    <a:pt x="1181594" y="63736"/>
                    <a:pt x="1180952" y="62027"/>
                  </a:cubicBezTo>
                  <a:cubicBezTo>
                    <a:pt x="1180283" y="60358"/>
                    <a:pt x="1179201" y="58886"/>
                    <a:pt x="1177810" y="57746"/>
                  </a:cubicBezTo>
                  <a:cubicBezTo>
                    <a:pt x="1176071" y="56348"/>
                    <a:pt x="1174100" y="55261"/>
                    <a:pt x="1171990" y="54536"/>
                  </a:cubicBezTo>
                  <a:cubicBezTo>
                    <a:pt x="1169044" y="53523"/>
                    <a:pt x="1165991" y="52850"/>
                    <a:pt x="1162894" y="52530"/>
                  </a:cubicBezTo>
                  <a:lnTo>
                    <a:pt x="1158346" y="51861"/>
                  </a:lnTo>
                  <a:cubicBezTo>
                    <a:pt x="1140511" y="49453"/>
                    <a:pt x="1131594" y="41071"/>
                    <a:pt x="1131594" y="26714"/>
                  </a:cubicBezTo>
                  <a:cubicBezTo>
                    <a:pt x="1131546" y="22955"/>
                    <a:pt x="1132254" y="19226"/>
                    <a:pt x="1133675" y="15745"/>
                  </a:cubicBezTo>
                  <a:cubicBezTo>
                    <a:pt x="1134997" y="12526"/>
                    <a:pt x="1137031" y="9645"/>
                    <a:pt x="1139620" y="7318"/>
                  </a:cubicBezTo>
                  <a:cubicBezTo>
                    <a:pt x="1142345" y="4919"/>
                    <a:pt x="1145532" y="3099"/>
                    <a:pt x="1148983" y="1968"/>
                  </a:cubicBezTo>
                  <a:cubicBezTo>
                    <a:pt x="1152954" y="670"/>
                    <a:pt x="1157113" y="38"/>
                    <a:pt x="1161289" y="95"/>
                  </a:cubicBezTo>
                  <a:cubicBezTo>
                    <a:pt x="1166485" y="71"/>
                    <a:pt x="1171651" y="861"/>
                    <a:pt x="1176603" y="2435"/>
                  </a:cubicBezTo>
                  <a:cubicBezTo>
                    <a:pt x="1181029" y="3780"/>
                    <a:pt x="1185208" y="5836"/>
                    <a:pt x="1188978" y="8522"/>
                  </a:cubicBezTo>
                  <a:cubicBezTo>
                    <a:pt x="1189551" y="8842"/>
                    <a:pt x="1189756" y="9566"/>
                    <a:pt x="1189435" y="10140"/>
                  </a:cubicBezTo>
                  <a:cubicBezTo>
                    <a:pt x="1189385" y="10233"/>
                    <a:pt x="1189319" y="10319"/>
                    <a:pt x="1189245" y="10395"/>
                  </a:cubicBezTo>
                  <a:lnTo>
                    <a:pt x="1184697" y="17752"/>
                  </a:lnTo>
                  <a:cubicBezTo>
                    <a:pt x="1184281" y="18339"/>
                    <a:pt x="1183470" y="18478"/>
                    <a:pt x="1182881" y="18063"/>
                  </a:cubicBezTo>
                  <a:cubicBezTo>
                    <a:pt x="1182863" y="18049"/>
                    <a:pt x="1182842" y="18034"/>
                    <a:pt x="1182825" y="18019"/>
                  </a:cubicBezTo>
                  <a:cubicBezTo>
                    <a:pt x="1179436" y="15866"/>
                    <a:pt x="1175798" y="14134"/>
                    <a:pt x="1171990" y="12862"/>
                  </a:cubicBezTo>
                  <a:cubicBezTo>
                    <a:pt x="1168399" y="11733"/>
                    <a:pt x="1164654" y="11171"/>
                    <a:pt x="1160888" y="11197"/>
                  </a:cubicBezTo>
                  <a:cubicBezTo>
                    <a:pt x="1156245" y="10871"/>
                    <a:pt x="1151652" y="12330"/>
                    <a:pt x="1148047" y="15276"/>
                  </a:cubicBezTo>
                  <a:cubicBezTo>
                    <a:pt x="1145104" y="18012"/>
                    <a:pt x="1143496" y="21895"/>
                    <a:pt x="1143647" y="25911"/>
                  </a:cubicBezTo>
                  <a:cubicBezTo>
                    <a:pt x="1143555" y="29544"/>
                    <a:pt x="1145134" y="33018"/>
                    <a:pt x="1147928" y="35340"/>
                  </a:cubicBezTo>
                  <a:cubicBezTo>
                    <a:pt x="1152315" y="38370"/>
                    <a:pt x="1157440" y="40155"/>
                    <a:pt x="1162760" y="40506"/>
                  </a:cubicBezTo>
                  <a:lnTo>
                    <a:pt x="1167174" y="41175"/>
                  </a:lnTo>
                  <a:cubicBezTo>
                    <a:pt x="1174519" y="41767"/>
                    <a:pt x="1181511" y="44565"/>
                    <a:pt x="1187239" y="49201"/>
                  </a:cubicBezTo>
                  <a:cubicBezTo>
                    <a:pt x="1191882" y="53754"/>
                    <a:pt x="1194322" y="60098"/>
                    <a:pt x="1193927" y="66590"/>
                  </a:cubicBezTo>
                  <a:cubicBezTo>
                    <a:pt x="1193968" y="70369"/>
                    <a:pt x="1193261" y="74119"/>
                    <a:pt x="1191846" y="77623"/>
                  </a:cubicBezTo>
                  <a:cubicBezTo>
                    <a:pt x="1190470" y="80958"/>
                    <a:pt x="1188312" y="83913"/>
                    <a:pt x="1185559" y="86244"/>
                  </a:cubicBezTo>
                  <a:cubicBezTo>
                    <a:pt x="1182483" y="88799"/>
                    <a:pt x="1178939" y="90730"/>
                    <a:pt x="1175126" y="91930"/>
                  </a:cubicBezTo>
                  <a:cubicBezTo>
                    <a:pt x="1170477" y="93384"/>
                    <a:pt x="1165623" y="94081"/>
                    <a:pt x="1160754" y="93996"/>
                  </a:cubicBezTo>
                  <a:close/>
                </a:path>
              </a:pathLst>
            </a:custGeom>
            <a:solidFill>
              <a:schemeClr val="bg1"/>
            </a:solidFill>
            <a:ln w="2965" cap="flat">
              <a:noFill/>
              <a:prstDash val="solid"/>
              <a:miter/>
            </a:ln>
          </p:spPr>
          <p:txBody>
            <a:bodyPr rtlCol="0" anchor="ctr"/>
            <a:lstStyle/>
            <a:p>
              <a:endParaRPr lang="de-DE"/>
            </a:p>
          </p:txBody>
        </p:sp>
      </p:grpSp>
    </p:spTree>
    <p:extLst>
      <p:ext uri="{BB962C8B-B14F-4D97-AF65-F5344CB8AC3E}">
        <p14:creationId xmlns:p14="http://schemas.microsoft.com/office/powerpoint/2010/main" val="2286046521"/>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Datumsplatzhalter 2">
            <a:extLst>
              <a:ext uri="{FF2B5EF4-FFF2-40B4-BE49-F238E27FC236}">
                <a16:creationId xmlns:a16="http://schemas.microsoft.com/office/drawing/2014/main" id="{69A3E673-AEBB-468D-A0F9-9307E9E33E5F}"/>
              </a:ext>
            </a:extLst>
          </p:cNvPr>
          <p:cNvSpPr>
            <a:spLocks noGrp="1"/>
          </p:cNvSpPr>
          <p:nvPr>
            <p:ph type="dt" sz="half" idx="10"/>
          </p:nvPr>
        </p:nvSpPr>
        <p:spPr/>
        <p:txBody>
          <a:bodyPr/>
          <a:lstStyle/>
          <a:p>
            <a:fld id="{C05B0E99-016F-4F5B-A637-23AA949F1BCB}" type="datetime1">
              <a:rPr lang="de-DE"/>
              <a:pPr/>
              <a:t>04.05.2026</a:t>
            </a:fld>
            <a:endParaRPr lang="de-DE"/>
          </a:p>
        </p:txBody>
      </p:sp>
      <p:sp>
        <p:nvSpPr>
          <p:cNvPr id="4" name="Fußzeilenplatzhalter 3">
            <a:extLst>
              <a:ext uri="{FF2B5EF4-FFF2-40B4-BE49-F238E27FC236}">
                <a16:creationId xmlns:a16="http://schemas.microsoft.com/office/drawing/2014/main" id="{4FE0DC72-0B21-42CC-A77D-280AD3A738A9}"/>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FDC02AA0-335B-4103-A186-20A77648448E}"/>
              </a:ext>
            </a:extLst>
          </p:cNvPr>
          <p:cNvSpPr>
            <a:spLocks noGrp="1"/>
          </p:cNvSpPr>
          <p:nvPr>
            <p:ph type="sldNum" sz="quarter" idx="12"/>
          </p:nvPr>
        </p:nvSpPr>
        <p:spPr/>
        <p:txBody>
          <a:bodyPr/>
          <a:lstStyle/>
          <a:p>
            <a:fld id="{EFDB17C1-FF3A-45DC-94C1-44444C959F3B}" type="slidenum">
              <a:rPr lang="de-DE"/>
              <a:t>‹Nr.›</a:t>
            </a:fld>
            <a:endParaRPr lang="de-DE"/>
          </a:p>
        </p:txBody>
      </p:sp>
      <p:sp>
        <p:nvSpPr>
          <p:cNvPr id="6" name="enable layout protection" hidden="1">
            <a:extLst>
              <a:ext uri="{FF2B5EF4-FFF2-40B4-BE49-F238E27FC236}">
                <a16:creationId xmlns:a16="http://schemas.microsoft.com/office/drawing/2014/main" id="{0DA31DA4-A314-4EBB-A64F-985BCB12B88F}"/>
              </a:ext>
            </a:extLst>
          </p:cNvPr>
          <p:cNvSpPr>
            <a:spLocks/>
          </p:cNvSpPr>
          <p:nvPr userDrawn="1">
            <p:custDataLst>
              <p:tags r:id="rId1"/>
            </p:custDataLst>
          </p:nvPr>
        </p:nvSpPr>
        <p:spPr>
          <a:xfrm>
            <a:off x="410152" y="1574799"/>
            <a:ext cx="8891999" cy="4608001"/>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81854777"/>
      </p:ext>
    </p:extLst>
  </p:cSld>
  <p:clrMapOvr>
    <a:masterClrMapping/>
  </p:clrMapOvr>
  <p:hf hdr="0" ftr="0"/>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1_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Datumsplatzhalter 2">
            <a:extLst>
              <a:ext uri="{FF2B5EF4-FFF2-40B4-BE49-F238E27FC236}">
                <a16:creationId xmlns:a16="http://schemas.microsoft.com/office/drawing/2014/main" id="{69A3E673-AEBB-468D-A0F9-9307E9E33E5F}"/>
              </a:ext>
            </a:extLst>
          </p:cNvPr>
          <p:cNvSpPr>
            <a:spLocks noGrp="1"/>
          </p:cNvSpPr>
          <p:nvPr>
            <p:ph type="dt" sz="half" idx="10"/>
          </p:nvPr>
        </p:nvSpPr>
        <p:spPr/>
        <p:txBody>
          <a:bodyPr/>
          <a:lstStyle/>
          <a:p>
            <a:fld id="{485642DF-C5DB-40DC-9BDE-75C8EC3346B8}" type="datetime1">
              <a:rPr lang="de-DE"/>
              <a:pPr/>
              <a:t>04.05.2026</a:t>
            </a:fld>
            <a:endParaRPr lang="de-DE"/>
          </a:p>
        </p:txBody>
      </p:sp>
      <p:sp>
        <p:nvSpPr>
          <p:cNvPr id="4" name="Fußzeilenplatzhalter 3">
            <a:extLst>
              <a:ext uri="{FF2B5EF4-FFF2-40B4-BE49-F238E27FC236}">
                <a16:creationId xmlns:a16="http://schemas.microsoft.com/office/drawing/2014/main" id="{4FE0DC72-0B21-42CC-A77D-280AD3A738A9}"/>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FDC02AA0-335B-4103-A186-20A77648448E}"/>
              </a:ext>
            </a:extLst>
          </p:cNvPr>
          <p:cNvSpPr>
            <a:spLocks noGrp="1"/>
          </p:cNvSpPr>
          <p:nvPr>
            <p:ph type="sldNum" sz="quarter" idx="12"/>
          </p:nvPr>
        </p:nvSpPr>
        <p:spPr/>
        <p:txBody>
          <a:bodyPr/>
          <a:lstStyle/>
          <a:p>
            <a:fld id="{EFDB17C1-FF3A-45DC-94C1-44444C959F3B}" type="slidenum">
              <a:rPr lang="de-DE"/>
              <a:t>‹Nr.›</a:t>
            </a:fld>
            <a:endParaRPr lang="de-DE"/>
          </a:p>
        </p:txBody>
      </p:sp>
      <p:sp>
        <p:nvSpPr>
          <p:cNvPr id="6" name="Rectangle 5" hidden="1">
            <a:extLst>
              <a:ext uri="{FF2B5EF4-FFF2-40B4-BE49-F238E27FC236}">
                <a16:creationId xmlns:a16="http://schemas.microsoft.com/office/drawing/2014/main" id="{0DA31DA4-A314-4EBB-A64F-985BCB12B88F}"/>
              </a:ext>
            </a:extLst>
          </p:cNvPr>
          <p:cNvSpPr/>
          <p:nvPr userDrawn="1">
            <p:custDataLst>
              <p:tags r:id="rId1"/>
            </p:custDataLst>
          </p:nvPr>
        </p:nvSpPr>
        <p:spPr>
          <a:xfrm>
            <a:off x="679729" y="1574800"/>
            <a:ext cx="8730566" cy="460851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3624459065"/>
      </p:ext>
    </p:extLst>
  </p:cSld>
  <p:clrMapOvr>
    <a:masterClrMapping/>
  </p:clrMapOvr>
  <p:hf hdr="0" ft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Date Placeholder 2">
            <a:extLst>
              <a:ext uri="{FF2B5EF4-FFF2-40B4-BE49-F238E27FC236}">
                <a16:creationId xmlns:a16="http://schemas.microsoft.com/office/drawing/2014/main" id="{848958F1-790E-4596-A4D2-3FE38223D783}"/>
              </a:ext>
            </a:extLst>
          </p:cNvPr>
          <p:cNvSpPr>
            <a:spLocks noGrp="1"/>
          </p:cNvSpPr>
          <p:nvPr>
            <p:ph type="dt" sz="half" idx="14"/>
          </p:nvPr>
        </p:nvSpPr>
        <p:spPr/>
        <p:txBody>
          <a:bodyPr/>
          <a:lstStyle/>
          <a:p>
            <a:fld id="{13F30290-9F08-4513-9EAC-9C12B31339A6}" type="datetime1">
              <a:rPr lang="de-DE"/>
              <a:pPr/>
              <a:t>04.05.2026</a:t>
            </a:fld>
            <a:endParaRPr lang="de-DE"/>
          </a:p>
        </p:txBody>
      </p:sp>
      <p:sp>
        <p:nvSpPr>
          <p:cNvPr id="8" name="Footer Placeholder 7">
            <a:extLst>
              <a:ext uri="{FF2B5EF4-FFF2-40B4-BE49-F238E27FC236}">
                <a16:creationId xmlns:a16="http://schemas.microsoft.com/office/drawing/2014/main" id="{79ABEFE3-82B7-4082-8EE1-A274D2D1227D}"/>
              </a:ext>
            </a:extLst>
          </p:cNvPr>
          <p:cNvSpPr>
            <a:spLocks noGrp="1"/>
          </p:cNvSpPr>
          <p:nvPr>
            <p:ph type="ftr" sz="quarter" idx="15"/>
          </p:nvPr>
        </p:nvSpPr>
        <p:spPr/>
        <p:txBody>
          <a:bodyPr/>
          <a:lstStyle/>
          <a:p>
            <a:endParaRPr lang="de-DE"/>
          </a:p>
        </p:txBody>
      </p:sp>
      <p:sp>
        <p:nvSpPr>
          <p:cNvPr id="14" name="Slide Number Placeholder 13">
            <a:extLst>
              <a:ext uri="{FF2B5EF4-FFF2-40B4-BE49-F238E27FC236}">
                <a16:creationId xmlns:a16="http://schemas.microsoft.com/office/drawing/2014/main" id="{88CCE3E9-EE4D-4ABF-BB3E-9838D1B44440}"/>
              </a:ext>
            </a:extLst>
          </p:cNvPr>
          <p:cNvSpPr>
            <a:spLocks noGrp="1"/>
          </p:cNvSpPr>
          <p:nvPr>
            <p:ph type="sldNum" sz="quarter" idx="16"/>
          </p:nvPr>
        </p:nvSpPr>
        <p:spPr/>
        <p:txBody>
          <a:bodyPr/>
          <a:lstStyle/>
          <a:p>
            <a:fld id="{EFDB17C1-FF3A-45DC-94C1-44444C959F3B}" type="slidenum">
              <a:rPr lang="de-DE"/>
              <a:pPr/>
              <a:t>‹Nr.›</a:t>
            </a:fld>
            <a:endParaRPr lang="de-DE"/>
          </a:p>
        </p:txBody>
      </p:sp>
      <p:sp>
        <p:nvSpPr>
          <p:cNvPr id="5" name="Content Placeholder 4">
            <a:extLst>
              <a:ext uri="{FF2B5EF4-FFF2-40B4-BE49-F238E27FC236}">
                <a16:creationId xmlns:a16="http://schemas.microsoft.com/office/drawing/2014/main" id="{758B143E-73F7-4212-8A82-3D8B9A86C64C}"/>
              </a:ext>
            </a:extLst>
          </p:cNvPr>
          <p:cNvSpPr>
            <a:spLocks noGrp="1"/>
          </p:cNvSpPr>
          <p:nvPr>
            <p:ph sz="quarter" idx="17" hasCustomPrompt="1"/>
          </p:nvPr>
        </p:nvSpPr>
        <p:spPr>
          <a:xfrm>
            <a:off x="410152" y="1574799"/>
            <a:ext cx="8891999" cy="4608001"/>
          </a:xfrm>
        </p:spPr>
        <p:txBody>
          <a:bodyPr/>
          <a:lstStyle/>
          <a:p>
            <a:pPr lvl="0"/>
            <a:r>
              <a:rPr lang="en-US"/>
              <a:t>Use ‘INCREASE INDENT’ button to change text styles and bullets</a:t>
            </a:r>
          </a:p>
          <a:p>
            <a:pPr lvl="1"/>
            <a:r>
              <a:rPr lang="en-US"/>
              <a:t>Second level</a:t>
            </a:r>
          </a:p>
          <a:p>
            <a:pPr lvl="2"/>
            <a:r>
              <a:rPr lang="en-US"/>
              <a:t>Third level</a:t>
            </a:r>
          </a:p>
          <a:p>
            <a:pPr lvl="3"/>
            <a:r>
              <a:rPr lang="en-US"/>
              <a:t>Fourth level</a:t>
            </a:r>
          </a:p>
          <a:p>
            <a:pPr lvl="4"/>
            <a:r>
              <a:rPr lang="en-US"/>
              <a:t>Fifth level</a:t>
            </a:r>
            <a:endParaRPr lang="de-CH"/>
          </a:p>
        </p:txBody>
      </p:sp>
    </p:spTree>
    <p:extLst>
      <p:ext uri="{BB962C8B-B14F-4D97-AF65-F5344CB8AC3E}">
        <p14:creationId xmlns:p14="http://schemas.microsoft.com/office/powerpoint/2010/main" val="3800773995"/>
      </p:ext>
    </p:extLst>
  </p:cSld>
  <p:clrMapOvr>
    <a:masterClrMapping/>
  </p:clrMapOvr>
  <p:hf hdr="0" ft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10151" y="1574801"/>
            <a:ext cx="4320000" cy="4608513"/>
          </a:xfrm>
          <a:prstGeom prst="rect">
            <a:avLst/>
          </a:prstGeom>
        </p:spPr>
        <p:txBody>
          <a:bodyPr/>
          <a:lstStyle/>
          <a:p>
            <a:pPr lvl="0"/>
            <a:r>
              <a:rPr lang="en-US"/>
              <a:t>Use ‘INCREASE INDENT’ button to change text styles and bullets</a:t>
            </a:r>
          </a:p>
          <a:p>
            <a:pPr lvl="1"/>
            <a:r>
              <a:rPr lang="de-DE"/>
              <a:t>Zweite Ebene</a:t>
            </a:r>
          </a:p>
          <a:p>
            <a:pPr lvl="2"/>
            <a:r>
              <a:rPr lang="de-DE"/>
              <a:t>Dritte Ebene</a:t>
            </a:r>
          </a:p>
          <a:p>
            <a:pPr lvl="3"/>
            <a:r>
              <a:rPr lang="de-DE"/>
              <a:t>Vierte Ebene</a:t>
            </a:r>
          </a:p>
          <a:p>
            <a:pPr lvl="4"/>
            <a:r>
              <a:rPr lang="de-DE"/>
              <a:t>Fünfte Ebene</a:t>
            </a:r>
            <a:endParaRPr lang="en-US"/>
          </a:p>
        </p:txBody>
      </p:sp>
      <p:sp>
        <p:nvSpPr>
          <p:cNvPr id="10" name="Content Placeholder 2">
            <a:extLst>
              <a:ext uri="{FF2B5EF4-FFF2-40B4-BE49-F238E27FC236}">
                <a16:creationId xmlns:a16="http://schemas.microsoft.com/office/drawing/2014/main" id="{73AB2E35-AF85-48B6-A742-844E371CC177}"/>
              </a:ext>
            </a:extLst>
          </p:cNvPr>
          <p:cNvSpPr>
            <a:spLocks noGrp="1"/>
          </p:cNvSpPr>
          <p:nvPr>
            <p:ph idx="13" hasCustomPrompt="1"/>
          </p:nvPr>
        </p:nvSpPr>
        <p:spPr>
          <a:xfrm>
            <a:off x="4982151" y="1574801"/>
            <a:ext cx="4320000" cy="4608513"/>
          </a:xfrm>
          <a:prstGeom prst="rect">
            <a:avLst/>
          </a:prstGeom>
        </p:spPr>
        <p:txBody>
          <a:bodyPr/>
          <a:lstStyle/>
          <a:p>
            <a:pPr lvl="0"/>
            <a:r>
              <a:rPr lang="en-US"/>
              <a:t>Use ‘INCREASE INDENT’ button to change text styles and bullets</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Datumsplatzhalter 4">
            <a:extLst>
              <a:ext uri="{FF2B5EF4-FFF2-40B4-BE49-F238E27FC236}">
                <a16:creationId xmlns:a16="http://schemas.microsoft.com/office/drawing/2014/main" id="{B14F30F4-18A1-4868-9AAF-07F972FFD800}"/>
              </a:ext>
            </a:extLst>
          </p:cNvPr>
          <p:cNvSpPr>
            <a:spLocks noGrp="1"/>
          </p:cNvSpPr>
          <p:nvPr>
            <p:ph type="dt" sz="half" idx="14"/>
          </p:nvPr>
        </p:nvSpPr>
        <p:spPr/>
        <p:txBody>
          <a:bodyPr/>
          <a:lstStyle/>
          <a:p>
            <a:fld id="{D52EB289-A098-42B9-B06D-E71729B248B0}" type="datetime1">
              <a:rPr lang="de-DE"/>
              <a:pPr/>
              <a:t>04.05.2026</a:t>
            </a:fld>
            <a:endParaRPr lang="de-DE"/>
          </a:p>
        </p:txBody>
      </p:sp>
      <p:sp>
        <p:nvSpPr>
          <p:cNvPr id="6" name="Fußzeilenplatzhalter 5">
            <a:extLst>
              <a:ext uri="{FF2B5EF4-FFF2-40B4-BE49-F238E27FC236}">
                <a16:creationId xmlns:a16="http://schemas.microsoft.com/office/drawing/2014/main" id="{DE4D8838-EE46-4923-9A0C-CEE4AEF7C06F}"/>
              </a:ext>
            </a:extLst>
          </p:cNvPr>
          <p:cNvSpPr>
            <a:spLocks noGrp="1"/>
          </p:cNvSpPr>
          <p:nvPr>
            <p:ph type="ftr" sz="quarter" idx="15"/>
          </p:nvPr>
        </p:nvSpPr>
        <p:spPr/>
        <p:txBody>
          <a:bodyPr/>
          <a:lstStyle/>
          <a:p>
            <a:endParaRPr lang="de-DE"/>
          </a:p>
        </p:txBody>
      </p:sp>
      <p:sp>
        <p:nvSpPr>
          <p:cNvPr id="8" name="Foliennummernplatzhalter 7">
            <a:extLst>
              <a:ext uri="{FF2B5EF4-FFF2-40B4-BE49-F238E27FC236}">
                <a16:creationId xmlns:a16="http://schemas.microsoft.com/office/drawing/2014/main" id="{D996F996-2D24-4892-B8B1-597411B25ABB}"/>
              </a:ext>
            </a:extLst>
          </p:cNvPr>
          <p:cNvSpPr>
            <a:spLocks noGrp="1"/>
          </p:cNvSpPr>
          <p:nvPr>
            <p:ph type="sldNum" sz="quarter" idx="16"/>
          </p:nvPr>
        </p:nvSpPr>
        <p:spPr/>
        <p:txBody>
          <a:bodyPr/>
          <a:lstStyle/>
          <a:p>
            <a:fld id="{EFDB17C1-FF3A-45DC-94C1-44444C959F3B}" type="slidenum">
              <a:rPr lang="de-DE"/>
              <a:t>‹Nr.›</a:t>
            </a:fld>
            <a:endParaRPr lang="de-DE"/>
          </a:p>
        </p:txBody>
      </p:sp>
      <p:sp>
        <p:nvSpPr>
          <p:cNvPr id="2" name="Title 1">
            <a:extLst>
              <a:ext uri="{FF2B5EF4-FFF2-40B4-BE49-F238E27FC236}">
                <a16:creationId xmlns:a16="http://schemas.microsoft.com/office/drawing/2014/main" id="{6212A490-2476-4967-B4C2-36260084211C}"/>
              </a:ext>
            </a:extLst>
          </p:cNvPr>
          <p:cNvSpPr>
            <a:spLocks noGrp="1"/>
          </p:cNvSpPr>
          <p:nvPr>
            <p:ph type="title"/>
          </p:nvPr>
        </p:nvSpPr>
        <p:spPr>
          <a:xfrm>
            <a:off x="410151" y="307250"/>
            <a:ext cx="8892000" cy="829054"/>
          </a:xfrm>
        </p:spPr>
        <p:txBody>
          <a:bodyPr/>
          <a:lstStyle/>
          <a:p>
            <a:r>
              <a:rPr lang="de-DE"/>
              <a:t>Mastertitelformat bearbeiten</a:t>
            </a:r>
            <a:endParaRPr lang="en-US"/>
          </a:p>
        </p:txBody>
      </p:sp>
      <p:sp>
        <p:nvSpPr>
          <p:cNvPr id="9" name="enable layout protection" hidden="1">
            <a:extLst>
              <a:ext uri="{FF2B5EF4-FFF2-40B4-BE49-F238E27FC236}">
                <a16:creationId xmlns:a16="http://schemas.microsoft.com/office/drawing/2014/main" id="{46F5A4C2-B692-4B6B-B694-1C22DF5D8AFA}"/>
              </a:ext>
            </a:extLst>
          </p:cNvPr>
          <p:cNvSpPr>
            <a:spLocks/>
          </p:cNvSpPr>
          <p:nvPr userDrawn="1">
            <p:custDataLst>
              <p:tags r:id="rId1"/>
            </p:custDataLst>
          </p:nvPr>
        </p:nvSpPr>
        <p:spPr>
          <a:xfrm>
            <a:off x="410152" y="1574799"/>
            <a:ext cx="8891999" cy="4608001"/>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1095616333"/>
      </p:ext>
    </p:extLst>
  </p:cSld>
  <p:clrMapOvr>
    <a:masterClrMapping/>
  </p:clrMapOvr>
  <p:hf hdr="0" ftr="0"/>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Satzspiegel 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11FAAE24-4468-4D83-8CEF-7B1280D6393A}"/>
              </a:ext>
            </a:extLst>
          </p:cNvPr>
          <p:cNvSpPr>
            <a:spLocks noGrp="1"/>
          </p:cNvSpPr>
          <p:nvPr>
            <p:ph type="dt" sz="half" idx="10"/>
          </p:nvPr>
        </p:nvSpPr>
        <p:spPr/>
        <p:txBody>
          <a:bodyPr/>
          <a:lstStyle/>
          <a:p>
            <a:fld id="{6FCD84E2-7A3D-4492-AA42-8719F1C41D06}" type="datetime1">
              <a:rPr lang="de-DE"/>
              <a:pPr/>
              <a:t>04.05.2026</a:t>
            </a:fld>
            <a:endParaRPr lang="de-DE"/>
          </a:p>
        </p:txBody>
      </p:sp>
      <p:sp>
        <p:nvSpPr>
          <p:cNvPr id="3" name="Fußzeilenplatzhalter 2">
            <a:extLst>
              <a:ext uri="{FF2B5EF4-FFF2-40B4-BE49-F238E27FC236}">
                <a16:creationId xmlns:a16="http://schemas.microsoft.com/office/drawing/2014/main" id="{5C21C630-CB37-4C45-AA39-73E70E27AFAB}"/>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6E83C679-5BAA-4DD9-A647-E2C734F7F3E7}"/>
              </a:ext>
            </a:extLst>
          </p:cNvPr>
          <p:cNvSpPr>
            <a:spLocks noGrp="1"/>
          </p:cNvSpPr>
          <p:nvPr>
            <p:ph type="sldNum" sz="quarter" idx="12"/>
          </p:nvPr>
        </p:nvSpPr>
        <p:spPr/>
        <p:txBody>
          <a:bodyPr/>
          <a:lstStyle/>
          <a:p>
            <a:fld id="{EFDB17C1-FF3A-45DC-94C1-44444C959F3B}" type="slidenum">
              <a:rPr lang="de-DE"/>
              <a:t>‹Nr.›</a:t>
            </a:fld>
            <a:endParaRPr lang="de-DE"/>
          </a:p>
        </p:txBody>
      </p:sp>
      <p:sp>
        <p:nvSpPr>
          <p:cNvPr id="8" name="Rectangle 7" hidden="1">
            <a:extLst>
              <a:ext uri="{FF2B5EF4-FFF2-40B4-BE49-F238E27FC236}">
                <a16:creationId xmlns:a16="http://schemas.microsoft.com/office/drawing/2014/main" id="{EF1AD657-0804-4981-9D27-2448BA9D30AE}"/>
              </a:ext>
            </a:extLst>
          </p:cNvPr>
          <p:cNvSpPr/>
          <p:nvPr userDrawn="1">
            <p:custDataLst>
              <p:tags r:id="rId1"/>
            </p:custDataLst>
          </p:nvPr>
        </p:nvSpPr>
        <p:spPr>
          <a:xfrm>
            <a:off x="0" y="0"/>
            <a:ext cx="9410295" cy="6858000"/>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1835980718"/>
      </p:ext>
    </p:extLst>
  </p:cSld>
  <p:clrMapOvr>
    <a:masterClrMapping/>
  </p:clrMapOvr>
  <p:hf hdr="0" ftr="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 full width">
    <p:spTree>
      <p:nvGrpSpPr>
        <p:cNvPr id="1" name=""/>
        <p:cNvGrpSpPr/>
        <p:nvPr/>
      </p:nvGrpSpPr>
      <p:grpSpPr>
        <a:xfrm>
          <a:off x="0" y="0"/>
          <a:ext cx="0" cy="0"/>
          <a:chOff x="0" y="0"/>
          <a:chExt cx="0" cy="0"/>
        </a:xfrm>
      </p:grpSpPr>
      <p:grpSp>
        <p:nvGrpSpPr>
          <p:cNvPr id="37" name="Graphic 16">
            <a:extLst>
              <a:ext uri="{FF2B5EF4-FFF2-40B4-BE49-F238E27FC236}">
                <a16:creationId xmlns:a16="http://schemas.microsoft.com/office/drawing/2014/main" id="{BBFDC7A7-CFF0-45AA-8FDF-B304EBDB6A2D}"/>
              </a:ext>
            </a:extLst>
          </p:cNvPr>
          <p:cNvGrpSpPr/>
          <p:nvPr/>
        </p:nvGrpSpPr>
        <p:grpSpPr>
          <a:xfrm>
            <a:off x="9938019" y="6379293"/>
            <a:ext cx="2029688" cy="316256"/>
            <a:chOff x="9938019" y="6379293"/>
            <a:chExt cx="2029688" cy="316256"/>
          </a:xfrm>
          <a:solidFill>
            <a:schemeClr val="bg2"/>
          </a:solidFill>
        </p:grpSpPr>
        <p:grpSp>
          <p:nvGrpSpPr>
            <p:cNvPr id="38" name="Graphic 16">
              <a:extLst>
                <a:ext uri="{FF2B5EF4-FFF2-40B4-BE49-F238E27FC236}">
                  <a16:creationId xmlns:a16="http://schemas.microsoft.com/office/drawing/2014/main" id="{0B77B4FC-F35D-4308-A86C-953D5CE3AF1D}"/>
                </a:ext>
              </a:extLst>
            </p:cNvPr>
            <p:cNvGrpSpPr/>
            <p:nvPr/>
          </p:nvGrpSpPr>
          <p:grpSpPr>
            <a:xfrm>
              <a:off x="9938019" y="6379293"/>
              <a:ext cx="747774" cy="316256"/>
              <a:chOff x="9938019" y="6379293"/>
              <a:chExt cx="747774" cy="316256"/>
            </a:xfrm>
            <a:solidFill>
              <a:schemeClr val="bg2"/>
            </a:solidFill>
          </p:grpSpPr>
          <p:sp>
            <p:nvSpPr>
              <p:cNvPr id="39" name="Freeform: Shape 38">
                <a:extLst>
                  <a:ext uri="{FF2B5EF4-FFF2-40B4-BE49-F238E27FC236}">
                    <a16:creationId xmlns:a16="http://schemas.microsoft.com/office/drawing/2014/main" id="{F328564C-9D9B-444D-9181-3480D7200DB5}"/>
                  </a:ext>
                </a:extLst>
              </p:cNvPr>
              <p:cNvSpPr/>
              <p:nvPr/>
            </p:nvSpPr>
            <p:spPr>
              <a:xfrm>
                <a:off x="9938019" y="6410956"/>
                <a:ext cx="209869" cy="252930"/>
              </a:xfrm>
              <a:custGeom>
                <a:avLst/>
                <a:gdLst>
                  <a:gd name="connsiteX0" fmla="*/ 145594 w 209869"/>
                  <a:gd name="connsiteY0" fmla="*/ 163695 h 252930"/>
                  <a:gd name="connsiteX1" fmla="*/ 105519 w 209869"/>
                  <a:gd name="connsiteY1" fmla="*/ 48779 h 252930"/>
                  <a:gd name="connsiteX2" fmla="*/ 104747 w 209869"/>
                  <a:gd name="connsiteY2" fmla="*/ 48779 h 252930"/>
                  <a:gd name="connsiteX3" fmla="*/ 64333 w 209869"/>
                  <a:gd name="connsiteY3" fmla="*/ 163695 h 252930"/>
                  <a:gd name="connsiteX4" fmla="*/ 88659 w 209869"/>
                  <a:gd name="connsiteY4" fmla="*/ 3752 h 252930"/>
                  <a:gd name="connsiteX5" fmla="*/ 93166 w 209869"/>
                  <a:gd name="connsiteY5" fmla="*/ 37 h 252930"/>
                  <a:gd name="connsiteX6" fmla="*/ 117493 w 209869"/>
                  <a:gd name="connsiteY6" fmla="*/ 37 h 252930"/>
                  <a:gd name="connsiteX7" fmla="*/ 122373 w 209869"/>
                  <a:gd name="connsiteY7" fmla="*/ 3752 h 252930"/>
                  <a:gd name="connsiteX8" fmla="*/ 209621 w 209869"/>
                  <a:gd name="connsiteY8" fmla="*/ 249211 h 252930"/>
                  <a:gd name="connsiteX9" fmla="*/ 207003 w 209869"/>
                  <a:gd name="connsiteY9" fmla="*/ 252953 h 252930"/>
                  <a:gd name="connsiteX10" fmla="*/ 180788 w 209869"/>
                  <a:gd name="connsiteY10" fmla="*/ 252953 h 252930"/>
                  <a:gd name="connsiteX11" fmla="*/ 175925 w 209869"/>
                  <a:gd name="connsiteY11" fmla="*/ 249211 h 252930"/>
                  <a:gd name="connsiteX12" fmla="*/ 156432 w 209869"/>
                  <a:gd name="connsiteY12" fmla="*/ 194187 h 252930"/>
                  <a:gd name="connsiteX13" fmla="*/ 53465 w 209869"/>
                  <a:gd name="connsiteY13" fmla="*/ 194187 h 252930"/>
                  <a:gd name="connsiteX14" fmla="*/ 33984 w 209869"/>
                  <a:gd name="connsiteY14" fmla="*/ 249211 h 252930"/>
                  <a:gd name="connsiteX15" fmla="*/ 29103 w 209869"/>
                  <a:gd name="connsiteY15" fmla="*/ 252953 h 252930"/>
                  <a:gd name="connsiteX16" fmla="*/ 2889 w 209869"/>
                  <a:gd name="connsiteY16" fmla="*/ 252953 h 252930"/>
                  <a:gd name="connsiteX17" fmla="*/ 270 w 209869"/>
                  <a:gd name="connsiteY17" fmla="*/ 249211 h 25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9869" h="252930">
                    <a:moveTo>
                      <a:pt x="145594" y="163695"/>
                    </a:moveTo>
                    <a:lnTo>
                      <a:pt x="105519" y="48779"/>
                    </a:lnTo>
                    <a:lnTo>
                      <a:pt x="104747" y="48779"/>
                    </a:lnTo>
                    <a:lnTo>
                      <a:pt x="64333" y="163695"/>
                    </a:lnTo>
                    <a:close/>
                    <a:moveTo>
                      <a:pt x="88659" y="3752"/>
                    </a:moveTo>
                    <a:cubicBezTo>
                      <a:pt x="89038" y="1571"/>
                      <a:pt x="90952" y="-8"/>
                      <a:pt x="93166" y="37"/>
                    </a:cubicBezTo>
                    <a:lnTo>
                      <a:pt x="117493" y="37"/>
                    </a:lnTo>
                    <a:cubicBezTo>
                      <a:pt x="119807" y="-79"/>
                      <a:pt x="121869" y="1490"/>
                      <a:pt x="122373" y="3752"/>
                    </a:cubicBezTo>
                    <a:lnTo>
                      <a:pt x="209621" y="249211"/>
                    </a:lnTo>
                    <a:cubicBezTo>
                      <a:pt x="210385" y="251693"/>
                      <a:pt x="209494" y="252953"/>
                      <a:pt x="207003" y="252953"/>
                    </a:cubicBezTo>
                    <a:lnTo>
                      <a:pt x="180788" y="252953"/>
                    </a:lnTo>
                    <a:cubicBezTo>
                      <a:pt x="178462" y="253091"/>
                      <a:pt x="176388" y="251495"/>
                      <a:pt x="175925" y="249211"/>
                    </a:cubicBezTo>
                    <a:lnTo>
                      <a:pt x="156432" y="194187"/>
                    </a:lnTo>
                    <a:lnTo>
                      <a:pt x="53465" y="194187"/>
                    </a:lnTo>
                    <a:lnTo>
                      <a:pt x="33984" y="249211"/>
                    </a:lnTo>
                    <a:cubicBezTo>
                      <a:pt x="33377" y="251410"/>
                      <a:pt x="31384" y="252938"/>
                      <a:pt x="29103" y="252953"/>
                    </a:cubicBezTo>
                    <a:lnTo>
                      <a:pt x="2889" y="252953"/>
                    </a:lnTo>
                    <a:cubicBezTo>
                      <a:pt x="389" y="252953"/>
                      <a:pt x="-461" y="251696"/>
                      <a:pt x="270" y="249211"/>
                    </a:cubicBezTo>
                    <a:close/>
                  </a:path>
                </a:pathLst>
              </a:custGeom>
              <a:solidFill>
                <a:schemeClr val="bg2"/>
              </a:solidFill>
              <a:ln w="2965" cap="flat">
                <a:noFill/>
                <a:prstDash val="solid"/>
                <a:miter/>
              </a:ln>
            </p:spPr>
            <p:txBody>
              <a:bodyPr rtlCol="0" anchor="ctr"/>
              <a:lstStyle/>
              <a:p>
                <a:endParaRPr lang="de-DE"/>
              </a:p>
            </p:txBody>
          </p:sp>
          <p:sp>
            <p:nvSpPr>
              <p:cNvPr id="40" name="Freeform: Shape 39">
                <a:extLst>
                  <a:ext uri="{FF2B5EF4-FFF2-40B4-BE49-F238E27FC236}">
                    <a16:creationId xmlns:a16="http://schemas.microsoft.com/office/drawing/2014/main" id="{2C0CAEDD-F83E-488E-B475-35F40D6A23F5}"/>
                  </a:ext>
                </a:extLst>
              </p:cNvPr>
              <p:cNvSpPr/>
              <p:nvPr/>
            </p:nvSpPr>
            <p:spPr>
              <a:xfrm>
                <a:off x="10174298" y="6406895"/>
                <a:ext cx="183802" cy="261084"/>
              </a:xfrm>
              <a:custGeom>
                <a:avLst/>
                <a:gdLst>
                  <a:gd name="connsiteX0" fmla="*/ 91025 w 183802"/>
                  <a:gd name="connsiteY0" fmla="*/ 261108 h 261084"/>
                  <a:gd name="connsiteX1" fmla="*/ 64419 w 183802"/>
                  <a:gd name="connsiteY1" fmla="*/ 258507 h 261084"/>
                  <a:gd name="connsiteX2" fmla="*/ 39717 w 183802"/>
                  <a:gd name="connsiteY2" fmla="*/ 251638 h 261084"/>
                  <a:gd name="connsiteX3" fmla="*/ 18393 w 183802"/>
                  <a:gd name="connsiteY3" fmla="*/ 241588 h 261084"/>
                  <a:gd name="connsiteX4" fmla="*/ 1515 w 183802"/>
                  <a:gd name="connsiteY4" fmla="*/ 229496 h 261084"/>
                  <a:gd name="connsiteX5" fmla="*/ 922 w 183802"/>
                  <a:gd name="connsiteY5" fmla="*/ 224161 h 261084"/>
                  <a:gd name="connsiteX6" fmla="*/ 1141 w 183802"/>
                  <a:gd name="connsiteY6" fmla="*/ 223911 h 261084"/>
                  <a:gd name="connsiteX7" fmla="*/ 17602 w 183802"/>
                  <a:gd name="connsiteY7" fmla="*/ 204590 h 261084"/>
                  <a:gd name="connsiteX8" fmla="*/ 22373 w 183802"/>
                  <a:gd name="connsiteY8" fmla="*/ 203811 h 261084"/>
                  <a:gd name="connsiteX9" fmla="*/ 22840 w 183802"/>
                  <a:gd name="connsiteY9" fmla="*/ 204215 h 261084"/>
                  <a:gd name="connsiteX10" fmla="*/ 53569 w 183802"/>
                  <a:gd name="connsiteY10" fmla="*/ 222050 h 261084"/>
                  <a:gd name="connsiteX11" fmla="*/ 93998 w 183802"/>
                  <a:gd name="connsiteY11" fmla="*/ 230233 h 261084"/>
                  <a:gd name="connsiteX12" fmla="*/ 135390 w 183802"/>
                  <a:gd name="connsiteY12" fmla="*/ 218343 h 261084"/>
                  <a:gd name="connsiteX13" fmla="*/ 150178 w 183802"/>
                  <a:gd name="connsiteY13" fmla="*/ 187100 h 261084"/>
                  <a:gd name="connsiteX14" fmla="*/ 147577 w 183802"/>
                  <a:gd name="connsiteY14" fmla="*/ 172219 h 261084"/>
                  <a:gd name="connsiteX15" fmla="*/ 138760 w 183802"/>
                  <a:gd name="connsiteY15" fmla="*/ 160329 h 261084"/>
                  <a:gd name="connsiteX16" fmla="*/ 122468 w 183802"/>
                  <a:gd name="connsiteY16" fmla="*/ 151412 h 261084"/>
                  <a:gd name="connsiteX17" fmla="*/ 97018 w 183802"/>
                  <a:gd name="connsiteY17" fmla="*/ 145850 h 261084"/>
                  <a:gd name="connsiteX18" fmla="*/ 84281 w 183802"/>
                  <a:gd name="connsiteY18" fmla="*/ 143972 h 261084"/>
                  <a:gd name="connsiteX19" fmla="*/ 9362 w 183802"/>
                  <a:gd name="connsiteY19" fmla="*/ 74065 h 261084"/>
                  <a:gd name="connsiteX20" fmla="*/ 15180 w 183802"/>
                  <a:gd name="connsiteY20" fmla="*/ 43553 h 261084"/>
                  <a:gd name="connsiteX21" fmla="*/ 31855 w 183802"/>
                  <a:gd name="connsiteY21" fmla="*/ 20127 h 261084"/>
                  <a:gd name="connsiteX22" fmla="*/ 58069 w 183802"/>
                  <a:gd name="connsiteY22" fmla="*/ 5237 h 261084"/>
                  <a:gd name="connsiteX23" fmla="*/ 92512 w 183802"/>
                  <a:gd name="connsiteY23" fmla="*/ 50 h 261084"/>
                  <a:gd name="connsiteX24" fmla="*/ 135401 w 183802"/>
                  <a:gd name="connsiteY24" fmla="*/ 6545 h 261084"/>
                  <a:gd name="connsiteX25" fmla="*/ 170007 w 183802"/>
                  <a:gd name="connsiteY25" fmla="*/ 23488 h 261084"/>
                  <a:gd name="connsiteX26" fmla="*/ 171352 w 183802"/>
                  <a:gd name="connsiteY26" fmla="*/ 27913 h 261084"/>
                  <a:gd name="connsiteX27" fmla="*/ 170780 w 183802"/>
                  <a:gd name="connsiteY27" fmla="*/ 28684 h 261084"/>
                  <a:gd name="connsiteX28" fmla="*/ 158034 w 183802"/>
                  <a:gd name="connsiteY28" fmla="*/ 49135 h 261084"/>
                  <a:gd name="connsiteX29" fmla="*/ 152936 w 183802"/>
                  <a:gd name="connsiteY29" fmla="*/ 49997 h 261084"/>
                  <a:gd name="connsiteX30" fmla="*/ 152796 w 183802"/>
                  <a:gd name="connsiteY30" fmla="*/ 49893 h 261084"/>
                  <a:gd name="connsiteX31" fmla="*/ 122477 w 183802"/>
                  <a:gd name="connsiteY31" fmla="*/ 35575 h 261084"/>
                  <a:gd name="connsiteX32" fmla="*/ 91415 w 183802"/>
                  <a:gd name="connsiteY32" fmla="*/ 30932 h 261084"/>
                  <a:gd name="connsiteX33" fmla="*/ 55448 w 183802"/>
                  <a:gd name="connsiteY33" fmla="*/ 42266 h 261084"/>
                  <a:gd name="connsiteX34" fmla="*/ 43085 w 183802"/>
                  <a:gd name="connsiteY34" fmla="*/ 71815 h 261084"/>
                  <a:gd name="connsiteX35" fmla="*/ 55058 w 183802"/>
                  <a:gd name="connsiteY35" fmla="*/ 98047 h 261084"/>
                  <a:gd name="connsiteX36" fmla="*/ 96628 w 183802"/>
                  <a:gd name="connsiteY36" fmla="*/ 112366 h 261084"/>
                  <a:gd name="connsiteX37" fmla="*/ 109000 w 183802"/>
                  <a:gd name="connsiteY37" fmla="*/ 114211 h 261084"/>
                  <a:gd name="connsiteX38" fmla="*/ 165162 w 183802"/>
                  <a:gd name="connsiteY38" fmla="*/ 136505 h 261084"/>
                  <a:gd name="connsiteX39" fmla="*/ 183888 w 183802"/>
                  <a:gd name="connsiteY39" fmla="*/ 184870 h 261084"/>
                  <a:gd name="connsiteX40" fmla="*/ 178095 w 183802"/>
                  <a:gd name="connsiteY40" fmla="*/ 215555 h 261084"/>
                  <a:gd name="connsiteX41" fmla="*/ 160468 w 183802"/>
                  <a:gd name="connsiteY41" fmla="*/ 239543 h 261084"/>
                  <a:gd name="connsiteX42" fmla="*/ 131287 w 183802"/>
                  <a:gd name="connsiteY42" fmla="*/ 255324 h 261084"/>
                  <a:gd name="connsiteX43" fmla="*/ 91025 w 183802"/>
                  <a:gd name="connsiteY43" fmla="*/ 261108 h 26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3802" h="261084">
                    <a:moveTo>
                      <a:pt x="91025" y="261108"/>
                    </a:moveTo>
                    <a:cubicBezTo>
                      <a:pt x="82093" y="261111"/>
                      <a:pt x="73181" y="260239"/>
                      <a:pt x="64419" y="258507"/>
                    </a:cubicBezTo>
                    <a:cubicBezTo>
                      <a:pt x="56021" y="256856"/>
                      <a:pt x="47762" y="254559"/>
                      <a:pt x="39717" y="251638"/>
                    </a:cubicBezTo>
                    <a:cubicBezTo>
                      <a:pt x="32314" y="248954"/>
                      <a:pt x="25175" y="245589"/>
                      <a:pt x="18393" y="241588"/>
                    </a:cubicBezTo>
                    <a:cubicBezTo>
                      <a:pt x="12384" y="238121"/>
                      <a:pt x="6731" y="234071"/>
                      <a:pt x="1515" y="229496"/>
                    </a:cubicBezTo>
                    <a:cubicBezTo>
                      <a:pt x="-122" y="228186"/>
                      <a:pt x="-388" y="225798"/>
                      <a:pt x="922" y="224161"/>
                    </a:cubicBezTo>
                    <a:cubicBezTo>
                      <a:pt x="991" y="224074"/>
                      <a:pt x="1064" y="223991"/>
                      <a:pt x="1141" y="223911"/>
                    </a:cubicBezTo>
                    <a:lnTo>
                      <a:pt x="17602" y="204590"/>
                    </a:lnTo>
                    <a:cubicBezTo>
                      <a:pt x="18705" y="203057"/>
                      <a:pt x="20841" y="202708"/>
                      <a:pt x="22373" y="203811"/>
                    </a:cubicBezTo>
                    <a:cubicBezTo>
                      <a:pt x="22541" y="203931"/>
                      <a:pt x="22697" y="204066"/>
                      <a:pt x="22840" y="204215"/>
                    </a:cubicBezTo>
                    <a:cubicBezTo>
                      <a:pt x="32319" y="211389"/>
                      <a:pt x="42638" y="217378"/>
                      <a:pt x="53569" y="222050"/>
                    </a:cubicBezTo>
                    <a:cubicBezTo>
                      <a:pt x="66312" y="227614"/>
                      <a:pt x="80094" y="230403"/>
                      <a:pt x="93998" y="230233"/>
                    </a:cubicBezTo>
                    <a:cubicBezTo>
                      <a:pt x="111710" y="230233"/>
                      <a:pt x="125507" y="226270"/>
                      <a:pt x="135390" y="218343"/>
                    </a:cubicBezTo>
                    <a:cubicBezTo>
                      <a:pt x="145024" y="210886"/>
                      <a:pt x="150519" y="199278"/>
                      <a:pt x="150178" y="187100"/>
                    </a:cubicBezTo>
                    <a:cubicBezTo>
                      <a:pt x="150238" y="182021"/>
                      <a:pt x="149356" y="176976"/>
                      <a:pt x="147577" y="172219"/>
                    </a:cubicBezTo>
                    <a:cubicBezTo>
                      <a:pt x="145662" y="167591"/>
                      <a:pt x="142633" y="163506"/>
                      <a:pt x="138760" y="160329"/>
                    </a:cubicBezTo>
                    <a:cubicBezTo>
                      <a:pt x="133876" y="156453"/>
                      <a:pt x="128366" y="153437"/>
                      <a:pt x="122468" y="151412"/>
                    </a:cubicBezTo>
                    <a:cubicBezTo>
                      <a:pt x="114221" y="148605"/>
                      <a:pt x="105684" y="146740"/>
                      <a:pt x="97018" y="145850"/>
                    </a:cubicBezTo>
                    <a:lnTo>
                      <a:pt x="84281" y="143972"/>
                    </a:lnTo>
                    <a:cubicBezTo>
                      <a:pt x="34353" y="137276"/>
                      <a:pt x="9380" y="113974"/>
                      <a:pt x="9362" y="74065"/>
                    </a:cubicBezTo>
                    <a:cubicBezTo>
                      <a:pt x="9220" y="63606"/>
                      <a:pt x="11199" y="53226"/>
                      <a:pt x="15180" y="43553"/>
                    </a:cubicBezTo>
                    <a:cubicBezTo>
                      <a:pt x="18901" y="34587"/>
                      <a:pt x="24602" y="26578"/>
                      <a:pt x="31855" y="20127"/>
                    </a:cubicBezTo>
                    <a:cubicBezTo>
                      <a:pt x="39496" y="13442"/>
                      <a:pt x="48414" y="8377"/>
                      <a:pt x="58069" y="5237"/>
                    </a:cubicBezTo>
                    <a:cubicBezTo>
                      <a:pt x="69191" y="1646"/>
                      <a:pt x="80825" y="-106"/>
                      <a:pt x="92512" y="50"/>
                    </a:cubicBezTo>
                    <a:cubicBezTo>
                      <a:pt x="107058" y="-10"/>
                      <a:pt x="121525" y="2181"/>
                      <a:pt x="135401" y="6545"/>
                    </a:cubicBezTo>
                    <a:cubicBezTo>
                      <a:pt x="147774" y="10291"/>
                      <a:pt x="159460" y="16013"/>
                      <a:pt x="170007" y="23488"/>
                    </a:cubicBezTo>
                    <a:cubicBezTo>
                      <a:pt x="171600" y="24339"/>
                      <a:pt x="172202" y="26320"/>
                      <a:pt x="171352" y="27913"/>
                    </a:cubicBezTo>
                    <a:cubicBezTo>
                      <a:pt x="171200" y="28197"/>
                      <a:pt x="171007" y="28457"/>
                      <a:pt x="170780" y="28684"/>
                    </a:cubicBezTo>
                    <a:lnTo>
                      <a:pt x="158034" y="49135"/>
                    </a:lnTo>
                    <a:cubicBezTo>
                      <a:pt x="156864" y="50781"/>
                      <a:pt x="154582" y="51167"/>
                      <a:pt x="152936" y="49997"/>
                    </a:cubicBezTo>
                    <a:cubicBezTo>
                      <a:pt x="152888" y="49963"/>
                      <a:pt x="152842" y="49929"/>
                      <a:pt x="152796" y="49893"/>
                    </a:cubicBezTo>
                    <a:cubicBezTo>
                      <a:pt x="143314" y="43897"/>
                      <a:pt x="133131" y="39089"/>
                      <a:pt x="122477" y="35575"/>
                    </a:cubicBezTo>
                    <a:cubicBezTo>
                      <a:pt x="112425" y="32433"/>
                      <a:pt x="101946" y="30867"/>
                      <a:pt x="91415" y="30932"/>
                    </a:cubicBezTo>
                    <a:cubicBezTo>
                      <a:pt x="75658" y="30932"/>
                      <a:pt x="63670" y="34710"/>
                      <a:pt x="55448" y="42266"/>
                    </a:cubicBezTo>
                    <a:cubicBezTo>
                      <a:pt x="47206" y="49835"/>
                      <a:pt x="42689" y="60632"/>
                      <a:pt x="43085" y="71815"/>
                    </a:cubicBezTo>
                    <a:cubicBezTo>
                      <a:pt x="42826" y="81936"/>
                      <a:pt x="47243" y="91612"/>
                      <a:pt x="55058" y="98047"/>
                    </a:cubicBezTo>
                    <a:cubicBezTo>
                      <a:pt x="63034" y="104848"/>
                      <a:pt x="76891" y="109621"/>
                      <a:pt x="96628" y="112366"/>
                    </a:cubicBezTo>
                    <a:lnTo>
                      <a:pt x="109000" y="114211"/>
                    </a:lnTo>
                    <a:cubicBezTo>
                      <a:pt x="133939" y="117681"/>
                      <a:pt x="152660" y="125112"/>
                      <a:pt x="165162" y="136505"/>
                    </a:cubicBezTo>
                    <a:cubicBezTo>
                      <a:pt x="177664" y="147898"/>
                      <a:pt x="183906" y="164019"/>
                      <a:pt x="183888" y="184870"/>
                    </a:cubicBezTo>
                    <a:cubicBezTo>
                      <a:pt x="184003" y="195381"/>
                      <a:pt x="182034" y="205810"/>
                      <a:pt x="178095" y="215555"/>
                    </a:cubicBezTo>
                    <a:cubicBezTo>
                      <a:pt x="174222" y="224845"/>
                      <a:pt x="168177" y="233071"/>
                      <a:pt x="160468" y="239543"/>
                    </a:cubicBezTo>
                    <a:cubicBezTo>
                      <a:pt x="151855" y="246643"/>
                      <a:pt x="141944" y="252002"/>
                      <a:pt x="131287" y="255324"/>
                    </a:cubicBezTo>
                    <a:cubicBezTo>
                      <a:pt x="118260" y="259380"/>
                      <a:pt x="104668" y="261333"/>
                      <a:pt x="91025" y="261108"/>
                    </a:cubicBezTo>
                  </a:path>
                </a:pathLst>
              </a:custGeom>
              <a:solidFill>
                <a:schemeClr val="bg2"/>
              </a:solidFill>
              <a:ln w="2965" cap="flat">
                <a:noFill/>
                <a:prstDash val="solid"/>
                <a:miter/>
              </a:ln>
            </p:spPr>
            <p:txBody>
              <a:bodyPr rtlCol="0" anchor="ctr"/>
              <a:lstStyle/>
              <a:p>
                <a:endParaRPr lang="de-DE"/>
              </a:p>
            </p:txBody>
          </p:sp>
          <p:sp>
            <p:nvSpPr>
              <p:cNvPr id="41" name="Freeform: Shape 40">
                <a:extLst>
                  <a:ext uri="{FF2B5EF4-FFF2-40B4-BE49-F238E27FC236}">
                    <a16:creationId xmlns:a16="http://schemas.microsoft.com/office/drawing/2014/main" id="{74DC77D4-23A3-4D40-82CC-7BA00FA04548}"/>
                  </a:ext>
                </a:extLst>
              </p:cNvPr>
              <p:cNvSpPr/>
              <p:nvPr/>
            </p:nvSpPr>
            <p:spPr>
              <a:xfrm>
                <a:off x="10409366" y="6410944"/>
                <a:ext cx="179430" cy="252966"/>
              </a:xfrm>
              <a:custGeom>
                <a:avLst/>
                <a:gdLst>
                  <a:gd name="connsiteX0" fmla="*/ 33876 w 179430"/>
                  <a:gd name="connsiteY0" fmla="*/ 219859 h 252966"/>
                  <a:gd name="connsiteX1" fmla="*/ 35607 w 179430"/>
                  <a:gd name="connsiteY1" fmla="*/ 222107 h 252966"/>
                  <a:gd name="connsiteX2" fmla="*/ 36156 w 179430"/>
                  <a:gd name="connsiteY2" fmla="*/ 222103 h 252966"/>
                  <a:gd name="connsiteX3" fmla="*/ 82824 w 179430"/>
                  <a:gd name="connsiteY3" fmla="*/ 222103 h 252966"/>
                  <a:gd name="connsiteX4" fmla="*/ 120134 w 179430"/>
                  <a:gd name="connsiteY4" fmla="*/ 214110 h 252966"/>
                  <a:gd name="connsiteX5" fmla="*/ 140644 w 179430"/>
                  <a:gd name="connsiteY5" fmla="*/ 187512 h 252966"/>
                  <a:gd name="connsiteX6" fmla="*/ 142871 w 179430"/>
                  <a:gd name="connsiteY6" fmla="*/ 179698 h 252966"/>
                  <a:gd name="connsiteX7" fmla="*/ 144571 w 179430"/>
                  <a:gd name="connsiteY7" fmla="*/ 168355 h 252966"/>
                  <a:gd name="connsiteX8" fmla="*/ 145489 w 179430"/>
                  <a:gd name="connsiteY8" fmla="*/ 151441 h 252966"/>
                  <a:gd name="connsiteX9" fmla="*/ 145882 w 179430"/>
                  <a:gd name="connsiteY9" fmla="*/ 126529 h 252966"/>
                  <a:gd name="connsiteX10" fmla="*/ 145489 w 179430"/>
                  <a:gd name="connsiteY10" fmla="*/ 101599 h 252966"/>
                  <a:gd name="connsiteX11" fmla="*/ 144571 w 179430"/>
                  <a:gd name="connsiteY11" fmla="*/ 84676 h 252966"/>
                  <a:gd name="connsiteX12" fmla="*/ 142865 w 179430"/>
                  <a:gd name="connsiteY12" fmla="*/ 73339 h 252966"/>
                  <a:gd name="connsiteX13" fmla="*/ 140638 w 179430"/>
                  <a:gd name="connsiteY13" fmla="*/ 65525 h 252966"/>
                  <a:gd name="connsiteX14" fmla="*/ 120128 w 179430"/>
                  <a:gd name="connsiteY14" fmla="*/ 38927 h 252966"/>
                  <a:gd name="connsiteX15" fmla="*/ 82818 w 179430"/>
                  <a:gd name="connsiteY15" fmla="*/ 30934 h 252966"/>
                  <a:gd name="connsiteX16" fmla="*/ 36153 w 179430"/>
                  <a:gd name="connsiteY16" fmla="*/ 30934 h 252966"/>
                  <a:gd name="connsiteX17" fmla="*/ 33877 w 179430"/>
                  <a:gd name="connsiteY17" fmla="*/ 32636 h 252966"/>
                  <a:gd name="connsiteX18" fmla="*/ 33873 w 179430"/>
                  <a:gd name="connsiteY18" fmla="*/ 33178 h 252966"/>
                  <a:gd name="connsiteX19" fmla="*/ 195 w 179430"/>
                  <a:gd name="connsiteY19" fmla="*/ 3783 h 252966"/>
                  <a:gd name="connsiteX20" fmla="*/ 2998 w 179430"/>
                  <a:gd name="connsiteY20" fmla="*/ 69 h 252966"/>
                  <a:gd name="connsiteX21" fmla="*/ 3943 w 179430"/>
                  <a:gd name="connsiteY21" fmla="*/ 74 h 252966"/>
                  <a:gd name="connsiteX22" fmla="*/ 89705 w 179430"/>
                  <a:gd name="connsiteY22" fmla="*/ 74 h 252966"/>
                  <a:gd name="connsiteX23" fmla="*/ 172821 w 179430"/>
                  <a:gd name="connsiteY23" fmla="*/ 54001 h 252966"/>
                  <a:gd name="connsiteX24" fmla="*/ 175669 w 179430"/>
                  <a:gd name="connsiteY24" fmla="*/ 64782 h 252966"/>
                  <a:gd name="connsiteX25" fmla="*/ 177889 w 179430"/>
                  <a:gd name="connsiteY25" fmla="*/ 78538 h 252966"/>
                  <a:gd name="connsiteX26" fmla="*/ 179200 w 179430"/>
                  <a:gd name="connsiteY26" fmla="*/ 98249 h 252966"/>
                  <a:gd name="connsiteX27" fmla="*/ 179593 w 179430"/>
                  <a:gd name="connsiteY27" fmla="*/ 126529 h 252966"/>
                  <a:gd name="connsiteX28" fmla="*/ 179200 w 179430"/>
                  <a:gd name="connsiteY28" fmla="*/ 154794 h 252966"/>
                  <a:gd name="connsiteX29" fmla="*/ 177889 w 179430"/>
                  <a:gd name="connsiteY29" fmla="*/ 174505 h 252966"/>
                  <a:gd name="connsiteX30" fmla="*/ 175669 w 179430"/>
                  <a:gd name="connsiteY30" fmla="*/ 188270 h 252966"/>
                  <a:gd name="connsiteX31" fmla="*/ 172821 w 179430"/>
                  <a:gd name="connsiteY31" fmla="*/ 199043 h 252966"/>
                  <a:gd name="connsiteX32" fmla="*/ 89705 w 179430"/>
                  <a:gd name="connsiteY32" fmla="*/ 252969 h 252966"/>
                  <a:gd name="connsiteX33" fmla="*/ 3943 w 179430"/>
                  <a:gd name="connsiteY33" fmla="*/ 252969 h 252966"/>
                  <a:gd name="connsiteX34" fmla="*/ 201 w 179430"/>
                  <a:gd name="connsiteY34" fmla="*/ 250175 h 252966"/>
                  <a:gd name="connsiteX35" fmla="*/ 201 w 179430"/>
                  <a:gd name="connsiteY35" fmla="*/ 249227 h 25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79430" h="252966">
                    <a:moveTo>
                      <a:pt x="33876" y="219859"/>
                    </a:moveTo>
                    <a:cubicBezTo>
                      <a:pt x="33733" y="220958"/>
                      <a:pt x="34508" y="221965"/>
                      <a:pt x="35607" y="222107"/>
                    </a:cubicBezTo>
                    <a:cubicBezTo>
                      <a:pt x="35789" y="222131"/>
                      <a:pt x="35974" y="222129"/>
                      <a:pt x="36156" y="222103"/>
                    </a:cubicBezTo>
                    <a:lnTo>
                      <a:pt x="82824" y="222103"/>
                    </a:lnTo>
                    <a:cubicBezTo>
                      <a:pt x="98221" y="222103"/>
                      <a:pt x="110697" y="219428"/>
                      <a:pt x="120134" y="214110"/>
                    </a:cubicBezTo>
                    <a:cubicBezTo>
                      <a:pt x="129572" y="208792"/>
                      <a:pt x="136408" y="199911"/>
                      <a:pt x="140644" y="187512"/>
                    </a:cubicBezTo>
                    <a:cubicBezTo>
                      <a:pt x="141408" y="185277"/>
                      <a:pt x="142098" y="182682"/>
                      <a:pt x="142871" y="179698"/>
                    </a:cubicBezTo>
                    <a:cubicBezTo>
                      <a:pt x="143742" y="175969"/>
                      <a:pt x="144310" y="172175"/>
                      <a:pt x="144571" y="168355"/>
                    </a:cubicBezTo>
                    <a:cubicBezTo>
                      <a:pt x="144945" y="163781"/>
                      <a:pt x="145252" y="158143"/>
                      <a:pt x="145489" y="151441"/>
                    </a:cubicBezTo>
                    <a:cubicBezTo>
                      <a:pt x="145718" y="144732"/>
                      <a:pt x="145882" y="136433"/>
                      <a:pt x="145882" y="126529"/>
                    </a:cubicBezTo>
                    <a:cubicBezTo>
                      <a:pt x="145882" y="116625"/>
                      <a:pt x="145721" y="108308"/>
                      <a:pt x="145489" y="101599"/>
                    </a:cubicBezTo>
                    <a:cubicBezTo>
                      <a:pt x="145258" y="94890"/>
                      <a:pt x="144945" y="89269"/>
                      <a:pt x="144571" y="84676"/>
                    </a:cubicBezTo>
                    <a:cubicBezTo>
                      <a:pt x="144308" y="80858"/>
                      <a:pt x="143737" y="77066"/>
                      <a:pt x="142865" y="73339"/>
                    </a:cubicBezTo>
                    <a:cubicBezTo>
                      <a:pt x="142092" y="70367"/>
                      <a:pt x="141402" y="67760"/>
                      <a:pt x="140638" y="65525"/>
                    </a:cubicBezTo>
                    <a:cubicBezTo>
                      <a:pt x="136396" y="53128"/>
                      <a:pt x="129559" y="44262"/>
                      <a:pt x="120128" y="38927"/>
                    </a:cubicBezTo>
                    <a:cubicBezTo>
                      <a:pt x="110691" y="33594"/>
                      <a:pt x="98215" y="30934"/>
                      <a:pt x="82818" y="30934"/>
                    </a:cubicBezTo>
                    <a:lnTo>
                      <a:pt x="36153" y="30934"/>
                    </a:lnTo>
                    <a:cubicBezTo>
                      <a:pt x="35054" y="30776"/>
                      <a:pt x="34035" y="31538"/>
                      <a:pt x="33877" y="32636"/>
                    </a:cubicBezTo>
                    <a:cubicBezTo>
                      <a:pt x="33851" y="32816"/>
                      <a:pt x="33850" y="32998"/>
                      <a:pt x="33873" y="33178"/>
                    </a:cubicBezTo>
                    <a:close/>
                    <a:moveTo>
                      <a:pt x="195" y="3783"/>
                    </a:moveTo>
                    <a:cubicBezTo>
                      <a:pt x="-57" y="1984"/>
                      <a:pt x="1198" y="321"/>
                      <a:pt x="2998" y="69"/>
                    </a:cubicBezTo>
                    <a:cubicBezTo>
                      <a:pt x="3311" y="25"/>
                      <a:pt x="3630" y="27"/>
                      <a:pt x="3943" y="74"/>
                    </a:cubicBezTo>
                    <a:lnTo>
                      <a:pt x="89705" y="74"/>
                    </a:lnTo>
                    <a:cubicBezTo>
                      <a:pt x="133402" y="74"/>
                      <a:pt x="161108" y="18049"/>
                      <a:pt x="172821" y="54001"/>
                    </a:cubicBezTo>
                    <a:cubicBezTo>
                      <a:pt x="173817" y="57478"/>
                      <a:pt x="174736" y="61075"/>
                      <a:pt x="175669" y="64782"/>
                    </a:cubicBezTo>
                    <a:cubicBezTo>
                      <a:pt x="176665" y="69322"/>
                      <a:pt x="177406" y="73915"/>
                      <a:pt x="177889" y="78538"/>
                    </a:cubicBezTo>
                    <a:cubicBezTo>
                      <a:pt x="178511" y="84005"/>
                      <a:pt x="178968" y="90571"/>
                      <a:pt x="179200" y="98249"/>
                    </a:cubicBezTo>
                    <a:cubicBezTo>
                      <a:pt x="179432" y="105927"/>
                      <a:pt x="179593" y="115349"/>
                      <a:pt x="179593" y="126529"/>
                    </a:cubicBezTo>
                    <a:cubicBezTo>
                      <a:pt x="179593" y="137708"/>
                      <a:pt x="179432" y="147113"/>
                      <a:pt x="179200" y="154794"/>
                    </a:cubicBezTo>
                    <a:cubicBezTo>
                      <a:pt x="178968" y="162475"/>
                      <a:pt x="178511" y="169062"/>
                      <a:pt x="177889" y="174505"/>
                    </a:cubicBezTo>
                    <a:cubicBezTo>
                      <a:pt x="177405" y="179131"/>
                      <a:pt x="176664" y="183727"/>
                      <a:pt x="175669" y="188270"/>
                    </a:cubicBezTo>
                    <a:cubicBezTo>
                      <a:pt x="174733" y="191968"/>
                      <a:pt x="173814" y="195559"/>
                      <a:pt x="172821" y="199043"/>
                    </a:cubicBezTo>
                    <a:cubicBezTo>
                      <a:pt x="161114" y="235001"/>
                      <a:pt x="133408" y="252977"/>
                      <a:pt x="89705" y="252969"/>
                    </a:cubicBezTo>
                    <a:lnTo>
                      <a:pt x="3943" y="252969"/>
                    </a:lnTo>
                    <a:cubicBezTo>
                      <a:pt x="2138" y="253231"/>
                      <a:pt x="462" y="251980"/>
                      <a:pt x="201" y="250175"/>
                    </a:cubicBezTo>
                    <a:cubicBezTo>
                      <a:pt x="155" y="249861"/>
                      <a:pt x="155" y="249541"/>
                      <a:pt x="201" y="249227"/>
                    </a:cubicBezTo>
                    <a:close/>
                  </a:path>
                </a:pathLst>
              </a:custGeom>
              <a:solidFill>
                <a:schemeClr val="bg2"/>
              </a:solidFill>
              <a:ln w="2965" cap="flat">
                <a:noFill/>
                <a:prstDash val="solid"/>
                <a:miter/>
              </a:ln>
            </p:spPr>
            <p:txBody>
              <a:bodyPr rtlCol="0" anchor="ctr"/>
              <a:lstStyle/>
              <a:p>
                <a:endParaRPr lang="de-DE"/>
              </a:p>
            </p:txBody>
          </p:sp>
          <p:sp>
            <p:nvSpPr>
              <p:cNvPr id="42" name="Freeform: Shape 41">
                <a:extLst>
                  <a:ext uri="{FF2B5EF4-FFF2-40B4-BE49-F238E27FC236}">
                    <a16:creationId xmlns:a16="http://schemas.microsoft.com/office/drawing/2014/main" id="{94D1B4BC-6FAE-4A47-9076-EFA896B12A3D}"/>
                  </a:ext>
                </a:extLst>
              </p:cNvPr>
              <p:cNvSpPr/>
              <p:nvPr/>
            </p:nvSpPr>
            <p:spPr>
              <a:xfrm>
                <a:off x="10669891" y="6379293"/>
                <a:ext cx="15902" cy="316256"/>
              </a:xfrm>
              <a:custGeom>
                <a:avLst/>
                <a:gdLst>
                  <a:gd name="connsiteX0" fmla="*/ 8199 w 15902"/>
                  <a:gd name="connsiteY0" fmla="*/ 316295 h 316256"/>
                  <a:gd name="connsiteX1" fmla="*/ 247 w 15902"/>
                  <a:gd name="connsiteY1" fmla="*/ 308355 h 316256"/>
                  <a:gd name="connsiteX2" fmla="*/ 247 w 15902"/>
                  <a:gd name="connsiteY2" fmla="*/ 7980 h 316256"/>
                  <a:gd name="connsiteX3" fmla="*/ 8199 w 15902"/>
                  <a:gd name="connsiteY3" fmla="*/ 38 h 316256"/>
                  <a:gd name="connsiteX4" fmla="*/ 16150 w 15902"/>
                  <a:gd name="connsiteY4" fmla="*/ 7980 h 316256"/>
                  <a:gd name="connsiteX5" fmla="*/ 16150 w 15902"/>
                  <a:gd name="connsiteY5" fmla="*/ 308355 h 316256"/>
                  <a:gd name="connsiteX6" fmla="*/ 8199 w 15902"/>
                  <a:gd name="connsiteY6" fmla="*/ 316295 h 31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02" h="316256">
                    <a:moveTo>
                      <a:pt x="8199" y="316295"/>
                    </a:moveTo>
                    <a:cubicBezTo>
                      <a:pt x="3812" y="316293"/>
                      <a:pt x="255" y="312741"/>
                      <a:pt x="247" y="308355"/>
                    </a:cubicBezTo>
                    <a:lnTo>
                      <a:pt x="247" y="7980"/>
                    </a:lnTo>
                    <a:cubicBezTo>
                      <a:pt x="250" y="3592"/>
                      <a:pt x="3810" y="36"/>
                      <a:pt x="8199" y="38"/>
                    </a:cubicBezTo>
                    <a:cubicBezTo>
                      <a:pt x="12587" y="36"/>
                      <a:pt x="16147" y="3592"/>
                      <a:pt x="16150" y="7980"/>
                    </a:cubicBezTo>
                    <a:lnTo>
                      <a:pt x="16150" y="308355"/>
                    </a:lnTo>
                    <a:cubicBezTo>
                      <a:pt x="16142" y="312741"/>
                      <a:pt x="12585" y="316293"/>
                      <a:pt x="8199" y="316295"/>
                    </a:cubicBezTo>
                  </a:path>
                </a:pathLst>
              </a:custGeom>
              <a:solidFill>
                <a:schemeClr val="bg2"/>
              </a:solidFill>
              <a:ln w="2965" cap="flat">
                <a:noFill/>
                <a:prstDash val="solid"/>
                <a:miter/>
              </a:ln>
            </p:spPr>
            <p:txBody>
              <a:bodyPr rtlCol="0" anchor="ctr"/>
              <a:lstStyle/>
              <a:p>
                <a:endParaRPr lang="de-DE"/>
              </a:p>
            </p:txBody>
          </p:sp>
        </p:grpSp>
        <p:sp>
          <p:nvSpPr>
            <p:cNvPr id="43" name="Freeform: Shape 42">
              <a:extLst>
                <a:ext uri="{FF2B5EF4-FFF2-40B4-BE49-F238E27FC236}">
                  <a16:creationId xmlns:a16="http://schemas.microsoft.com/office/drawing/2014/main" id="{2EAD8182-B5C0-42D2-A144-34CB49618297}"/>
                </a:ext>
              </a:extLst>
            </p:cNvPr>
            <p:cNvSpPr/>
            <p:nvPr/>
          </p:nvSpPr>
          <p:spPr>
            <a:xfrm>
              <a:off x="10773834" y="6408721"/>
              <a:ext cx="1075613" cy="93936"/>
            </a:xfrm>
            <a:custGeom>
              <a:avLst/>
              <a:gdLst>
                <a:gd name="connsiteX0" fmla="*/ 28649 w 1075613"/>
                <a:gd name="connsiteY0" fmla="*/ 92452 h 93936"/>
                <a:gd name="connsiteX1" fmla="*/ 27311 w 1075613"/>
                <a:gd name="connsiteY1" fmla="*/ 91433 h 93936"/>
                <a:gd name="connsiteX2" fmla="*/ 27311 w 1075613"/>
                <a:gd name="connsiteY2" fmla="*/ 91114 h 93936"/>
                <a:gd name="connsiteX3" fmla="*/ 27311 w 1075613"/>
                <a:gd name="connsiteY3" fmla="*/ 13384 h 93936"/>
                <a:gd name="connsiteX4" fmla="*/ 26706 w 1075613"/>
                <a:gd name="connsiteY4" fmla="*/ 12581 h 93936"/>
                <a:gd name="connsiteX5" fmla="*/ 26508 w 1075613"/>
                <a:gd name="connsiteY5" fmla="*/ 12581 h 93936"/>
                <a:gd name="connsiteX6" fmla="*/ 1629 w 1075613"/>
                <a:gd name="connsiteY6" fmla="*/ 12581 h 93936"/>
                <a:gd name="connsiteX7" fmla="*/ 291 w 1075613"/>
                <a:gd name="connsiteY7" fmla="*/ 11563 h 93936"/>
                <a:gd name="connsiteX8" fmla="*/ 291 w 1075613"/>
                <a:gd name="connsiteY8" fmla="*/ 11244 h 93936"/>
                <a:gd name="connsiteX9" fmla="*/ 291 w 1075613"/>
                <a:gd name="connsiteY9" fmla="*/ 2832 h 93936"/>
                <a:gd name="connsiteX10" fmla="*/ 1310 w 1075613"/>
                <a:gd name="connsiteY10" fmla="*/ 1494 h 93936"/>
                <a:gd name="connsiteX11" fmla="*/ 1629 w 1075613"/>
                <a:gd name="connsiteY11" fmla="*/ 1494 h 93936"/>
                <a:gd name="connsiteX12" fmla="*/ 64898 w 1075613"/>
                <a:gd name="connsiteY12" fmla="*/ 1494 h 93936"/>
                <a:gd name="connsiteX13" fmla="*/ 66235 w 1075613"/>
                <a:gd name="connsiteY13" fmla="*/ 2513 h 93936"/>
                <a:gd name="connsiteX14" fmla="*/ 66235 w 1075613"/>
                <a:gd name="connsiteY14" fmla="*/ 2832 h 93936"/>
                <a:gd name="connsiteX15" fmla="*/ 66235 w 1075613"/>
                <a:gd name="connsiteY15" fmla="*/ 11259 h 93936"/>
                <a:gd name="connsiteX16" fmla="*/ 65217 w 1075613"/>
                <a:gd name="connsiteY16" fmla="*/ 12596 h 93936"/>
                <a:gd name="connsiteX17" fmla="*/ 64898 w 1075613"/>
                <a:gd name="connsiteY17" fmla="*/ 12596 h 93936"/>
                <a:gd name="connsiteX18" fmla="*/ 40018 w 1075613"/>
                <a:gd name="connsiteY18" fmla="*/ 12596 h 93936"/>
                <a:gd name="connsiteX19" fmla="*/ 39216 w 1075613"/>
                <a:gd name="connsiteY19" fmla="*/ 13201 h 93936"/>
                <a:gd name="connsiteX20" fmla="*/ 39216 w 1075613"/>
                <a:gd name="connsiteY20" fmla="*/ 13399 h 93936"/>
                <a:gd name="connsiteX21" fmla="*/ 39216 w 1075613"/>
                <a:gd name="connsiteY21" fmla="*/ 91114 h 93936"/>
                <a:gd name="connsiteX22" fmla="*/ 38197 w 1075613"/>
                <a:gd name="connsiteY22" fmla="*/ 92452 h 93936"/>
                <a:gd name="connsiteX23" fmla="*/ 37878 w 1075613"/>
                <a:gd name="connsiteY23" fmla="*/ 92452 h 93936"/>
                <a:gd name="connsiteX24" fmla="*/ 133116 w 1075613"/>
                <a:gd name="connsiteY24" fmla="*/ 92452 h 93936"/>
                <a:gd name="connsiteX25" fmla="*/ 131377 w 1075613"/>
                <a:gd name="connsiteY25" fmla="*/ 91114 h 93936"/>
                <a:gd name="connsiteX26" fmla="*/ 113186 w 1075613"/>
                <a:gd name="connsiteY26" fmla="*/ 53929 h 93936"/>
                <a:gd name="connsiteX27" fmla="*/ 93122 w 1075613"/>
                <a:gd name="connsiteY27" fmla="*/ 53929 h 93936"/>
                <a:gd name="connsiteX28" fmla="*/ 92319 w 1075613"/>
                <a:gd name="connsiteY28" fmla="*/ 54533 h 93936"/>
                <a:gd name="connsiteX29" fmla="*/ 92319 w 1075613"/>
                <a:gd name="connsiteY29" fmla="*/ 54731 h 93936"/>
                <a:gd name="connsiteX30" fmla="*/ 92319 w 1075613"/>
                <a:gd name="connsiteY30" fmla="*/ 91114 h 93936"/>
                <a:gd name="connsiteX31" fmla="*/ 91300 w 1075613"/>
                <a:gd name="connsiteY31" fmla="*/ 92452 h 93936"/>
                <a:gd name="connsiteX32" fmla="*/ 90981 w 1075613"/>
                <a:gd name="connsiteY32" fmla="*/ 92452 h 93936"/>
                <a:gd name="connsiteX33" fmla="*/ 81767 w 1075613"/>
                <a:gd name="connsiteY33" fmla="*/ 92452 h 93936"/>
                <a:gd name="connsiteX34" fmla="*/ 80429 w 1075613"/>
                <a:gd name="connsiteY34" fmla="*/ 91433 h 93936"/>
                <a:gd name="connsiteX35" fmla="*/ 80429 w 1075613"/>
                <a:gd name="connsiteY35" fmla="*/ 91114 h 93936"/>
                <a:gd name="connsiteX36" fmla="*/ 80429 w 1075613"/>
                <a:gd name="connsiteY36" fmla="*/ 2832 h 93936"/>
                <a:gd name="connsiteX37" fmla="*/ 81448 w 1075613"/>
                <a:gd name="connsiteY37" fmla="*/ 1494 h 93936"/>
                <a:gd name="connsiteX38" fmla="*/ 81767 w 1075613"/>
                <a:gd name="connsiteY38" fmla="*/ 1494 h 93936"/>
                <a:gd name="connsiteX39" fmla="*/ 114672 w 1075613"/>
                <a:gd name="connsiteY39" fmla="*/ 1494 h 93936"/>
                <a:gd name="connsiteX40" fmla="*/ 126309 w 1075613"/>
                <a:gd name="connsiteY40" fmla="*/ 3367 h 93936"/>
                <a:gd name="connsiteX41" fmla="*/ 135271 w 1075613"/>
                <a:gd name="connsiteY41" fmla="*/ 8649 h 93936"/>
                <a:gd name="connsiteX42" fmla="*/ 141077 w 1075613"/>
                <a:gd name="connsiteY42" fmla="*/ 16951 h 93936"/>
                <a:gd name="connsiteX43" fmla="*/ 143157 w 1075613"/>
                <a:gd name="connsiteY43" fmla="*/ 27717 h 93936"/>
                <a:gd name="connsiteX44" fmla="*/ 138342 w 1075613"/>
                <a:gd name="connsiteY44" fmla="*/ 43367 h 93936"/>
                <a:gd name="connsiteX45" fmla="*/ 125233 w 1075613"/>
                <a:gd name="connsiteY45" fmla="*/ 52463 h 93936"/>
                <a:gd name="connsiteX46" fmla="*/ 144620 w 1075613"/>
                <a:gd name="connsiteY46" fmla="*/ 90847 h 93936"/>
                <a:gd name="connsiteX47" fmla="*/ 144753 w 1075613"/>
                <a:gd name="connsiteY47" fmla="*/ 91982 h 93936"/>
                <a:gd name="connsiteX48" fmla="*/ 143817 w 1075613"/>
                <a:gd name="connsiteY48" fmla="*/ 92452 h 93936"/>
                <a:gd name="connsiteX49" fmla="*/ 114390 w 1075613"/>
                <a:gd name="connsiteY49" fmla="*/ 42826 h 93936"/>
                <a:gd name="connsiteX50" fmla="*/ 126829 w 1075613"/>
                <a:gd name="connsiteY50" fmla="*/ 38882 h 93936"/>
                <a:gd name="connsiteX51" fmla="*/ 131244 w 1075613"/>
                <a:gd name="connsiteY51" fmla="*/ 27711 h 93936"/>
                <a:gd name="connsiteX52" fmla="*/ 126829 w 1075613"/>
                <a:gd name="connsiteY52" fmla="*/ 16541 h 93936"/>
                <a:gd name="connsiteX53" fmla="*/ 114390 w 1075613"/>
                <a:gd name="connsiteY53" fmla="*/ 12596 h 93936"/>
                <a:gd name="connsiteX54" fmla="*/ 93122 w 1075613"/>
                <a:gd name="connsiteY54" fmla="*/ 12596 h 93936"/>
                <a:gd name="connsiteX55" fmla="*/ 92319 w 1075613"/>
                <a:gd name="connsiteY55" fmla="*/ 13201 h 93936"/>
                <a:gd name="connsiteX56" fmla="*/ 92319 w 1075613"/>
                <a:gd name="connsiteY56" fmla="*/ 13399 h 93936"/>
                <a:gd name="connsiteX57" fmla="*/ 92319 w 1075613"/>
                <a:gd name="connsiteY57" fmla="*/ 42024 h 93936"/>
                <a:gd name="connsiteX58" fmla="*/ 92923 w 1075613"/>
                <a:gd name="connsiteY58" fmla="*/ 42826 h 93936"/>
                <a:gd name="connsiteX59" fmla="*/ 93122 w 1075613"/>
                <a:gd name="connsiteY59" fmla="*/ 42826 h 93936"/>
                <a:gd name="connsiteX60" fmla="*/ 186487 w 1075613"/>
                <a:gd name="connsiteY60" fmla="*/ 2832 h 93936"/>
                <a:gd name="connsiteX61" fmla="*/ 188092 w 1075613"/>
                <a:gd name="connsiteY61" fmla="*/ 1494 h 93936"/>
                <a:gd name="connsiteX62" fmla="*/ 196802 w 1075613"/>
                <a:gd name="connsiteY62" fmla="*/ 1494 h 93936"/>
                <a:gd name="connsiteX63" fmla="*/ 198540 w 1075613"/>
                <a:gd name="connsiteY63" fmla="*/ 2832 h 93936"/>
                <a:gd name="connsiteX64" fmla="*/ 229707 w 1075613"/>
                <a:gd name="connsiteY64" fmla="*/ 91114 h 93936"/>
                <a:gd name="connsiteX65" fmla="*/ 228771 w 1075613"/>
                <a:gd name="connsiteY65" fmla="*/ 92452 h 93936"/>
                <a:gd name="connsiteX66" fmla="*/ 219392 w 1075613"/>
                <a:gd name="connsiteY66" fmla="*/ 92452 h 93936"/>
                <a:gd name="connsiteX67" fmla="*/ 217654 w 1075613"/>
                <a:gd name="connsiteY67" fmla="*/ 91114 h 93936"/>
                <a:gd name="connsiteX68" fmla="*/ 210698 w 1075613"/>
                <a:gd name="connsiteY68" fmla="*/ 71318 h 93936"/>
                <a:gd name="connsiteX69" fmla="*/ 173914 w 1075613"/>
                <a:gd name="connsiteY69" fmla="*/ 71318 h 93936"/>
                <a:gd name="connsiteX70" fmla="*/ 166958 w 1075613"/>
                <a:gd name="connsiteY70" fmla="*/ 91114 h 93936"/>
                <a:gd name="connsiteX71" fmla="*/ 165219 w 1075613"/>
                <a:gd name="connsiteY71" fmla="*/ 92452 h 93936"/>
                <a:gd name="connsiteX72" fmla="*/ 155856 w 1075613"/>
                <a:gd name="connsiteY72" fmla="*/ 92452 h 93936"/>
                <a:gd name="connsiteX73" fmla="*/ 154919 w 1075613"/>
                <a:gd name="connsiteY73" fmla="*/ 91114 h 93936"/>
                <a:gd name="connsiteX74" fmla="*/ 206819 w 1075613"/>
                <a:gd name="connsiteY74" fmla="*/ 60349 h 93936"/>
                <a:gd name="connsiteX75" fmla="*/ 192506 w 1075613"/>
                <a:gd name="connsiteY75" fmla="*/ 19017 h 93936"/>
                <a:gd name="connsiteX76" fmla="*/ 192239 w 1075613"/>
                <a:gd name="connsiteY76" fmla="*/ 19017 h 93936"/>
                <a:gd name="connsiteX77" fmla="*/ 177793 w 1075613"/>
                <a:gd name="connsiteY77" fmla="*/ 60349 h 93936"/>
                <a:gd name="connsiteX78" fmla="*/ 244138 w 1075613"/>
                <a:gd name="connsiteY78" fmla="*/ 2832 h 93936"/>
                <a:gd name="connsiteX79" fmla="*/ 245157 w 1075613"/>
                <a:gd name="connsiteY79" fmla="*/ 1494 h 93936"/>
                <a:gd name="connsiteX80" fmla="*/ 245476 w 1075613"/>
                <a:gd name="connsiteY80" fmla="*/ 1494 h 93936"/>
                <a:gd name="connsiteX81" fmla="*/ 254037 w 1075613"/>
                <a:gd name="connsiteY81" fmla="*/ 1494 h 93936"/>
                <a:gd name="connsiteX82" fmla="*/ 256311 w 1075613"/>
                <a:gd name="connsiteY82" fmla="*/ 2832 h 93936"/>
                <a:gd name="connsiteX83" fmla="*/ 297509 w 1075613"/>
                <a:gd name="connsiteY83" fmla="*/ 71050 h 93936"/>
                <a:gd name="connsiteX84" fmla="*/ 298044 w 1075613"/>
                <a:gd name="connsiteY84" fmla="*/ 71050 h 93936"/>
                <a:gd name="connsiteX85" fmla="*/ 298044 w 1075613"/>
                <a:gd name="connsiteY85" fmla="*/ 2832 h 93936"/>
                <a:gd name="connsiteX86" fmla="*/ 299064 w 1075613"/>
                <a:gd name="connsiteY86" fmla="*/ 1494 h 93936"/>
                <a:gd name="connsiteX87" fmla="*/ 299382 w 1075613"/>
                <a:gd name="connsiteY87" fmla="*/ 1494 h 93936"/>
                <a:gd name="connsiteX88" fmla="*/ 307809 w 1075613"/>
                <a:gd name="connsiteY88" fmla="*/ 1494 h 93936"/>
                <a:gd name="connsiteX89" fmla="*/ 309146 w 1075613"/>
                <a:gd name="connsiteY89" fmla="*/ 2513 h 93936"/>
                <a:gd name="connsiteX90" fmla="*/ 309146 w 1075613"/>
                <a:gd name="connsiteY90" fmla="*/ 2832 h 93936"/>
                <a:gd name="connsiteX91" fmla="*/ 309146 w 1075613"/>
                <a:gd name="connsiteY91" fmla="*/ 91114 h 93936"/>
                <a:gd name="connsiteX92" fmla="*/ 308127 w 1075613"/>
                <a:gd name="connsiteY92" fmla="*/ 92452 h 93936"/>
                <a:gd name="connsiteX93" fmla="*/ 307809 w 1075613"/>
                <a:gd name="connsiteY93" fmla="*/ 92452 h 93936"/>
                <a:gd name="connsiteX94" fmla="*/ 299248 w 1075613"/>
                <a:gd name="connsiteY94" fmla="*/ 92452 h 93936"/>
                <a:gd name="connsiteX95" fmla="*/ 296974 w 1075613"/>
                <a:gd name="connsiteY95" fmla="*/ 91114 h 93936"/>
                <a:gd name="connsiteX96" fmla="*/ 255657 w 1075613"/>
                <a:gd name="connsiteY96" fmla="*/ 23164 h 93936"/>
                <a:gd name="connsiteX97" fmla="*/ 255240 w 1075613"/>
                <a:gd name="connsiteY97" fmla="*/ 23164 h 93936"/>
                <a:gd name="connsiteX98" fmla="*/ 255240 w 1075613"/>
                <a:gd name="connsiteY98" fmla="*/ 91114 h 93936"/>
                <a:gd name="connsiteX99" fmla="*/ 254222 w 1075613"/>
                <a:gd name="connsiteY99" fmla="*/ 92452 h 93936"/>
                <a:gd name="connsiteX100" fmla="*/ 253903 w 1075613"/>
                <a:gd name="connsiteY100" fmla="*/ 92452 h 93936"/>
                <a:gd name="connsiteX101" fmla="*/ 245476 w 1075613"/>
                <a:gd name="connsiteY101" fmla="*/ 92452 h 93936"/>
                <a:gd name="connsiteX102" fmla="*/ 244138 w 1075613"/>
                <a:gd name="connsiteY102" fmla="*/ 91433 h 93936"/>
                <a:gd name="connsiteX103" fmla="*/ 244138 w 1075613"/>
                <a:gd name="connsiteY103" fmla="*/ 91114 h 93936"/>
                <a:gd name="connsiteX104" fmla="*/ 359173 w 1075613"/>
                <a:gd name="connsiteY104" fmla="*/ 93923 h 93936"/>
                <a:gd name="connsiteX105" fmla="*/ 349661 w 1075613"/>
                <a:gd name="connsiteY105" fmla="*/ 92987 h 93936"/>
                <a:gd name="connsiteX106" fmla="*/ 340833 w 1075613"/>
                <a:gd name="connsiteY106" fmla="*/ 90511 h 93936"/>
                <a:gd name="connsiteX107" fmla="*/ 333238 w 1075613"/>
                <a:gd name="connsiteY107" fmla="*/ 86899 h 93936"/>
                <a:gd name="connsiteX108" fmla="*/ 327219 w 1075613"/>
                <a:gd name="connsiteY108" fmla="*/ 82554 h 93936"/>
                <a:gd name="connsiteX109" fmla="*/ 327023 w 1075613"/>
                <a:gd name="connsiteY109" fmla="*/ 80617 h 93936"/>
                <a:gd name="connsiteX110" fmla="*/ 327085 w 1075613"/>
                <a:gd name="connsiteY110" fmla="*/ 80547 h 93936"/>
                <a:gd name="connsiteX111" fmla="*/ 332971 w 1075613"/>
                <a:gd name="connsiteY111" fmla="*/ 73592 h 93936"/>
                <a:gd name="connsiteX112" fmla="*/ 334680 w 1075613"/>
                <a:gd name="connsiteY112" fmla="*/ 73317 h 93936"/>
                <a:gd name="connsiteX113" fmla="*/ 334843 w 1075613"/>
                <a:gd name="connsiteY113" fmla="*/ 73458 h 93936"/>
                <a:gd name="connsiteX114" fmla="*/ 345812 w 1075613"/>
                <a:gd name="connsiteY114" fmla="*/ 79878 h 93936"/>
                <a:gd name="connsiteX115" fmla="*/ 360258 w 1075613"/>
                <a:gd name="connsiteY115" fmla="*/ 82821 h 93936"/>
                <a:gd name="connsiteX116" fmla="*/ 375037 w 1075613"/>
                <a:gd name="connsiteY116" fmla="*/ 78541 h 93936"/>
                <a:gd name="connsiteX117" fmla="*/ 380322 w 1075613"/>
                <a:gd name="connsiteY117" fmla="*/ 67305 h 93936"/>
                <a:gd name="connsiteX118" fmla="*/ 379386 w 1075613"/>
                <a:gd name="connsiteY118" fmla="*/ 61954 h 93936"/>
                <a:gd name="connsiteX119" fmla="*/ 376241 w 1075613"/>
                <a:gd name="connsiteY119" fmla="*/ 57674 h 93936"/>
                <a:gd name="connsiteX120" fmla="*/ 370424 w 1075613"/>
                <a:gd name="connsiteY120" fmla="*/ 54464 h 93936"/>
                <a:gd name="connsiteX121" fmla="*/ 361328 w 1075613"/>
                <a:gd name="connsiteY121" fmla="*/ 52457 h 93936"/>
                <a:gd name="connsiteX122" fmla="*/ 356780 w 1075613"/>
                <a:gd name="connsiteY122" fmla="*/ 51788 h 93936"/>
                <a:gd name="connsiteX123" fmla="*/ 330028 w 1075613"/>
                <a:gd name="connsiteY123" fmla="*/ 26641 h 93936"/>
                <a:gd name="connsiteX124" fmla="*/ 332109 w 1075613"/>
                <a:gd name="connsiteY124" fmla="*/ 15673 h 93936"/>
                <a:gd name="connsiteX125" fmla="*/ 338054 w 1075613"/>
                <a:gd name="connsiteY125" fmla="*/ 7246 h 93936"/>
                <a:gd name="connsiteX126" fmla="*/ 347417 w 1075613"/>
                <a:gd name="connsiteY126" fmla="*/ 1895 h 93936"/>
                <a:gd name="connsiteX127" fmla="*/ 359723 w 1075613"/>
                <a:gd name="connsiteY127" fmla="*/ 23 h 93936"/>
                <a:gd name="connsiteX128" fmla="*/ 375040 w 1075613"/>
                <a:gd name="connsiteY128" fmla="*/ 2362 h 93936"/>
                <a:gd name="connsiteX129" fmla="*/ 387397 w 1075613"/>
                <a:gd name="connsiteY129" fmla="*/ 8450 h 93936"/>
                <a:gd name="connsiteX130" fmla="*/ 387855 w 1075613"/>
                <a:gd name="connsiteY130" fmla="*/ 10067 h 93936"/>
                <a:gd name="connsiteX131" fmla="*/ 387664 w 1075613"/>
                <a:gd name="connsiteY131" fmla="*/ 10322 h 93936"/>
                <a:gd name="connsiteX132" fmla="*/ 383116 w 1075613"/>
                <a:gd name="connsiteY132" fmla="*/ 17679 h 93936"/>
                <a:gd name="connsiteX133" fmla="*/ 381300 w 1075613"/>
                <a:gd name="connsiteY133" fmla="*/ 17990 h 93936"/>
                <a:gd name="connsiteX134" fmla="*/ 381244 w 1075613"/>
                <a:gd name="connsiteY134" fmla="*/ 17947 h 93936"/>
                <a:gd name="connsiteX135" fmla="*/ 370409 w 1075613"/>
                <a:gd name="connsiteY135" fmla="*/ 12790 h 93936"/>
                <a:gd name="connsiteX136" fmla="*/ 359307 w 1075613"/>
                <a:gd name="connsiteY136" fmla="*/ 11119 h 93936"/>
                <a:gd name="connsiteX137" fmla="*/ 346466 w 1075613"/>
                <a:gd name="connsiteY137" fmla="*/ 15197 h 93936"/>
                <a:gd name="connsiteX138" fmla="*/ 342052 w 1075613"/>
                <a:gd name="connsiteY138" fmla="*/ 25830 h 93936"/>
                <a:gd name="connsiteX139" fmla="*/ 346332 w 1075613"/>
                <a:gd name="connsiteY139" fmla="*/ 35259 h 93936"/>
                <a:gd name="connsiteX140" fmla="*/ 361180 w 1075613"/>
                <a:gd name="connsiteY140" fmla="*/ 40434 h 93936"/>
                <a:gd name="connsiteX141" fmla="*/ 365594 w 1075613"/>
                <a:gd name="connsiteY141" fmla="*/ 41102 h 93936"/>
                <a:gd name="connsiteX142" fmla="*/ 385658 w 1075613"/>
                <a:gd name="connsiteY142" fmla="*/ 49128 h 93936"/>
                <a:gd name="connsiteX143" fmla="*/ 392346 w 1075613"/>
                <a:gd name="connsiteY143" fmla="*/ 66517 h 93936"/>
                <a:gd name="connsiteX144" fmla="*/ 390265 w 1075613"/>
                <a:gd name="connsiteY144" fmla="*/ 77551 h 93936"/>
                <a:gd name="connsiteX145" fmla="*/ 383979 w 1075613"/>
                <a:gd name="connsiteY145" fmla="*/ 86171 h 93936"/>
                <a:gd name="connsiteX146" fmla="*/ 373545 w 1075613"/>
                <a:gd name="connsiteY146" fmla="*/ 91857 h 93936"/>
                <a:gd name="connsiteX147" fmla="*/ 359173 w 1075613"/>
                <a:gd name="connsiteY147" fmla="*/ 93923 h 93936"/>
                <a:gd name="connsiteX148" fmla="*/ 412009 w 1075613"/>
                <a:gd name="connsiteY148" fmla="*/ 92452 h 93936"/>
                <a:gd name="connsiteX149" fmla="*/ 410671 w 1075613"/>
                <a:gd name="connsiteY149" fmla="*/ 91433 h 93936"/>
                <a:gd name="connsiteX150" fmla="*/ 410671 w 1075613"/>
                <a:gd name="connsiteY150" fmla="*/ 91114 h 93936"/>
                <a:gd name="connsiteX151" fmla="*/ 410671 w 1075613"/>
                <a:gd name="connsiteY151" fmla="*/ 2832 h 93936"/>
                <a:gd name="connsiteX152" fmla="*/ 411691 w 1075613"/>
                <a:gd name="connsiteY152" fmla="*/ 1494 h 93936"/>
                <a:gd name="connsiteX153" fmla="*/ 412009 w 1075613"/>
                <a:gd name="connsiteY153" fmla="*/ 1494 h 93936"/>
                <a:gd name="connsiteX154" fmla="*/ 444379 w 1075613"/>
                <a:gd name="connsiteY154" fmla="*/ 1494 h 93936"/>
                <a:gd name="connsiteX155" fmla="*/ 456284 w 1075613"/>
                <a:gd name="connsiteY155" fmla="*/ 3435 h 93936"/>
                <a:gd name="connsiteX156" fmla="*/ 465380 w 1075613"/>
                <a:gd name="connsiteY156" fmla="*/ 8919 h 93936"/>
                <a:gd name="connsiteX157" fmla="*/ 471200 w 1075613"/>
                <a:gd name="connsiteY157" fmla="*/ 17480 h 93936"/>
                <a:gd name="connsiteX158" fmla="*/ 473281 w 1075613"/>
                <a:gd name="connsiteY158" fmla="*/ 28651 h 93936"/>
                <a:gd name="connsiteX159" fmla="*/ 471200 w 1075613"/>
                <a:gd name="connsiteY159" fmla="*/ 39818 h 93936"/>
                <a:gd name="connsiteX160" fmla="*/ 465380 w 1075613"/>
                <a:gd name="connsiteY160" fmla="*/ 48379 h 93936"/>
                <a:gd name="connsiteX161" fmla="*/ 456284 w 1075613"/>
                <a:gd name="connsiteY161" fmla="*/ 53863 h 93936"/>
                <a:gd name="connsiteX162" fmla="*/ 444379 w 1075613"/>
                <a:gd name="connsiteY162" fmla="*/ 55804 h 93936"/>
                <a:gd name="connsiteX163" fmla="*/ 423379 w 1075613"/>
                <a:gd name="connsiteY163" fmla="*/ 55804 h 93936"/>
                <a:gd name="connsiteX164" fmla="*/ 422576 w 1075613"/>
                <a:gd name="connsiteY164" fmla="*/ 56409 h 93936"/>
                <a:gd name="connsiteX165" fmla="*/ 422576 w 1075613"/>
                <a:gd name="connsiteY165" fmla="*/ 56607 h 93936"/>
                <a:gd name="connsiteX166" fmla="*/ 422576 w 1075613"/>
                <a:gd name="connsiteY166" fmla="*/ 91114 h 93936"/>
                <a:gd name="connsiteX167" fmla="*/ 421557 w 1075613"/>
                <a:gd name="connsiteY167" fmla="*/ 92452 h 93936"/>
                <a:gd name="connsiteX168" fmla="*/ 421239 w 1075613"/>
                <a:gd name="connsiteY168" fmla="*/ 92452 h 93936"/>
                <a:gd name="connsiteX169" fmla="*/ 443710 w 1075613"/>
                <a:gd name="connsiteY169" fmla="*/ 44699 h 93936"/>
                <a:gd name="connsiteX170" fmla="*/ 456819 w 1075613"/>
                <a:gd name="connsiteY170" fmla="*/ 40419 h 93936"/>
                <a:gd name="connsiteX171" fmla="*/ 461501 w 1075613"/>
                <a:gd name="connsiteY171" fmla="*/ 28648 h 93936"/>
                <a:gd name="connsiteX172" fmla="*/ 456819 w 1075613"/>
                <a:gd name="connsiteY172" fmla="*/ 16877 h 93936"/>
                <a:gd name="connsiteX173" fmla="*/ 443710 w 1075613"/>
                <a:gd name="connsiteY173" fmla="*/ 12596 h 93936"/>
                <a:gd name="connsiteX174" fmla="*/ 423379 w 1075613"/>
                <a:gd name="connsiteY174" fmla="*/ 12596 h 93936"/>
                <a:gd name="connsiteX175" fmla="*/ 422576 w 1075613"/>
                <a:gd name="connsiteY175" fmla="*/ 13201 h 93936"/>
                <a:gd name="connsiteX176" fmla="*/ 422576 w 1075613"/>
                <a:gd name="connsiteY176" fmla="*/ 13399 h 93936"/>
                <a:gd name="connsiteX177" fmla="*/ 422576 w 1075613"/>
                <a:gd name="connsiteY177" fmla="*/ 43897 h 93936"/>
                <a:gd name="connsiteX178" fmla="*/ 423180 w 1075613"/>
                <a:gd name="connsiteY178" fmla="*/ 44699 h 93936"/>
                <a:gd name="connsiteX179" fmla="*/ 423379 w 1075613"/>
                <a:gd name="connsiteY179" fmla="*/ 44699 h 93936"/>
                <a:gd name="connsiteX180" fmla="*/ 519955 w 1075613"/>
                <a:gd name="connsiteY180" fmla="*/ 93923 h 93936"/>
                <a:gd name="connsiteX181" fmla="*/ 500491 w 1075613"/>
                <a:gd name="connsiteY181" fmla="*/ 88573 h 93936"/>
                <a:gd name="connsiteX182" fmla="*/ 489053 w 1075613"/>
                <a:gd name="connsiteY182" fmla="*/ 72655 h 93936"/>
                <a:gd name="connsiteX183" fmla="*/ 487917 w 1075613"/>
                <a:gd name="connsiteY183" fmla="*/ 68494 h 93936"/>
                <a:gd name="connsiteX184" fmla="*/ 487183 w 1075613"/>
                <a:gd name="connsiteY184" fmla="*/ 63479 h 93936"/>
                <a:gd name="connsiteX185" fmla="*/ 486782 w 1075613"/>
                <a:gd name="connsiteY185" fmla="*/ 56589 h 93936"/>
                <a:gd name="connsiteX186" fmla="*/ 486648 w 1075613"/>
                <a:gd name="connsiteY186" fmla="*/ 46958 h 93936"/>
                <a:gd name="connsiteX187" fmla="*/ 486782 w 1075613"/>
                <a:gd name="connsiteY187" fmla="*/ 37327 h 93936"/>
                <a:gd name="connsiteX188" fmla="*/ 487183 w 1075613"/>
                <a:gd name="connsiteY188" fmla="*/ 30440 h 93936"/>
                <a:gd name="connsiteX189" fmla="*/ 487917 w 1075613"/>
                <a:gd name="connsiteY189" fmla="*/ 25426 h 93936"/>
                <a:gd name="connsiteX190" fmla="*/ 489053 w 1075613"/>
                <a:gd name="connsiteY190" fmla="*/ 21264 h 93936"/>
                <a:gd name="connsiteX191" fmla="*/ 500494 w 1075613"/>
                <a:gd name="connsiteY191" fmla="*/ 5358 h 93936"/>
                <a:gd name="connsiteX192" fmla="*/ 539552 w 1075613"/>
                <a:gd name="connsiteY192" fmla="*/ 5358 h 93936"/>
                <a:gd name="connsiteX193" fmla="*/ 550990 w 1075613"/>
                <a:gd name="connsiteY193" fmla="*/ 21276 h 93936"/>
                <a:gd name="connsiteX194" fmla="*/ 552126 w 1075613"/>
                <a:gd name="connsiteY194" fmla="*/ 25437 h 93936"/>
                <a:gd name="connsiteX195" fmla="*/ 552863 w 1075613"/>
                <a:gd name="connsiteY195" fmla="*/ 30455 h 93936"/>
                <a:gd name="connsiteX196" fmla="*/ 553264 w 1075613"/>
                <a:gd name="connsiteY196" fmla="*/ 37342 h 93936"/>
                <a:gd name="connsiteX197" fmla="*/ 553398 w 1075613"/>
                <a:gd name="connsiteY197" fmla="*/ 46973 h 93936"/>
                <a:gd name="connsiteX198" fmla="*/ 553264 w 1075613"/>
                <a:gd name="connsiteY198" fmla="*/ 56604 h 93936"/>
                <a:gd name="connsiteX199" fmla="*/ 552863 w 1075613"/>
                <a:gd name="connsiteY199" fmla="*/ 63494 h 93936"/>
                <a:gd name="connsiteX200" fmla="*/ 552126 w 1075613"/>
                <a:gd name="connsiteY200" fmla="*/ 68512 h 93936"/>
                <a:gd name="connsiteX201" fmla="*/ 550990 w 1075613"/>
                <a:gd name="connsiteY201" fmla="*/ 72673 h 93936"/>
                <a:gd name="connsiteX202" fmla="*/ 539552 w 1075613"/>
                <a:gd name="connsiteY202" fmla="*/ 88591 h 93936"/>
                <a:gd name="connsiteX203" fmla="*/ 519955 w 1075613"/>
                <a:gd name="connsiteY203" fmla="*/ 93923 h 93936"/>
                <a:gd name="connsiteX204" fmla="*/ 519955 w 1075613"/>
                <a:gd name="connsiteY204" fmla="*/ 82821 h 93936"/>
                <a:gd name="connsiteX205" fmla="*/ 532394 w 1075613"/>
                <a:gd name="connsiteY205" fmla="*/ 79343 h 93936"/>
                <a:gd name="connsiteX206" fmla="*/ 539350 w 1075613"/>
                <a:gd name="connsiteY206" fmla="*/ 69311 h 93936"/>
                <a:gd name="connsiteX207" fmla="*/ 540087 w 1075613"/>
                <a:gd name="connsiteY207" fmla="*/ 66300 h 93936"/>
                <a:gd name="connsiteX208" fmla="*/ 540756 w 1075613"/>
                <a:gd name="connsiteY208" fmla="*/ 61821 h 93936"/>
                <a:gd name="connsiteX209" fmla="*/ 541226 w 1075613"/>
                <a:gd name="connsiteY209" fmla="*/ 55534 h 93936"/>
                <a:gd name="connsiteX210" fmla="*/ 541359 w 1075613"/>
                <a:gd name="connsiteY210" fmla="*/ 46973 h 93936"/>
                <a:gd name="connsiteX211" fmla="*/ 541226 w 1075613"/>
                <a:gd name="connsiteY211" fmla="*/ 38412 h 93936"/>
                <a:gd name="connsiteX212" fmla="*/ 540756 w 1075613"/>
                <a:gd name="connsiteY212" fmla="*/ 32126 h 93936"/>
                <a:gd name="connsiteX213" fmla="*/ 540087 w 1075613"/>
                <a:gd name="connsiteY213" fmla="*/ 27646 h 93936"/>
                <a:gd name="connsiteX214" fmla="*/ 539350 w 1075613"/>
                <a:gd name="connsiteY214" fmla="*/ 24635 h 93936"/>
                <a:gd name="connsiteX215" fmla="*/ 532394 w 1075613"/>
                <a:gd name="connsiteY215" fmla="*/ 14603 h 93936"/>
                <a:gd name="connsiteX216" fmla="*/ 519955 w 1075613"/>
                <a:gd name="connsiteY216" fmla="*/ 11125 h 93936"/>
                <a:gd name="connsiteX217" fmla="*/ 507580 w 1075613"/>
                <a:gd name="connsiteY217" fmla="*/ 14603 h 93936"/>
                <a:gd name="connsiteX218" fmla="*/ 500693 w 1075613"/>
                <a:gd name="connsiteY218" fmla="*/ 24635 h 93936"/>
                <a:gd name="connsiteX219" fmla="*/ 499959 w 1075613"/>
                <a:gd name="connsiteY219" fmla="*/ 27646 h 93936"/>
                <a:gd name="connsiteX220" fmla="*/ 499290 w 1075613"/>
                <a:gd name="connsiteY220" fmla="*/ 32126 h 93936"/>
                <a:gd name="connsiteX221" fmla="*/ 498820 w 1075613"/>
                <a:gd name="connsiteY221" fmla="*/ 38412 h 93936"/>
                <a:gd name="connsiteX222" fmla="*/ 498686 w 1075613"/>
                <a:gd name="connsiteY222" fmla="*/ 46973 h 93936"/>
                <a:gd name="connsiteX223" fmla="*/ 498820 w 1075613"/>
                <a:gd name="connsiteY223" fmla="*/ 55534 h 93936"/>
                <a:gd name="connsiteX224" fmla="*/ 499290 w 1075613"/>
                <a:gd name="connsiteY224" fmla="*/ 61821 h 93936"/>
                <a:gd name="connsiteX225" fmla="*/ 499959 w 1075613"/>
                <a:gd name="connsiteY225" fmla="*/ 66300 h 93936"/>
                <a:gd name="connsiteX226" fmla="*/ 500693 w 1075613"/>
                <a:gd name="connsiteY226" fmla="*/ 69311 h 93936"/>
                <a:gd name="connsiteX227" fmla="*/ 507580 w 1075613"/>
                <a:gd name="connsiteY227" fmla="*/ 79343 h 93936"/>
                <a:gd name="connsiteX228" fmla="*/ 519955 w 1075613"/>
                <a:gd name="connsiteY228" fmla="*/ 82821 h 93936"/>
                <a:gd name="connsiteX229" fmla="*/ 625359 w 1075613"/>
                <a:gd name="connsiteY229" fmla="*/ 92452 h 93936"/>
                <a:gd name="connsiteX230" fmla="*/ 623620 w 1075613"/>
                <a:gd name="connsiteY230" fmla="*/ 91114 h 93936"/>
                <a:gd name="connsiteX231" fmla="*/ 605428 w 1075613"/>
                <a:gd name="connsiteY231" fmla="*/ 53929 h 93936"/>
                <a:gd name="connsiteX232" fmla="*/ 585364 w 1075613"/>
                <a:gd name="connsiteY232" fmla="*/ 53929 h 93936"/>
                <a:gd name="connsiteX233" fmla="*/ 584561 w 1075613"/>
                <a:gd name="connsiteY233" fmla="*/ 54533 h 93936"/>
                <a:gd name="connsiteX234" fmla="*/ 584561 w 1075613"/>
                <a:gd name="connsiteY234" fmla="*/ 54731 h 93936"/>
                <a:gd name="connsiteX235" fmla="*/ 584561 w 1075613"/>
                <a:gd name="connsiteY235" fmla="*/ 91114 h 93936"/>
                <a:gd name="connsiteX236" fmla="*/ 583542 w 1075613"/>
                <a:gd name="connsiteY236" fmla="*/ 92452 h 93936"/>
                <a:gd name="connsiteX237" fmla="*/ 583224 w 1075613"/>
                <a:gd name="connsiteY237" fmla="*/ 92452 h 93936"/>
                <a:gd name="connsiteX238" fmla="*/ 573994 w 1075613"/>
                <a:gd name="connsiteY238" fmla="*/ 92452 h 93936"/>
                <a:gd name="connsiteX239" fmla="*/ 572657 w 1075613"/>
                <a:gd name="connsiteY239" fmla="*/ 91433 h 93936"/>
                <a:gd name="connsiteX240" fmla="*/ 572657 w 1075613"/>
                <a:gd name="connsiteY240" fmla="*/ 91114 h 93936"/>
                <a:gd name="connsiteX241" fmla="*/ 572657 w 1075613"/>
                <a:gd name="connsiteY241" fmla="*/ 2832 h 93936"/>
                <a:gd name="connsiteX242" fmla="*/ 573676 w 1075613"/>
                <a:gd name="connsiteY242" fmla="*/ 1494 h 93936"/>
                <a:gd name="connsiteX243" fmla="*/ 573994 w 1075613"/>
                <a:gd name="connsiteY243" fmla="*/ 1494 h 93936"/>
                <a:gd name="connsiteX244" fmla="*/ 606900 w 1075613"/>
                <a:gd name="connsiteY244" fmla="*/ 1494 h 93936"/>
                <a:gd name="connsiteX245" fmla="*/ 618537 w 1075613"/>
                <a:gd name="connsiteY245" fmla="*/ 3367 h 93936"/>
                <a:gd name="connsiteX246" fmla="*/ 627499 w 1075613"/>
                <a:gd name="connsiteY246" fmla="*/ 8652 h 93936"/>
                <a:gd name="connsiteX247" fmla="*/ 633319 w 1075613"/>
                <a:gd name="connsiteY247" fmla="*/ 16945 h 93936"/>
                <a:gd name="connsiteX248" fmla="*/ 635400 w 1075613"/>
                <a:gd name="connsiteY248" fmla="*/ 27711 h 93936"/>
                <a:gd name="connsiteX249" fmla="*/ 630584 w 1075613"/>
                <a:gd name="connsiteY249" fmla="*/ 43361 h 93936"/>
                <a:gd name="connsiteX250" fmla="*/ 617476 w 1075613"/>
                <a:gd name="connsiteY250" fmla="*/ 52457 h 93936"/>
                <a:gd name="connsiteX251" fmla="*/ 636871 w 1075613"/>
                <a:gd name="connsiteY251" fmla="*/ 90847 h 93936"/>
                <a:gd name="connsiteX252" fmla="*/ 637005 w 1075613"/>
                <a:gd name="connsiteY252" fmla="*/ 91982 h 93936"/>
                <a:gd name="connsiteX253" fmla="*/ 636068 w 1075613"/>
                <a:gd name="connsiteY253" fmla="*/ 92452 h 93936"/>
                <a:gd name="connsiteX254" fmla="*/ 606632 w 1075613"/>
                <a:gd name="connsiteY254" fmla="*/ 42826 h 93936"/>
                <a:gd name="connsiteX255" fmla="*/ 619072 w 1075613"/>
                <a:gd name="connsiteY255" fmla="*/ 38882 h 93936"/>
                <a:gd name="connsiteX256" fmla="*/ 623486 w 1075613"/>
                <a:gd name="connsiteY256" fmla="*/ 27711 h 93936"/>
                <a:gd name="connsiteX257" fmla="*/ 619072 w 1075613"/>
                <a:gd name="connsiteY257" fmla="*/ 16544 h 93936"/>
                <a:gd name="connsiteX258" fmla="*/ 606632 w 1075613"/>
                <a:gd name="connsiteY258" fmla="*/ 12599 h 93936"/>
                <a:gd name="connsiteX259" fmla="*/ 585364 w 1075613"/>
                <a:gd name="connsiteY259" fmla="*/ 12599 h 93936"/>
                <a:gd name="connsiteX260" fmla="*/ 584561 w 1075613"/>
                <a:gd name="connsiteY260" fmla="*/ 13204 h 93936"/>
                <a:gd name="connsiteX261" fmla="*/ 584561 w 1075613"/>
                <a:gd name="connsiteY261" fmla="*/ 13402 h 93936"/>
                <a:gd name="connsiteX262" fmla="*/ 584561 w 1075613"/>
                <a:gd name="connsiteY262" fmla="*/ 42027 h 93936"/>
                <a:gd name="connsiteX263" fmla="*/ 585165 w 1075613"/>
                <a:gd name="connsiteY263" fmla="*/ 42829 h 93936"/>
                <a:gd name="connsiteX264" fmla="*/ 585364 w 1075613"/>
                <a:gd name="connsiteY264" fmla="*/ 42829 h 93936"/>
                <a:gd name="connsiteX265" fmla="*/ 674717 w 1075613"/>
                <a:gd name="connsiteY265" fmla="*/ 92452 h 93936"/>
                <a:gd name="connsiteX266" fmla="*/ 673379 w 1075613"/>
                <a:gd name="connsiteY266" fmla="*/ 91433 h 93936"/>
                <a:gd name="connsiteX267" fmla="*/ 673379 w 1075613"/>
                <a:gd name="connsiteY267" fmla="*/ 91114 h 93936"/>
                <a:gd name="connsiteX268" fmla="*/ 673379 w 1075613"/>
                <a:gd name="connsiteY268" fmla="*/ 13384 h 93936"/>
                <a:gd name="connsiteX269" fmla="*/ 672776 w 1075613"/>
                <a:gd name="connsiteY269" fmla="*/ 12581 h 93936"/>
                <a:gd name="connsiteX270" fmla="*/ 672576 w 1075613"/>
                <a:gd name="connsiteY270" fmla="*/ 12581 h 93936"/>
                <a:gd name="connsiteX271" fmla="*/ 647697 w 1075613"/>
                <a:gd name="connsiteY271" fmla="*/ 12581 h 93936"/>
                <a:gd name="connsiteX272" fmla="*/ 646359 w 1075613"/>
                <a:gd name="connsiteY272" fmla="*/ 11563 h 93936"/>
                <a:gd name="connsiteX273" fmla="*/ 646359 w 1075613"/>
                <a:gd name="connsiteY273" fmla="*/ 11244 h 93936"/>
                <a:gd name="connsiteX274" fmla="*/ 646359 w 1075613"/>
                <a:gd name="connsiteY274" fmla="*/ 2832 h 93936"/>
                <a:gd name="connsiteX275" fmla="*/ 647379 w 1075613"/>
                <a:gd name="connsiteY275" fmla="*/ 1494 h 93936"/>
                <a:gd name="connsiteX276" fmla="*/ 647697 w 1075613"/>
                <a:gd name="connsiteY276" fmla="*/ 1494 h 93936"/>
                <a:gd name="connsiteX277" fmla="*/ 710966 w 1075613"/>
                <a:gd name="connsiteY277" fmla="*/ 1494 h 93936"/>
                <a:gd name="connsiteX278" fmla="*/ 712304 w 1075613"/>
                <a:gd name="connsiteY278" fmla="*/ 2513 h 93936"/>
                <a:gd name="connsiteX279" fmla="*/ 712304 w 1075613"/>
                <a:gd name="connsiteY279" fmla="*/ 2832 h 93936"/>
                <a:gd name="connsiteX280" fmla="*/ 712304 w 1075613"/>
                <a:gd name="connsiteY280" fmla="*/ 11259 h 93936"/>
                <a:gd name="connsiteX281" fmla="*/ 711284 w 1075613"/>
                <a:gd name="connsiteY281" fmla="*/ 12596 h 93936"/>
                <a:gd name="connsiteX282" fmla="*/ 710966 w 1075613"/>
                <a:gd name="connsiteY282" fmla="*/ 12596 h 93936"/>
                <a:gd name="connsiteX283" fmla="*/ 686086 w 1075613"/>
                <a:gd name="connsiteY283" fmla="*/ 12596 h 93936"/>
                <a:gd name="connsiteX284" fmla="*/ 685284 w 1075613"/>
                <a:gd name="connsiteY284" fmla="*/ 13201 h 93936"/>
                <a:gd name="connsiteX285" fmla="*/ 685284 w 1075613"/>
                <a:gd name="connsiteY285" fmla="*/ 13399 h 93936"/>
                <a:gd name="connsiteX286" fmla="*/ 685284 w 1075613"/>
                <a:gd name="connsiteY286" fmla="*/ 91114 h 93936"/>
                <a:gd name="connsiteX287" fmla="*/ 684264 w 1075613"/>
                <a:gd name="connsiteY287" fmla="*/ 92452 h 93936"/>
                <a:gd name="connsiteX288" fmla="*/ 683946 w 1075613"/>
                <a:gd name="connsiteY288" fmla="*/ 92452 h 93936"/>
                <a:gd name="connsiteX289" fmla="*/ 740393 w 1075613"/>
                <a:gd name="connsiteY289" fmla="*/ 2832 h 93936"/>
                <a:gd name="connsiteX290" fmla="*/ 741999 w 1075613"/>
                <a:gd name="connsiteY290" fmla="*/ 1494 h 93936"/>
                <a:gd name="connsiteX291" fmla="*/ 750693 w 1075613"/>
                <a:gd name="connsiteY291" fmla="*/ 1494 h 93936"/>
                <a:gd name="connsiteX292" fmla="*/ 752432 w 1075613"/>
                <a:gd name="connsiteY292" fmla="*/ 2832 h 93936"/>
                <a:gd name="connsiteX293" fmla="*/ 783598 w 1075613"/>
                <a:gd name="connsiteY293" fmla="*/ 91114 h 93936"/>
                <a:gd name="connsiteX294" fmla="*/ 782662 w 1075613"/>
                <a:gd name="connsiteY294" fmla="*/ 92452 h 93936"/>
                <a:gd name="connsiteX295" fmla="*/ 773299 w 1075613"/>
                <a:gd name="connsiteY295" fmla="*/ 92452 h 93936"/>
                <a:gd name="connsiteX296" fmla="*/ 771560 w 1075613"/>
                <a:gd name="connsiteY296" fmla="*/ 91114 h 93936"/>
                <a:gd name="connsiteX297" fmla="*/ 764604 w 1075613"/>
                <a:gd name="connsiteY297" fmla="*/ 71318 h 93936"/>
                <a:gd name="connsiteX298" fmla="*/ 727820 w 1075613"/>
                <a:gd name="connsiteY298" fmla="*/ 71318 h 93936"/>
                <a:gd name="connsiteX299" fmla="*/ 720864 w 1075613"/>
                <a:gd name="connsiteY299" fmla="*/ 91114 h 93936"/>
                <a:gd name="connsiteX300" fmla="*/ 719125 w 1075613"/>
                <a:gd name="connsiteY300" fmla="*/ 92452 h 93936"/>
                <a:gd name="connsiteX301" fmla="*/ 709762 w 1075613"/>
                <a:gd name="connsiteY301" fmla="*/ 92452 h 93936"/>
                <a:gd name="connsiteX302" fmla="*/ 708826 w 1075613"/>
                <a:gd name="connsiteY302" fmla="*/ 91114 h 93936"/>
                <a:gd name="connsiteX303" fmla="*/ 760725 w 1075613"/>
                <a:gd name="connsiteY303" fmla="*/ 60349 h 93936"/>
                <a:gd name="connsiteX304" fmla="*/ 746413 w 1075613"/>
                <a:gd name="connsiteY304" fmla="*/ 19017 h 93936"/>
                <a:gd name="connsiteX305" fmla="*/ 746145 w 1075613"/>
                <a:gd name="connsiteY305" fmla="*/ 19017 h 93936"/>
                <a:gd name="connsiteX306" fmla="*/ 731699 w 1075613"/>
                <a:gd name="connsiteY306" fmla="*/ 60349 h 93936"/>
                <a:gd name="connsiteX307" fmla="*/ 808478 w 1075613"/>
                <a:gd name="connsiteY307" fmla="*/ 92452 h 93936"/>
                <a:gd name="connsiteX308" fmla="*/ 807140 w 1075613"/>
                <a:gd name="connsiteY308" fmla="*/ 91433 h 93936"/>
                <a:gd name="connsiteX309" fmla="*/ 807140 w 1075613"/>
                <a:gd name="connsiteY309" fmla="*/ 91114 h 93936"/>
                <a:gd name="connsiteX310" fmla="*/ 807140 w 1075613"/>
                <a:gd name="connsiteY310" fmla="*/ 13384 h 93936"/>
                <a:gd name="connsiteX311" fmla="*/ 806537 w 1075613"/>
                <a:gd name="connsiteY311" fmla="*/ 12581 h 93936"/>
                <a:gd name="connsiteX312" fmla="*/ 806338 w 1075613"/>
                <a:gd name="connsiteY312" fmla="*/ 12581 h 93936"/>
                <a:gd name="connsiteX313" fmla="*/ 781458 w 1075613"/>
                <a:gd name="connsiteY313" fmla="*/ 12581 h 93936"/>
                <a:gd name="connsiteX314" fmla="*/ 780121 w 1075613"/>
                <a:gd name="connsiteY314" fmla="*/ 11563 h 93936"/>
                <a:gd name="connsiteX315" fmla="*/ 780121 w 1075613"/>
                <a:gd name="connsiteY315" fmla="*/ 11244 h 93936"/>
                <a:gd name="connsiteX316" fmla="*/ 780121 w 1075613"/>
                <a:gd name="connsiteY316" fmla="*/ 2832 h 93936"/>
                <a:gd name="connsiteX317" fmla="*/ 781140 w 1075613"/>
                <a:gd name="connsiteY317" fmla="*/ 1494 h 93936"/>
                <a:gd name="connsiteX318" fmla="*/ 781458 w 1075613"/>
                <a:gd name="connsiteY318" fmla="*/ 1494 h 93936"/>
                <a:gd name="connsiteX319" fmla="*/ 844727 w 1075613"/>
                <a:gd name="connsiteY319" fmla="*/ 1494 h 93936"/>
                <a:gd name="connsiteX320" fmla="*/ 846065 w 1075613"/>
                <a:gd name="connsiteY320" fmla="*/ 2513 h 93936"/>
                <a:gd name="connsiteX321" fmla="*/ 846065 w 1075613"/>
                <a:gd name="connsiteY321" fmla="*/ 2832 h 93936"/>
                <a:gd name="connsiteX322" fmla="*/ 846065 w 1075613"/>
                <a:gd name="connsiteY322" fmla="*/ 11259 h 93936"/>
                <a:gd name="connsiteX323" fmla="*/ 845046 w 1075613"/>
                <a:gd name="connsiteY323" fmla="*/ 12596 h 93936"/>
                <a:gd name="connsiteX324" fmla="*/ 844727 w 1075613"/>
                <a:gd name="connsiteY324" fmla="*/ 12596 h 93936"/>
                <a:gd name="connsiteX325" fmla="*/ 819848 w 1075613"/>
                <a:gd name="connsiteY325" fmla="*/ 12596 h 93936"/>
                <a:gd name="connsiteX326" fmla="*/ 819045 w 1075613"/>
                <a:gd name="connsiteY326" fmla="*/ 13201 h 93936"/>
                <a:gd name="connsiteX327" fmla="*/ 819045 w 1075613"/>
                <a:gd name="connsiteY327" fmla="*/ 13399 h 93936"/>
                <a:gd name="connsiteX328" fmla="*/ 819045 w 1075613"/>
                <a:gd name="connsiteY328" fmla="*/ 91114 h 93936"/>
                <a:gd name="connsiteX329" fmla="*/ 818026 w 1075613"/>
                <a:gd name="connsiteY329" fmla="*/ 92452 h 93936"/>
                <a:gd name="connsiteX330" fmla="*/ 817708 w 1075613"/>
                <a:gd name="connsiteY330" fmla="*/ 92452 h 93936"/>
                <a:gd name="connsiteX331" fmla="*/ 860259 w 1075613"/>
                <a:gd name="connsiteY331" fmla="*/ 2832 h 93936"/>
                <a:gd name="connsiteX332" fmla="*/ 861278 w 1075613"/>
                <a:gd name="connsiteY332" fmla="*/ 1494 h 93936"/>
                <a:gd name="connsiteX333" fmla="*/ 861596 w 1075613"/>
                <a:gd name="connsiteY333" fmla="*/ 1494 h 93936"/>
                <a:gd name="connsiteX334" fmla="*/ 870811 w 1075613"/>
                <a:gd name="connsiteY334" fmla="*/ 1494 h 93936"/>
                <a:gd name="connsiteX335" fmla="*/ 872149 w 1075613"/>
                <a:gd name="connsiteY335" fmla="*/ 2513 h 93936"/>
                <a:gd name="connsiteX336" fmla="*/ 872149 w 1075613"/>
                <a:gd name="connsiteY336" fmla="*/ 2832 h 93936"/>
                <a:gd name="connsiteX337" fmla="*/ 872149 w 1075613"/>
                <a:gd name="connsiteY337" fmla="*/ 91114 h 93936"/>
                <a:gd name="connsiteX338" fmla="*/ 871129 w 1075613"/>
                <a:gd name="connsiteY338" fmla="*/ 92452 h 93936"/>
                <a:gd name="connsiteX339" fmla="*/ 870811 w 1075613"/>
                <a:gd name="connsiteY339" fmla="*/ 92452 h 93936"/>
                <a:gd name="connsiteX340" fmla="*/ 861596 w 1075613"/>
                <a:gd name="connsiteY340" fmla="*/ 92452 h 93936"/>
                <a:gd name="connsiteX341" fmla="*/ 860259 w 1075613"/>
                <a:gd name="connsiteY341" fmla="*/ 91433 h 93936"/>
                <a:gd name="connsiteX342" fmla="*/ 860259 w 1075613"/>
                <a:gd name="connsiteY342" fmla="*/ 91114 h 93936"/>
                <a:gd name="connsiteX343" fmla="*/ 924732 w 1075613"/>
                <a:gd name="connsiteY343" fmla="*/ 93923 h 93936"/>
                <a:gd name="connsiteX344" fmla="*/ 905271 w 1075613"/>
                <a:gd name="connsiteY344" fmla="*/ 88573 h 93936"/>
                <a:gd name="connsiteX345" fmla="*/ 893833 w 1075613"/>
                <a:gd name="connsiteY345" fmla="*/ 72655 h 93936"/>
                <a:gd name="connsiteX346" fmla="*/ 892694 w 1075613"/>
                <a:gd name="connsiteY346" fmla="*/ 68494 h 93936"/>
                <a:gd name="connsiteX347" fmla="*/ 891960 w 1075613"/>
                <a:gd name="connsiteY347" fmla="*/ 63479 h 93936"/>
                <a:gd name="connsiteX348" fmla="*/ 891559 w 1075613"/>
                <a:gd name="connsiteY348" fmla="*/ 56589 h 93936"/>
                <a:gd name="connsiteX349" fmla="*/ 891425 w 1075613"/>
                <a:gd name="connsiteY349" fmla="*/ 46958 h 93936"/>
                <a:gd name="connsiteX350" fmla="*/ 891559 w 1075613"/>
                <a:gd name="connsiteY350" fmla="*/ 37327 h 93936"/>
                <a:gd name="connsiteX351" fmla="*/ 891960 w 1075613"/>
                <a:gd name="connsiteY351" fmla="*/ 30440 h 93936"/>
                <a:gd name="connsiteX352" fmla="*/ 892694 w 1075613"/>
                <a:gd name="connsiteY352" fmla="*/ 25426 h 93936"/>
                <a:gd name="connsiteX353" fmla="*/ 893833 w 1075613"/>
                <a:gd name="connsiteY353" fmla="*/ 21264 h 93936"/>
                <a:gd name="connsiteX354" fmla="*/ 905256 w 1075613"/>
                <a:gd name="connsiteY354" fmla="*/ 5358 h 93936"/>
                <a:gd name="connsiteX355" fmla="*/ 944314 w 1075613"/>
                <a:gd name="connsiteY355" fmla="*/ 5358 h 93936"/>
                <a:gd name="connsiteX356" fmla="*/ 955752 w 1075613"/>
                <a:gd name="connsiteY356" fmla="*/ 21276 h 93936"/>
                <a:gd name="connsiteX357" fmla="*/ 956891 w 1075613"/>
                <a:gd name="connsiteY357" fmla="*/ 25437 h 93936"/>
                <a:gd name="connsiteX358" fmla="*/ 957625 w 1075613"/>
                <a:gd name="connsiteY358" fmla="*/ 30455 h 93936"/>
                <a:gd name="connsiteX359" fmla="*/ 958026 w 1075613"/>
                <a:gd name="connsiteY359" fmla="*/ 37342 h 93936"/>
                <a:gd name="connsiteX360" fmla="*/ 958160 w 1075613"/>
                <a:gd name="connsiteY360" fmla="*/ 46973 h 93936"/>
                <a:gd name="connsiteX361" fmla="*/ 958026 w 1075613"/>
                <a:gd name="connsiteY361" fmla="*/ 56604 h 93936"/>
                <a:gd name="connsiteX362" fmla="*/ 957625 w 1075613"/>
                <a:gd name="connsiteY362" fmla="*/ 63494 h 93936"/>
                <a:gd name="connsiteX363" fmla="*/ 956891 w 1075613"/>
                <a:gd name="connsiteY363" fmla="*/ 68512 h 93936"/>
                <a:gd name="connsiteX364" fmla="*/ 955752 w 1075613"/>
                <a:gd name="connsiteY364" fmla="*/ 72673 h 93936"/>
                <a:gd name="connsiteX365" fmla="*/ 944314 w 1075613"/>
                <a:gd name="connsiteY365" fmla="*/ 88591 h 93936"/>
                <a:gd name="connsiteX366" fmla="*/ 924717 w 1075613"/>
                <a:gd name="connsiteY366" fmla="*/ 93923 h 93936"/>
                <a:gd name="connsiteX367" fmla="*/ 924732 w 1075613"/>
                <a:gd name="connsiteY367" fmla="*/ 82821 h 93936"/>
                <a:gd name="connsiteX368" fmla="*/ 937171 w 1075613"/>
                <a:gd name="connsiteY368" fmla="*/ 79343 h 93936"/>
                <a:gd name="connsiteX369" fmla="*/ 944127 w 1075613"/>
                <a:gd name="connsiteY369" fmla="*/ 69311 h 93936"/>
                <a:gd name="connsiteX370" fmla="*/ 944861 w 1075613"/>
                <a:gd name="connsiteY370" fmla="*/ 66300 h 93936"/>
                <a:gd name="connsiteX371" fmla="*/ 945530 w 1075613"/>
                <a:gd name="connsiteY371" fmla="*/ 61821 h 93936"/>
                <a:gd name="connsiteX372" fmla="*/ 946000 w 1075613"/>
                <a:gd name="connsiteY372" fmla="*/ 55534 h 93936"/>
                <a:gd name="connsiteX373" fmla="*/ 946134 w 1075613"/>
                <a:gd name="connsiteY373" fmla="*/ 46973 h 93936"/>
                <a:gd name="connsiteX374" fmla="*/ 946000 w 1075613"/>
                <a:gd name="connsiteY374" fmla="*/ 38412 h 93936"/>
                <a:gd name="connsiteX375" fmla="*/ 945530 w 1075613"/>
                <a:gd name="connsiteY375" fmla="*/ 32126 h 93936"/>
                <a:gd name="connsiteX376" fmla="*/ 944861 w 1075613"/>
                <a:gd name="connsiteY376" fmla="*/ 27646 h 93936"/>
                <a:gd name="connsiteX377" fmla="*/ 944127 w 1075613"/>
                <a:gd name="connsiteY377" fmla="*/ 24635 h 93936"/>
                <a:gd name="connsiteX378" fmla="*/ 937171 w 1075613"/>
                <a:gd name="connsiteY378" fmla="*/ 14603 h 93936"/>
                <a:gd name="connsiteX379" fmla="*/ 924732 w 1075613"/>
                <a:gd name="connsiteY379" fmla="*/ 11125 h 93936"/>
                <a:gd name="connsiteX380" fmla="*/ 912357 w 1075613"/>
                <a:gd name="connsiteY380" fmla="*/ 14603 h 93936"/>
                <a:gd name="connsiteX381" fmla="*/ 905467 w 1075613"/>
                <a:gd name="connsiteY381" fmla="*/ 24635 h 93936"/>
                <a:gd name="connsiteX382" fmla="*/ 904733 w 1075613"/>
                <a:gd name="connsiteY382" fmla="*/ 27646 h 93936"/>
                <a:gd name="connsiteX383" fmla="*/ 904064 w 1075613"/>
                <a:gd name="connsiteY383" fmla="*/ 32126 h 93936"/>
                <a:gd name="connsiteX384" fmla="*/ 903594 w 1075613"/>
                <a:gd name="connsiteY384" fmla="*/ 38412 h 93936"/>
                <a:gd name="connsiteX385" fmla="*/ 903461 w 1075613"/>
                <a:gd name="connsiteY385" fmla="*/ 46973 h 93936"/>
                <a:gd name="connsiteX386" fmla="*/ 903594 w 1075613"/>
                <a:gd name="connsiteY386" fmla="*/ 55534 h 93936"/>
                <a:gd name="connsiteX387" fmla="*/ 904064 w 1075613"/>
                <a:gd name="connsiteY387" fmla="*/ 61821 h 93936"/>
                <a:gd name="connsiteX388" fmla="*/ 904733 w 1075613"/>
                <a:gd name="connsiteY388" fmla="*/ 66300 h 93936"/>
                <a:gd name="connsiteX389" fmla="*/ 905467 w 1075613"/>
                <a:gd name="connsiteY389" fmla="*/ 69311 h 93936"/>
                <a:gd name="connsiteX390" fmla="*/ 912357 w 1075613"/>
                <a:gd name="connsiteY390" fmla="*/ 79343 h 93936"/>
                <a:gd name="connsiteX391" fmla="*/ 924717 w 1075613"/>
                <a:gd name="connsiteY391" fmla="*/ 82821 h 93936"/>
                <a:gd name="connsiteX392" fmla="*/ 977434 w 1075613"/>
                <a:gd name="connsiteY392" fmla="*/ 2832 h 93936"/>
                <a:gd name="connsiteX393" fmla="*/ 978453 w 1075613"/>
                <a:gd name="connsiteY393" fmla="*/ 1494 h 93936"/>
                <a:gd name="connsiteX394" fmla="*/ 978771 w 1075613"/>
                <a:gd name="connsiteY394" fmla="*/ 1494 h 93936"/>
                <a:gd name="connsiteX395" fmla="*/ 987332 w 1075613"/>
                <a:gd name="connsiteY395" fmla="*/ 1494 h 93936"/>
                <a:gd name="connsiteX396" fmla="*/ 989606 w 1075613"/>
                <a:gd name="connsiteY396" fmla="*/ 2832 h 93936"/>
                <a:gd name="connsiteX397" fmla="*/ 1030790 w 1075613"/>
                <a:gd name="connsiteY397" fmla="*/ 71050 h 93936"/>
                <a:gd name="connsiteX398" fmla="*/ 1031325 w 1075613"/>
                <a:gd name="connsiteY398" fmla="*/ 71050 h 93936"/>
                <a:gd name="connsiteX399" fmla="*/ 1031325 w 1075613"/>
                <a:gd name="connsiteY399" fmla="*/ 2832 h 93936"/>
                <a:gd name="connsiteX400" fmla="*/ 1032344 w 1075613"/>
                <a:gd name="connsiteY400" fmla="*/ 1494 h 93936"/>
                <a:gd name="connsiteX401" fmla="*/ 1032662 w 1075613"/>
                <a:gd name="connsiteY401" fmla="*/ 1494 h 93936"/>
                <a:gd name="connsiteX402" fmla="*/ 1041089 w 1075613"/>
                <a:gd name="connsiteY402" fmla="*/ 1494 h 93936"/>
                <a:gd name="connsiteX403" fmla="*/ 1042427 w 1075613"/>
                <a:gd name="connsiteY403" fmla="*/ 2513 h 93936"/>
                <a:gd name="connsiteX404" fmla="*/ 1042427 w 1075613"/>
                <a:gd name="connsiteY404" fmla="*/ 2832 h 93936"/>
                <a:gd name="connsiteX405" fmla="*/ 1042427 w 1075613"/>
                <a:gd name="connsiteY405" fmla="*/ 91114 h 93936"/>
                <a:gd name="connsiteX406" fmla="*/ 1041407 w 1075613"/>
                <a:gd name="connsiteY406" fmla="*/ 92452 h 93936"/>
                <a:gd name="connsiteX407" fmla="*/ 1041089 w 1075613"/>
                <a:gd name="connsiteY407" fmla="*/ 92452 h 93936"/>
                <a:gd name="connsiteX408" fmla="*/ 1032529 w 1075613"/>
                <a:gd name="connsiteY408" fmla="*/ 92452 h 93936"/>
                <a:gd name="connsiteX409" fmla="*/ 1030255 w 1075613"/>
                <a:gd name="connsiteY409" fmla="*/ 91114 h 93936"/>
                <a:gd name="connsiteX410" fmla="*/ 988937 w 1075613"/>
                <a:gd name="connsiteY410" fmla="*/ 23164 h 93936"/>
                <a:gd name="connsiteX411" fmla="*/ 988536 w 1075613"/>
                <a:gd name="connsiteY411" fmla="*/ 23164 h 93936"/>
                <a:gd name="connsiteX412" fmla="*/ 988536 w 1075613"/>
                <a:gd name="connsiteY412" fmla="*/ 91114 h 93936"/>
                <a:gd name="connsiteX413" fmla="*/ 987519 w 1075613"/>
                <a:gd name="connsiteY413" fmla="*/ 92454 h 93936"/>
                <a:gd name="connsiteX414" fmla="*/ 987183 w 1075613"/>
                <a:gd name="connsiteY414" fmla="*/ 92452 h 93936"/>
                <a:gd name="connsiteX415" fmla="*/ 978756 w 1075613"/>
                <a:gd name="connsiteY415" fmla="*/ 92452 h 93936"/>
                <a:gd name="connsiteX416" fmla="*/ 977419 w 1075613"/>
                <a:gd name="connsiteY416" fmla="*/ 91433 h 93936"/>
                <a:gd name="connsiteX417" fmla="*/ 977419 w 1075613"/>
                <a:gd name="connsiteY417" fmla="*/ 91114 h 93936"/>
                <a:gd name="connsiteX418" fmla="*/ 1063041 w 1075613"/>
                <a:gd name="connsiteY418" fmla="*/ 79611 h 93936"/>
                <a:gd name="connsiteX419" fmla="*/ 1064061 w 1075613"/>
                <a:gd name="connsiteY419" fmla="*/ 78273 h 93936"/>
                <a:gd name="connsiteX420" fmla="*/ 1064379 w 1075613"/>
                <a:gd name="connsiteY420" fmla="*/ 78273 h 93936"/>
                <a:gd name="connsiteX421" fmla="*/ 1074545 w 1075613"/>
                <a:gd name="connsiteY421" fmla="*/ 78273 h 93936"/>
                <a:gd name="connsiteX422" fmla="*/ 1075882 w 1075613"/>
                <a:gd name="connsiteY422" fmla="*/ 79292 h 93936"/>
                <a:gd name="connsiteX423" fmla="*/ 1075882 w 1075613"/>
                <a:gd name="connsiteY423" fmla="*/ 79611 h 93936"/>
                <a:gd name="connsiteX424" fmla="*/ 1075882 w 1075613"/>
                <a:gd name="connsiteY424" fmla="*/ 91114 h 93936"/>
                <a:gd name="connsiteX425" fmla="*/ 1074863 w 1075613"/>
                <a:gd name="connsiteY425" fmla="*/ 92452 h 93936"/>
                <a:gd name="connsiteX426" fmla="*/ 1074545 w 1075613"/>
                <a:gd name="connsiteY426" fmla="*/ 92452 h 93936"/>
                <a:gd name="connsiteX427" fmla="*/ 1064379 w 1075613"/>
                <a:gd name="connsiteY427" fmla="*/ 92452 h 93936"/>
                <a:gd name="connsiteX428" fmla="*/ 1063041 w 1075613"/>
                <a:gd name="connsiteY428" fmla="*/ 91433 h 93936"/>
                <a:gd name="connsiteX429" fmla="*/ 1063041 w 1075613"/>
                <a:gd name="connsiteY429" fmla="*/ 91114 h 9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Lst>
              <a:rect l="l" t="t" r="r" b="b"/>
              <a:pathLst>
                <a:path w="1075613" h="93936">
                  <a:moveTo>
                    <a:pt x="28649" y="92452"/>
                  </a:moveTo>
                  <a:cubicBezTo>
                    <a:pt x="27998" y="92540"/>
                    <a:pt x="27399" y="92084"/>
                    <a:pt x="27311" y="91433"/>
                  </a:cubicBezTo>
                  <a:cubicBezTo>
                    <a:pt x="27297" y="91327"/>
                    <a:pt x="27297" y="91220"/>
                    <a:pt x="27311" y="91114"/>
                  </a:cubicBezTo>
                  <a:lnTo>
                    <a:pt x="27311" y="13384"/>
                  </a:lnTo>
                  <a:cubicBezTo>
                    <a:pt x="27366" y="12996"/>
                    <a:pt x="27095" y="12636"/>
                    <a:pt x="26706" y="12581"/>
                  </a:cubicBezTo>
                  <a:cubicBezTo>
                    <a:pt x="26641" y="12572"/>
                    <a:pt x="26574" y="12572"/>
                    <a:pt x="26508" y="12581"/>
                  </a:cubicBezTo>
                  <a:lnTo>
                    <a:pt x="1629" y="12581"/>
                  </a:lnTo>
                  <a:cubicBezTo>
                    <a:pt x="978" y="12670"/>
                    <a:pt x="379" y="12213"/>
                    <a:pt x="291" y="11563"/>
                  </a:cubicBezTo>
                  <a:cubicBezTo>
                    <a:pt x="277" y="11457"/>
                    <a:pt x="277" y="11350"/>
                    <a:pt x="291" y="11244"/>
                  </a:cubicBezTo>
                  <a:lnTo>
                    <a:pt x="291" y="2832"/>
                  </a:lnTo>
                  <a:cubicBezTo>
                    <a:pt x="203" y="2181"/>
                    <a:pt x="659" y="1582"/>
                    <a:pt x="1310" y="1494"/>
                  </a:cubicBezTo>
                  <a:cubicBezTo>
                    <a:pt x="1416" y="1480"/>
                    <a:pt x="1523" y="1480"/>
                    <a:pt x="1629" y="1494"/>
                  </a:cubicBezTo>
                  <a:lnTo>
                    <a:pt x="64898" y="1494"/>
                  </a:lnTo>
                  <a:cubicBezTo>
                    <a:pt x="65549" y="1406"/>
                    <a:pt x="66147" y="1862"/>
                    <a:pt x="66235" y="2513"/>
                  </a:cubicBezTo>
                  <a:cubicBezTo>
                    <a:pt x="66250" y="2619"/>
                    <a:pt x="66250" y="2726"/>
                    <a:pt x="66235" y="2832"/>
                  </a:cubicBezTo>
                  <a:lnTo>
                    <a:pt x="66235" y="11259"/>
                  </a:lnTo>
                  <a:cubicBezTo>
                    <a:pt x="66323" y="11909"/>
                    <a:pt x="65867" y="12508"/>
                    <a:pt x="65217" y="12596"/>
                  </a:cubicBezTo>
                  <a:cubicBezTo>
                    <a:pt x="65111" y="12611"/>
                    <a:pt x="65004" y="12611"/>
                    <a:pt x="64898" y="12596"/>
                  </a:cubicBezTo>
                  <a:lnTo>
                    <a:pt x="40018" y="12596"/>
                  </a:lnTo>
                  <a:cubicBezTo>
                    <a:pt x="39630" y="12542"/>
                    <a:pt x="39270" y="12812"/>
                    <a:pt x="39216" y="13201"/>
                  </a:cubicBezTo>
                  <a:cubicBezTo>
                    <a:pt x="39206" y="13266"/>
                    <a:pt x="39206" y="13333"/>
                    <a:pt x="39216" y="13399"/>
                  </a:cubicBezTo>
                  <a:lnTo>
                    <a:pt x="39216" y="91114"/>
                  </a:lnTo>
                  <a:cubicBezTo>
                    <a:pt x="39304" y="91765"/>
                    <a:pt x="38847" y="92364"/>
                    <a:pt x="38197" y="92452"/>
                  </a:cubicBezTo>
                  <a:cubicBezTo>
                    <a:pt x="38091" y="92466"/>
                    <a:pt x="37984" y="92466"/>
                    <a:pt x="37878" y="92452"/>
                  </a:cubicBezTo>
                  <a:close/>
                  <a:moveTo>
                    <a:pt x="133116" y="92452"/>
                  </a:moveTo>
                  <a:cubicBezTo>
                    <a:pt x="132302" y="92446"/>
                    <a:pt x="131592" y="91899"/>
                    <a:pt x="131377" y="91114"/>
                  </a:cubicBezTo>
                  <a:lnTo>
                    <a:pt x="113186" y="53929"/>
                  </a:lnTo>
                  <a:lnTo>
                    <a:pt x="93122" y="53929"/>
                  </a:lnTo>
                  <a:cubicBezTo>
                    <a:pt x="92733" y="53874"/>
                    <a:pt x="92374" y="54144"/>
                    <a:pt x="92319" y="54533"/>
                  </a:cubicBezTo>
                  <a:cubicBezTo>
                    <a:pt x="92310" y="54599"/>
                    <a:pt x="92310" y="54666"/>
                    <a:pt x="92319" y="54731"/>
                  </a:cubicBezTo>
                  <a:lnTo>
                    <a:pt x="92319" y="91114"/>
                  </a:lnTo>
                  <a:cubicBezTo>
                    <a:pt x="92407" y="91765"/>
                    <a:pt x="91951" y="92364"/>
                    <a:pt x="91300" y="92452"/>
                  </a:cubicBezTo>
                  <a:cubicBezTo>
                    <a:pt x="91194" y="92466"/>
                    <a:pt x="91087" y="92466"/>
                    <a:pt x="90981" y="92452"/>
                  </a:cubicBezTo>
                  <a:lnTo>
                    <a:pt x="81767" y="92452"/>
                  </a:lnTo>
                  <a:cubicBezTo>
                    <a:pt x="81116" y="92540"/>
                    <a:pt x="80517" y="92084"/>
                    <a:pt x="80429" y="91433"/>
                  </a:cubicBezTo>
                  <a:cubicBezTo>
                    <a:pt x="80415" y="91327"/>
                    <a:pt x="80415" y="91220"/>
                    <a:pt x="80429" y="91114"/>
                  </a:cubicBezTo>
                  <a:lnTo>
                    <a:pt x="80429" y="2832"/>
                  </a:lnTo>
                  <a:cubicBezTo>
                    <a:pt x="80341" y="2181"/>
                    <a:pt x="80797" y="1582"/>
                    <a:pt x="81448" y="1494"/>
                  </a:cubicBezTo>
                  <a:cubicBezTo>
                    <a:pt x="81554" y="1480"/>
                    <a:pt x="81661" y="1480"/>
                    <a:pt x="81767" y="1494"/>
                  </a:cubicBezTo>
                  <a:lnTo>
                    <a:pt x="114672" y="1494"/>
                  </a:lnTo>
                  <a:cubicBezTo>
                    <a:pt x="118630" y="1441"/>
                    <a:pt x="122568" y="2075"/>
                    <a:pt x="126309" y="3367"/>
                  </a:cubicBezTo>
                  <a:cubicBezTo>
                    <a:pt x="129618" y="4515"/>
                    <a:pt x="132664" y="6310"/>
                    <a:pt x="135271" y="8649"/>
                  </a:cubicBezTo>
                  <a:cubicBezTo>
                    <a:pt x="137788" y="10960"/>
                    <a:pt x="139769" y="13794"/>
                    <a:pt x="141077" y="16951"/>
                  </a:cubicBezTo>
                  <a:cubicBezTo>
                    <a:pt x="142492" y="20362"/>
                    <a:pt x="143200" y="24025"/>
                    <a:pt x="143157" y="27717"/>
                  </a:cubicBezTo>
                  <a:cubicBezTo>
                    <a:pt x="143328" y="33323"/>
                    <a:pt x="141635" y="38828"/>
                    <a:pt x="138342" y="43367"/>
                  </a:cubicBezTo>
                  <a:cubicBezTo>
                    <a:pt x="135044" y="47709"/>
                    <a:pt x="130455" y="50894"/>
                    <a:pt x="125233" y="52463"/>
                  </a:cubicBezTo>
                  <a:lnTo>
                    <a:pt x="144620" y="90847"/>
                  </a:lnTo>
                  <a:cubicBezTo>
                    <a:pt x="144875" y="91170"/>
                    <a:pt x="144927" y="91609"/>
                    <a:pt x="144753" y="91982"/>
                  </a:cubicBezTo>
                  <a:cubicBezTo>
                    <a:pt x="144557" y="92305"/>
                    <a:pt x="144193" y="92488"/>
                    <a:pt x="143817" y="92452"/>
                  </a:cubicBezTo>
                  <a:close/>
                  <a:moveTo>
                    <a:pt x="114390" y="42826"/>
                  </a:moveTo>
                  <a:cubicBezTo>
                    <a:pt x="118883" y="43111"/>
                    <a:pt x="123321" y="41704"/>
                    <a:pt x="126829" y="38882"/>
                  </a:cubicBezTo>
                  <a:cubicBezTo>
                    <a:pt x="129880" y="35995"/>
                    <a:pt x="131497" y="31904"/>
                    <a:pt x="131244" y="27711"/>
                  </a:cubicBezTo>
                  <a:cubicBezTo>
                    <a:pt x="131497" y="23518"/>
                    <a:pt x="129880" y="19428"/>
                    <a:pt x="126829" y="16541"/>
                  </a:cubicBezTo>
                  <a:cubicBezTo>
                    <a:pt x="123321" y="13719"/>
                    <a:pt x="118883" y="12312"/>
                    <a:pt x="114390" y="12596"/>
                  </a:cubicBezTo>
                  <a:lnTo>
                    <a:pt x="93122" y="12596"/>
                  </a:lnTo>
                  <a:cubicBezTo>
                    <a:pt x="92733" y="12542"/>
                    <a:pt x="92374" y="12812"/>
                    <a:pt x="92319" y="13201"/>
                  </a:cubicBezTo>
                  <a:cubicBezTo>
                    <a:pt x="92310" y="13266"/>
                    <a:pt x="92310" y="13333"/>
                    <a:pt x="92319" y="13399"/>
                  </a:cubicBezTo>
                  <a:lnTo>
                    <a:pt x="92319" y="42024"/>
                  </a:lnTo>
                  <a:cubicBezTo>
                    <a:pt x="92264" y="42412"/>
                    <a:pt x="92535" y="42772"/>
                    <a:pt x="92923" y="42826"/>
                  </a:cubicBezTo>
                  <a:cubicBezTo>
                    <a:pt x="92989" y="42836"/>
                    <a:pt x="93056" y="42836"/>
                    <a:pt x="93122" y="42826"/>
                  </a:cubicBezTo>
                  <a:close/>
                  <a:moveTo>
                    <a:pt x="186487" y="2832"/>
                  </a:moveTo>
                  <a:cubicBezTo>
                    <a:pt x="186619" y="2051"/>
                    <a:pt x="187300" y="1483"/>
                    <a:pt x="188092" y="1494"/>
                  </a:cubicBezTo>
                  <a:lnTo>
                    <a:pt x="196802" y="1494"/>
                  </a:lnTo>
                  <a:cubicBezTo>
                    <a:pt x="197633" y="1448"/>
                    <a:pt x="198372" y="2017"/>
                    <a:pt x="198540" y="2832"/>
                  </a:cubicBezTo>
                  <a:lnTo>
                    <a:pt x="229707" y="91114"/>
                  </a:lnTo>
                  <a:cubicBezTo>
                    <a:pt x="229974" y="92006"/>
                    <a:pt x="229662" y="92452"/>
                    <a:pt x="228771" y="92452"/>
                  </a:cubicBezTo>
                  <a:lnTo>
                    <a:pt x="219392" y="92452"/>
                  </a:lnTo>
                  <a:cubicBezTo>
                    <a:pt x="218561" y="92499"/>
                    <a:pt x="217821" y="91929"/>
                    <a:pt x="217654" y="91114"/>
                  </a:cubicBezTo>
                  <a:lnTo>
                    <a:pt x="210698" y="71318"/>
                  </a:lnTo>
                  <a:lnTo>
                    <a:pt x="173914" y="71318"/>
                  </a:lnTo>
                  <a:lnTo>
                    <a:pt x="166958" y="91114"/>
                  </a:lnTo>
                  <a:cubicBezTo>
                    <a:pt x="166744" y="91899"/>
                    <a:pt x="166033" y="92446"/>
                    <a:pt x="165219" y="92452"/>
                  </a:cubicBezTo>
                  <a:lnTo>
                    <a:pt x="155856" y="92452"/>
                  </a:lnTo>
                  <a:cubicBezTo>
                    <a:pt x="154964" y="92452"/>
                    <a:pt x="154652" y="92006"/>
                    <a:pt x="154919" y="91114"/>
                  </a:cubicBezTo>
                  <a:close/>
                  <a:moveTo>
                    <a:pt x="206819" y="60349"/>
                  </a:moveTo>
                  <a:lnTo>
                    <a:pt x="192506" y="19017"/>
                  </a:lnTo>
                  <a:lnTo>
                    <a:pt x="192239" y="19017"/>
                  </a:lnTo>
                  <a:lnTo>
                    <a:pt x="177793" y="60349"/>
                  </a:lnTo>
                  <a:close/>
                  <a:moveTo>
                    <a:pt x="244138" y="2832"/>
                  </a:moveTo>
                  <a:cubicBezTo>
                    <a:pt x="244050" y="2181"/>
                    <a:pt x="244507" y="1582"/>
                    <a:pt x="245157" y="1494"/>
                  </a:cubicBezTo>
                  <a:cubicBezTo>
                    <a:pt x="245263" y="1480"/>
                    <a:pt x="245370" y="1480"/>
                    <a:pt x="245476" y="1494"/>
                  </a:cubicBezTo>
                  <a:lnTo>
                    <a:pt x="254037" y="1494"/>
                  </a:lnTo>
                  <a:cubicBezTo>
                    <a:pt x="254998" y="1429"/>
                    <a:pt x="255900" y="1960"/>
                    <a:pt x="256311" y="2832"/>
                  </a:cubicBezTo>
                  <a:lnTo>
                    <a:pt x="297509" y="71050"/>
                  </a:lnTo>
                  <a:lnTo>
                    <a:pt x="298044" y="71050"/>
                  </a:lnTo>
                  <a:lnTo>
                    <a:pt x="298044" y="2832"/>
                  </a:lnTo>
                  <a:cubicBezTo>
                    <a:pt x="297955" y="2181"/>
                    <a:pt x="298413" y="1582"/>
                    <a:pt x="299064" y="1494"/>
                  </a:cubicBezTo>
                  <a:cubicBezTo>
                    <a:pt x="299168" y="1480"/>
                    <a:pt x="299275" y="1480"/>
                    <a:pt x="299382" y="1494"/>
                  </a:cubicBezTo>
                  <a:lnTo>
                    <a:pt x="307809" y="1494"/>
                  </a:lnTo>
                  <a:cubicBezTo>
                    <a:pt x="308460" y="1406"/>
                    <a:pt x="309057" y="1862"/>
                    <a:pt x="309146" y="2513"/>
                  </a:cubicBezTo>
                  <a:cubicBezTo>
                    <a:pt x="309161" y="2619"/>
                    <a:pt x="309161" y="2726"/>
                    <a:pt x="309146" y="2832"/>
                  </a:cubicBezTo>
                  <a:lnTo>
                    <a:pt x="309146" y="91114"/>
                  </a:lnTo>
                  <a:cubicBezTo>
                    <a:pt x="309236" y="91765"/>
                    <a:pt x="308778" y="92364"/>
                    <a:pt x="308127" y="92452"/>
                  </a:cubicBezTo>
                  <a:cubicBezTo>
                    <a:pt x="308023" y="92466"/>
                    <a:pt x="307916" y="92466"/>
                    <a:pt x="307809" y="92452"/>
                  </a:cubicBezTo>
                  <a:lnTo>
                    <a:pt x="299248" y="92452"/>
                  </a:lnTo>
                  <a:cubicBezTo>
                    <a:pt x="298288" y="92517"/>
                    <a:pt x="297384" y="91986"/>
                    <a:pt x="296974" y="91114"/>
                  </a:cubicBezTo>
                  <a:lnTo>
                    <a:pt x="255657" y="23164"/>
                  </a:lnTo>
                  <a:lnTo>
                    <a:pt x="255240" y="23164"/>
                  </a:lnTo>
                  <a:lnTo>
                    <a:pt x="255240" y="91114"/>
                  </a:lnTo>
                  <a:cubicBezTo>
                    <a:pt x="255328" y="91765"/>
                    <a:pt x="254872" y="92364"/>
                    <a:pt x="254222" y="92452"/>
                  </a:cubicBezTo>
                  <a:cubicBezTo>
                    <a:pt x="254116" y="92466"/>
                    <a:pt x="254009" y="92466"/>
                    <a:pt x="253903" y="92452"/>
                  </a:cubicBezTo>
                  <a:lnTo>
                    <a:pt x="245476" y="92452"/>
                  </a:lnTo>
                  <a:cubicBezTo>
                    <a:pt x="244825" y="92540"/>
                    <a:pt x="244226" y="92084"/>
                    <a:pt x="244138" y="91433"/>
                  </a:cubicBezTo>
                  <a:cubicBezTo>
                    <a:pt x="244124" y="91327"/>
                    <a:pt x="244124" y="91220"/>
                    <a:pt x="244138" y="91114"/>
                  </a:cubicBezTo>
                  <a:close/>
                  <a:moveTo>
                    <a:pt x="359173" y="93923"/>
                  </a:moveTo>
                  <a:cubicBezTo>
                    <a:pt x="355981" y="93926"/>
                    <a:pt x="352794" y="93613"/>
                    <a:pt x="349661" y="92987"/>
                  </a:cubicBezTo>
                  <a:cubicBezTo>
                    <a:pt x="346659" y="92395"/>
                    <a:pt x="343707" y="91567"/>
                    <a:pt x="340833" y="90511"/>
                  </a:cubicBezTo>
                  <a:cubicBezTo>
                    <a:pt x="338196" y="89540"/>
                    <a:pt x="335655" y="88331"/>
                    <a:pt x="333238" y="86899"/>
                  </a:cubicBezTo>
                  <a:cubicBezTo>
                    <a:pt x="331098" y="85646"/>
                    <a:pt x="329083" y="84191"/>
                    <a:pt x="327219" y="82554"/>
                  </a:cubicBezTo>
                  <a:cubicBezTo>
                    <a:pt x="326630" y="82073"/>
                    <a:pt x="326544" y="81206"/>
                    <a:pt x="327023" y="80617"/>
                  </a:cubicBezTo>
                  <a:cubicBezTo>
                    <a:pt x="327044" y="80593"/>
                    <a:pt x="327064" y="80570"/>
                    <a:pt x="327085" y="80547"/>
                  </a:cubicBezTo>
                  <a:lnTo>
                    <a:pt x="332971" y="73592"/>
                  </a:lnTo>
                  <a:cubicBezTo>
                    <a:pt x="333366" y="73043"/>
                    <a:pt x="334133" y="72920"/>
                    <a:pt x="334680" y="73317"/>
                  </a:cubicBezTo>
                  <a:cubicBezTo>
                    <a:pt x="334739" y="73359"/>
                    <a:pt x="334793" y="73406"/>
                    <a:pt x="334843" y="73458"/>
                  </a:cubicBezTo>
                  <a:cubicBezTo>
                    <a:pt x="338226" y="76036"/>
                    <a:pt x="341909" y="78192"/>
                    <a:pt x="345812" y="79878"/>
                  </a:cubicBezTo>
                  <a:cubicBezTo>
                    <a:pt x="350363" y="81878"/>
                    <a:pt x="355288" y="82881"/>
                    <a:pt x="360258" y="82821"/>
                  </a:cubicBezTo>
                  <a:cubicBezTo>
                    <a:pt x="365531" y="83142"/>
                    <a:pt x="370754" y="81630"/>
                    <a:pt x="375037" y="78541"/>
                  </a:cubicBezTo>
                  <a:cubicBezTo>
                    <a:pt x="378485" y="75848"/>
                    <a:pt x="380447" y="71677"/>
                    <a:pt x="380322" y="67305"/>
                  </a:cubicBezTo>
                  <a:cubicBezTo>
                    <a:pt x="380346" y="65479"/>
                    <a:pt x="380028" y="63664"/>
                    <a:pt x="379386" y="61954"/>
                  </a:cubicBezTo>
                  <a:cubicBezTo>
                    <a:pt x="378714" y="60285"/>
                    <a:pt x="377632" y="58813"/>
                    <a:pt x="376241" y="57674"/>
                  </a:cubicBezTo>
                  <a:cubicBezTo>
                    <a:pt x="374502" y="56275"/>
                    <a:pt x="372534" y="55189"/>
                    <a:pt x="370424" y="54464"/>
                  </a:cubicBezTo>
                  <a:cubicBezTo>
                    <a:pt x="367478" y="53450"/>
                    <a:pt x="364426" y="52777"/>
                    <a:pt x="361328" y="52457"/>
                  </a:cubicBezTo>
                  <a:lnTo>
                    <a:pt x="356780" y="51788"/>
                  </a:lnTo>
                  <a:cubicBezTo>
                    <a:pt x="338945" y="49381"/>
                    <a:pt x="330028" y="40998"/>
                    <a:pt x="330028" y="26641"/>
                  </a:cubicBezTo>
                  <a:cubicBezTo>
                    <a:pt x="329980" y="22883"/>
                    <a:pt x="330688" y="19153"/>
                    <a:pt x="332109" y="15673"/>
                  </a:cubicBezTo>
                  <a:cubicBezTo>
                    <a:pt x="333432" y="12453"/>
                    <a:pt x="335465" y="9573"/>
                    <a:pt x="338054" y="7246"/>
                  </a:cubicBezTo>
                  <a:cubicBezTo>
                    <a:pt x="340779" y="4847"/>
                    <a:pt x="343966" y="3026"/>
                    <a:pt x="347417" y="1895"/>
                  </a:cubicBezTo>
                  <a:cubicBezTo>
                    <a:pt x="351388" y="598"/>
                    <a:pt x="355547" y="-35"/>
                    <a:pt x="359723" y="23"/>
                  </a:cubicBezTo>
                  <a:cubicBezTo>
                    <a:pt x="364919" y="-2"/>
                    <a:pt x="370088" y="788"/>
                    <a:pt x="375040" y="2362"/>
                  </a:cubicBezTo>
                  <a:cubicBezTo>
                    <a:pt x="379460" y="3710"/>
                    <a:pt x="383634" y="5766"/>
                    <a:pt x="387397" y="8450"/>
                  </a:cubicBezTo>
                  <a:cubicBezTo>
                    <a:pt x="387971" y="8770"/>
                    <a:pt x="388176" y="9494"/>
                    <a:pt x="387855" y="10067"/>
                  </a:cubicBezTo>
                  <a:cubicBezTo>
                    <a:pt x="387804" y="10161"/>
                    <a:pt x="387739" y="10246"/>
                    <a:pt x="387664" y="10322"/>
                  </a:cubicBezTo>
                  <a:lnTo>
                    <a:pt x="383116" y="17679"/>
                  </a:lnTo>
                  <a:cubicBezTo>
                    <a:pt x="382700" y="18266"/>
                    <a:pt x="381889" y="18405"/>
                    <a:pt x="381300" y="17990"/>
                  </a:cubicBezTo>
                  <a:cubicBezTo>
                    <a:pt x="381282" y="17976"/>
                    <a:pt x="381262" y="17962"/>
                    <a:pt x="381244" y="17947"/>
                  </a:cubicBezTo>
                  <a:cubicBezTo>
                    <a:pt x="377855" y="15794"/>
                    <a:pt x="374217" y="14062"/>
                    <a:pt x="370409" y="12790"/>
                  </a:cubicBezTo>
                  <a:cubicBezTo>
                    <a:pt x="366818" y="11658"/>
                    <a:pt x="363073" y="11095"/>
                    <a:pt x="359307" y="11119"/>
                  </a:cubicBezTo>
                  <a:cubicBezTo>
                    <a:pt x="354664" y="10793"/>
                    <a:pt x="350071" y="12252"/>
                    <a:pt x="346466" y="15197"/>
                  </a:cubicBezTo>
                  <a:cubicBezTo>
                    <a:pt x="343517" y="17930"/>
                    <a:pt x="341906" y="21812"/>
                    <a:pt x="342052" y="25830"/>
                  </a:cubicBezTo>
                  <a:cubicBezTo>
                    <a:pt x="341960" y="29462"/>
                    <a:pt x="343538" y="32936"/>
                    <a:pt x="346332" y="35259"/>
                  </a:cubicBezTo>
                  <a:cubicBezTo>
                    <a:pt x="350722" y="38294"/>
                    <a:pt x="355853" y="40083"/>
                    <a:pt x="361180" y="40434"/>
                  </a:cubicBezTo>
                  <a:lnTo>
                    <a:pt x="365594" y="41102"/>
                  </a:lnTo>
                  <a:cubicBezTo>
                    <a:pt x="372939" y="41695"/>
                    <a:pt x="379930" y="44492"/>
                    <a:pt x="385658" y="49128"/>
                  </a:cubicBezTo>
                  <a:cubicBezTo>
                    <a:pt x="390301" y="53682"/>
                    <a:pt x="392741" y="60025"/>
                    <a:pt x="392346" y="66517"/>
                  </a:cubicBezTo>
                  <a:cubicBezTo>
                    <a:pt x="392388" y="70296"/>
                    <a:pt x="391680" y="74046"/>
                    <a:pt x="390265" y="77551"/>
                  </a:cubicBezTo>
                  <a:cubicBezTo>
                    <a:pt x="388889" y="80885"/>
                    <a:pt x="386731" y="83841"/>
                    <a:pt x="383979" y="86171"/>
                  </a:cubicBezTo>
                  <a:cubicBezTo>
                    <a:pt x="380902" y="88726"/>
                    <a:pt x="377359" y="90658"/>
                    <a:pt x="373545" y="91857"/>
                  </a:cubicBezTo>
                  <a:cubicBezTo>
                    <a:pt x="368896" y="93311"/>
                    <a:pt x="364042" y="94009"/>
                    <a:pt x="359173" y="93923"/>
                  </a:cubicBezTo>
                  <a:close/>
                  <a:moveTo>
                    <a:pt x="412009" y="92452"/>
                  </a:moveTo>
                  <a:cubicBezTo>
                    <a:pt x="411358" y="92540"/>
                    <a:pt x="410761" y="92084"/>
                    <a:pt x="410671" y="91433"/>
                  </a:cubicBezTo>
                  <a:cubicBezTo>
                    <a:pt x="410656" y="91327"/>
                    <a:pt x="410656" y="91220"/>
                    <a:pt x="410671" y="91114"/>
                  </a:cubicBezTo>
                  <a:lnTo>
                    <a:pt x="410671" y="2832"/>
                  </a:lnTo>
                  <a:cubicBezTo>
                    <a:pt x="410582" y="2181"/>
                    <a:pt x="411040" y="1582"/>
                    <a:pt x="411691" y="1494"/>
                  </a:cubicBezTo>
                  <a:cubicBezTo>
                    <a:pt x="411795" y="1480"/>
                    <a:pt x="411902" y="1480"/>
                    <a:pt x="412009" y="1494"/>
                  </a:cubicBezTo>
                  <a:lnTo>
                    <a:pt x="444379" y="1494"/>
                  </a:lnTo>
                  <a:cubicBezTo>
                    <a:pt x="448431" y="1442"/>
                    <a:pt x="452458" y="2099"/>
                    <a:pt x="456284" y="3435"/>
                  </a:cubicBezTo>
                  <a:cubicBezTo>
                    <a:pt x="459664" y="4614"/>
                    <a:pt x="462761" y="6482"/>
                    <a:pt x="465380" y="8919"/>
                  </a:cubicBezTo>
                  <a:cubicBezTo>
                    <a:pt x="467906" y="11326"/>
                    <a:pt x="469892" y="14245"/>
                    <a:pt x="471200" y="17480"/>
                  </a:cubicBezTo>
                  <a:cubicBezTo>
                    <a:pt x="472624" y="21030"/>
                    <a:pt x="473331" y="24826"/>
                    <a:pt x="473281" y="28651"/>
                  </a:cubicBezTo>
                  <a:cubicBezTo>
                    <a:pt x="473331" y="32474"/>
                    <a:pt x="472624" y="36269"/>
                    <a:pt x="471200" y="39818"/>
                  </a:cubicBezTo>
                  <a:cubicBezTo>
                    <a:pt x="469892" y="43054"/>
                    <a:pt x="467906" y="45972"/>
                    <a:pt x="465380" y="48379"/>
                  </a:cubicBezTo>
                  <a:cubicBezTo>
                    <a:pt x="462761" y="50817"/>
                    <a:pt x="459664" y="52684"/>
                    <a:pt x="456284" y="53863"/>
                  </a:cubicBezTo>
                  <a:cubicBezTo>
                    <a:pt x="452458" y="55200"/>
                    <a:pt x="448431" y="55857"/>
                    <a:pt x="444379" y="55804"/>
                  </a:cubicBezTo>
                  <a:lnTo>
                    <a:pt x="423379" y="55804"/>
                  </a:lnTo>
                  <a:cubicBezTo>
                    <a:pt x="422989" y="55750"/>
                    <a:pt x="422630" y="56020"/>
                    <a:pt x="422576" y="56409"/>
                  </a:cubicBezTo>
                  <a:cubicBezTo>
                    <a:pt x="422567" y="56474"/>
                    <a:pt x="422567" y="56541"/>
                    <a:pt x="422576" y="56607"/>
                  </a:cubicBezTo>
                  <a:lnTo>
                    <a:pt x="422576" y="91114"/>
                  </a:lnTo>
                  <a:cubicBezTo>
                    <a:pt x="422665" y="91765"/>
                    <a:pt x="422208" y="92364"/>
                    <a:pt x="421557" y="92452"/>
                  </a:cubicBezTo>
                  <a:cubicBezTo>
                    <a:pt x="421453" y="92466"/>
                    <a:pt x="421346" y="92466"/>
                    <a:pt x="421239" y="92452"/>
                  </a:cubicBezTo>
                  <a:close/>
                  <a:moveTo>
                    <a:pt x="443710" y="44699"/>
                  </a:moveTo>
                  <a:cubicBezTo>
                    <a:pt x="448466" y="44992"/>
                    <a:pt x="453154" y="43461"/>
                    <a:pt x="456819" y="40419"/>
                  </a:cubicBezTo>
                  <a:cubicBezTo>
                    <a:pt x="460023" y="37366"/>
                    <a:pt x="461733" y="33067"/>
                    <a:pt x="461501" y="28648"/>
                  </a:cubicBezTo>
                  <a:cubicBezTo>
                    <a:pt x="461733" y="24229"/>
                    <a:pt x="460023" y="19929"/>
                    <a:pt x="456819" y="16877"/>
                  </a:cubicBezTo>
                  <a:cubicBezTo>
                    <a:pt x="453154" y="13835"/>
                    <a:pt x="448466" y="12304"/>
                    <a:pt x="443710" y="12596"/>
                  </a:cubicBezTo>
                  <a:lnTo>
                    <a:pt x="423379" y="12596"/>
                  </a:lnTo>
                  <a:cubicBezTo>
                    <a:pt x="422989" y="12542"/>
                    <a:pt x="422630" y="12812"/>
                    <a:pt x="422576" y="13201"/>
                  </a:cubicBezTo>
                  <a:cubicBezTo>
                    <a:pt x="422567" y="13266"/>
                    <a:pt x="422567" y="13333"/>
                    <a:pt x="422576" y="13399"/>
                  </a:cubicBezTo>
                  <a:lnTo>
                    <a:pt x="422576" y="43897"/>
                  </a:lnTo>
                  <a:cubicBezTo>
                    <a:pt x="422523" y="44285"/>
                    <a:pt x="422793" y="44644"/>
                    <a:pt x="423180" y="44699"/>
                  </a:cubicBezTo>
                  <a:cubicBezTo>
                    <a:pt x="423245" y="44708"/>
                    <a:pt x="423313" y="44708"/>
                    <a:pt x="423379" y="44699"/>
                  </a:cubicBezTo>
                  <a:close/>
                  <a:moveTo>
                    <a:pt x="519955" y="93923"/>
                  </a:moveTo>
                  <a:cubicBezTo>
                    <a:pt x="513076" y="94146"/>
                    <a:pt x="506290" y="92281"/>
                    <a:pt x="500491" y="88573"/>
                  </a:cubicBezTo>
                  <a:cubicBezTo>
                    <a:pt x="494977" y="84724"/>
                    <a:pt x="490943" y="79109"/>
                    <a:pt x="489053" y="72655"/>
                  </a:cubicBezTo>
                  <a:cubicBezTo>
                    <a:pt x="488601" y="71289"/>
                    <a:pt x="488220" y="69900"/>
                    <a:pt x="487917" y="68494"/>
                  </a:cubicBezTo>
                  <a:cubicBezTo>
                    <a:pt x="487572" y="66839"/>
                    <a:pt x="487326" y="65164"/>
                    <a:pt x="487183" y="63479"/>
                  </a:cubicBezTo>
                  <a:cubicBezTo>
                    <a:pt x="487005" y="61563"/>
                    <a:pt x="486871" y="59266"/>
                    <a:pt x="486782" y="56589"/>
                  </a:cubicBezTo>
                  <a:cubicBezTo>
                    <a:pt x="486692" y="53912"/>
                    <a:pt x="486648" y="50701"/>
                    <a:pt x="486648" y="46958"/>
                  </a:cubicBezTo>
                  <a:cubicBezTo>
                    <a:pt x="486648" y="43213"/>
                    <a:pt x="486692" y="40003"/>
                    <a:pt x="486782" y="37327"/>
                  </a:cubicBezTo>
                  <a:cubicBezTo>
                    <a:pt x="486871" y="34652"/>
                    <a:pt x="487005" y="32356"/>
                    <a:pt x="487183" y="30440"/>
                  </a:cubicBezTo>
                  <a:cubicBezTo>
                    <a:pt x="487326" y="28755"/>
                    <a:pt x="487572" y="27081"/>
                    <a:pt x="487917" y="25426"/>
                  </a:cubicBezTo>
                  <a:cubicBezTo>
                    <a:pt x="488220" y="24019"/>
                    <a:pt x="488601" y="22630"/>
                    <a:pt x="489053" y="21264"/>
                  </a:cubicBezTo>
                  <a:cubicBezTo>
                    <a:pt x="490946" y="14815"/>
                    <a:pt x="494980" y="9204"/>
                    <a:pt x="500494" y="5358"/>
                  </a:cubicBezTo>
                  <a:cubicBezTo>
                    <a:pt x="512535" y="-1776"/>
                    <a:pt x="527511" y="-1776"/>
                    <a:pt x="539552" y="5358"/>
                  </a:cubicBezTo>
                  <a:cubicBezTo>
                    <a:pt x="545066" y="9207"/>
                    <a:pt x="549100" y="14823"/>
                    <a:pt x="550990" y="21276"/>
                  </a:cubicBezTo>
                  <a:cubicBezTo>
                    <a:pt x="551442" y="22642"/>
                    <a:pt x="551822" y="24031"/>
                    <a:pt x="552126" y="25437"/>
                  </a:cubicBezTo>
                  <a:cubicBezTo>
                    <a:pt x="552473" y="27093"/>
                    <a:pt x="552717" y="28769"/>
                    <a:pt x="552863" y="30455"/>
                  </a:cubicBezTo>
                  <a:cubicBezTo>
                    <a:pt x="553041" y="32373"/>
                    <a:pt x="553175" y="34669"/>
                    <a:pt x="553264" y="37342"/>
                  </a:cubicBezTo>
                  <a:cubicBezTo>
                    <a:pt x="553353" y="40015"/>
                    <a:pt x="553398" y="43226"/>
                    <a:pt x="553398" y="46973"/>
                  </a:cubicBezTo>
                  <a:cubicBezTo>
                    <a:pt x="553398" y="50718"/>
                    <a:pt x="553353" y="53929"/>
                    <a:pt x="553264" y="56604"/>
                  </a:cubicBezTo>
                  <a:cubicBezTo>
                    <a:pt x="553175" y="59279"/>
                    <a:pt x="553041" y="61576"/>
                    <a:pt x="552863" y="63494"/>
                  </a:cubicBezTo>
                  <a:cubicBezTo>
                    <a:pt x="552717" y="65180"/>
                    <a:pt x="552473" y="66855"/>
                    <a:pt x="552126" y="68512"/>
                  </a:cubicBezTo>
                  <a:cubicBezTo>
                    <a:pt x="551822" y="69918"/>
                    <a:pt x="551442" y="71307"/>
                    <a:pt x="550990" y="72673"/>
                  </a:cubicBezTo>
                  <a:cubicBezTo>
                    <a:pt x="549100" y="79126"/>
                    <a:pt x="545066" y="84742"/>
                    <a:pt x="539552" y="88591"/>
                  </a:cubicBezTo>
                  <a:cubicBezTo>
                    <a:pt x="533708" y="92304"/>
                    <a:pt x="526874" y="94163"/>
                    <a:pt x="519955" y="93923"/>
                  </a:cubicBezTo>
                  <a:close/>
                  <a:moveTo>
                    <a:pt x="519955" y="82821"/>
                  </a:moveTo>
                  <a:cubicBezTo>
                    <a:pt x="524366" y="83016"/>
                    <a:pt x="528723" y="81797"/>
                    <a:pt x="532394" y="79343"/>
                  </a:cubicBezTo>
                  <a:cubicBezTo>
                    <a:pt x="535735" y="76839"/>
                    <a:pt x="538176" y="73319"/>
                    <a:pt x="539350" y="69311"/>
                  </a:cubicBezTo>
                  <a:cubicBezTo>
                    <a:pt x="539662" y="68325"/>
                    <a:pt x="539909" y="67319"/>
                    <a:pt x="540087" y="66300"/>
                  </a:cubicBezTo>
                  <a:cubicBezTo>
                    <a:pt x="540310" y="65095"/>
                    <a:pt x="540533" y="63602"/>
                    <a:pt x="540756" y="61821"/>
                  </a:cubicBezTo>
                  <a:cubicBezTo>
                    <a:pt x="540979" y="60039"/>
                    <a:pt x="541136" y="57944"/>
                    <a:pt x="541226" y="55534"/>
                  </a:cubicBezTo>
                  <a:cubicBezTo>
                    <a:pt x="541315" y="53126"/>
                    <a:pt x="541359" y="50273"/>
                    <a:pt x="541359" y="46973"/>
                  </a:cubicBezTo>
                  <a:cubicBezTo>
                    <a:pt x="541359" y="43674"/>
                    <a:pt x="541315" y="40820"/>
                    <a:pt x="541226" y="38412"/>
                  </a:cubicBezTo>
                  <a:cubicBezTo>
                    <a:pt x="541136" y="36005"/>
                    <a:pt x="540979" y="33909"/>
                    <a:pt x="540756" y="32126"/>
                  </a:cubicBezTo>
                  <a:cubicBezTo>
                    <a:pt x="540533" y="30342"/>
                    <a:pt x="540310" y="28849"/>
                    <a:pt x="540087" y="27646"/>
                  </a:cubicBezTo>
                  <a:cubicBezTo>
                    <a:pt x="539909" y="26627"/>
                    <a:pt x="539662" y="25621"/>
                    <a:pt x="539350" y="24635"/>
                  </a:cubicBezTo>
                  <a:cubicBezTo>
                    <a:pt x="538176" y="20627"/>
                    <a:pt x="535735" y="17107"/>
                    <a:pt x="532394" y="14603"/>
                  </a:cubicBezTo>
                  <a:cubicBezTo>
                    <a:pt x="528723" y="12149"/>
                    <a:pt x="524366" y="10931"/>
                    <a:pt x="519955" y="11125"/>
                  </a:cubicBezTo>
                  <a:cubicBezTo>
                    <a:pt x="515564" y="10923"/>
                    <a:pt x="511224" y="12143"/>
                    <a:pt x="507580" y="14603"/>
                  </a:cubicBezTo>
                  <a:cubicBezTo>
                    <a:pt x="504272" y="17126"/>
                    <a:pt x="501858" y="20641"/>
                    <a:pt x="500693" y="24635"/>
                  </a:cubicBezTo>
                  <a:cubicBezTo>
                    <a:pt x="500381" y="25621"/>
                    <a:pt x="500134" y="26627"/>
                    <a:pt x="499959" y="27646"/>
                  </a:cubicBezTo>
                  <a:cubicBezTo>
                    <a:pt x="499736" y="28849"/>
                    <a:pt x="499513" y="30342"/>
                    <a:pt x="499290" y="32126"/>
                  </a:cubicBezTo>
                  <a:cubicBezTo>
                    <a:pt x="499067" y="33909"/>
                    <a:pt x="498909" y="36005"/>
                    <a:pt x="498820" y="38412"/>
                  </a:cubicBezTo>
                  <a:cubicBezTo>
                    <a:pt x="498731" y="40820"/>
                    <a:pt x="498686" y="43674"/>
                    <a:pt x="498686" y="46973"/>
                  </a:cubicBezTo>
                  <a:cubicBezTo>
                    <a:pt x="498686" y="50273"/>
                    <a:pt x="498731" y="53126"/>
                    <a:pt x="498820" y="55534"/>
                  </a:cubicBezTo>
                  <a:cubicBezTo>
                    <a:pt x="498909" y="57941"/>
                    <a:pt x="499067" y="60037"/>
                    <a:pt x="499290" y="61821"/>
                  </a:cubicBezTo>
                  <a:cubicBezTo>
                    <a:pt x="499513" y="63604"/>
                    <a:pt x="499736" y="65097"/>
                    <a:pt x="499959" y="66300"/>
                  </a:cubicBezTo>
                  <a:cubicBezTo>
                    <a:pt x="500134" y="67319"/>
                    <a:pt x="500381" y="68325"/>
                    <a:pt x="500693" y="69311"/>
                  </a:cubicBezTo>
                  <a:cubicBezTo>
                    <a:pt x="501858" y="73305"/>
                    <a:pt x="504272" y="76821"/>
                    <a:pt x="507580" y="79343"/>
                  </a:cubicBezTo>
                  <a:cubicBezTo>
                    <a:pt x="511224" y="81803"/>
                    <a:pt x="515564" y="83023"/>
                    <a:pt x="519955" y="82821"/>
                  </a:cubicBezTo>
                  <a:close/>
                  <a:moveTo>
                    <a:pt x="625359" y="92452"/>
                  </a:moveTo>
                  <a:cubicBezTo>
                    <a:pt x="624544" y="92446"/>
                    <a:pt x="623834" y="91899"/>
                    <a:pt x="623620" y="91114"/>
                  </a:cubicBezTo>
                  <a:lnTo>
                    <a:pt x="605428" y="53929"/>
                  </a:lnTo>
                  <a:lnTo>
                    <a:pt x="585364" y="53929"/>
                  </a:lnTo>
                  <a:cubicBezTo>
                    <a:pt x="584974" y="53874"/>
                    <a:pt x="584615" y="54144"/>
                    <a:pt x="584561" y="54533"/>
                  </a:cubicBezTo>
                  <a:cubicBezTo>
                    <a:pt x="584552" y="54599"/>
                    <a:pt x="584552" y="54666"/>
                    <a:pt x="584561" y="54731"/>
                  </a:cubicBezTo>
                  <a:lnTo>
                    <a:pt x="584561" y="91114"/>
                  </a:lnTo>
                  <a:cubicBezTo>
                    <a:pt x="584651" y="91765"/>
                    <a:pt x="584193" y="92364"/>
                    <a:pt x="583542" y="92452"/>
                  </a:cubicBezTo>
                  <a:cubicBezTo>
                    <a:pt x="583438" y="92466"/>
                    <a:pt x="583331" y="92466"/>
                    <a:pt x="583224" y="92452"/>
                  </a:cubicBezTo>
                  <a:lnTo>
                    <a:pt x="573994" y="92452"/>
                  </a:lnTo>
                  <a:cubicBezTo>
                    <a:pt x="573343" y="92540"/>
                    <a:pt x="572746" y="92084"/>
                    <a:pt x="572657" y="91433"/>
                  </a:cubicBezTo>
                  <a:cubicBezTo>
                    <a:pt x="572642" y="91327"/>
                    <a:pt x="572642" y="91220"/>
                    <a:pt x="572657" y="91114"/>
                  </a:cubicBezTo>
                  <a:lnTo>
                    <a:pt x="572657" y="2832"/>
                  </a:lnTo>
                  <a:cubicBezTo>
                    <a:pt x="572567" y="2181"/>
                    <a:pt x="573025" y="1582"/>
                    <a:pt x="573676" y="1494"/>
                  </a:cubicBezTo>
                  <a:cubicBezTo>
                    <a:pt x="573780" y="1480"/>
                    <a:pt x="573887" y="1480"/>
                    <a:pt x="573994" y="1494"/>
                  </a:cubicBezTo>
                  <a:lnTo>
                    <a:pt x="606900" y="1494"/>
                  </a:lnTo>
                  <a:cubicBezTo>
                    <a:pt x="610859" y="1441"/>
                    <a:pt x="614794" y="2075"/>
                    <a:pt x="618537" y="3367"/>
                  </a:cubicBezTo>
                  <a:cubicBezTo>
                    <a:pt x="621845" y="4516"/>
                    <a:pt x="624892" y="6312"/>
                    <a:pt x="627499" y="8652"/>
                  </a:cubicBezTo>
                  <a:cubicBezTo>
                    <a:pt x="630019" y="10959"/>
                    <a:pt x="632005" y="13790"/>
                    <a:pt x="633319" y="16945"/>
                  </a:cubicBezTo>
                  <a:cubicBezTo>
                    <a:pt x="634734" y="20356"/>
                    <a:pt x="635441" y="24019"/>
                    <a:pt x="635400" y="27711"/>
                  </a:cubicBezTo>
                  <a:cubicBezTo>
                    <a:pt x="635572" y="33317"/>
                    <a:pt x="633878" y="38822"/>
                    <a:pt x="630584" y="43361"/>
                  </a:cubicBezTo>
                  <a:cubicBezTo>
                    <a:pt x="627288" y="47703"/>
                    <a:pt x="622698" y="50888"/>
                    <a:pt x="617476" y="52457"/>
                  </a:cubicBezTo>
                  <a:lnTo>
                    <a:pt x="636871" y="90847"/>
                  </a:lnTo>
                  <a:cubicBezTo>
                    <a:pt x="637127" y="91170"/>
                    <a:pt x="637177" y="91609"/>
                    <a:pt x="637005" y="91982"/>
                  </a:cubicBezTo>
                  <a:cubicBezTo>
                    <a:pt x="636809" y="92305"/>
                    <a:pt x="636446" y="92488"/>
                    <a:pt x="636068" y="92452"/>
                  </a:cubicBezTo>
                  <a:close/>
                  <a:moveTo>
                    <a:pt x="606632" y="42826"/>
                  </a:moveTo>
                  <a:cubicBezTo>
                    <a:pt x="611126" y="43111"/>
                    <a:pt x="615564" y="41704"/>
                    <a:pt x="619072" y="38882"/>
                  </a:cubicBezTo>
                  <a:cubicBezTo>
                    <a:pt x="622122" y="35995"/>
                    <a:pt x="623739" y="31904"/>
                    <a:pt x="623486" y="27711"/>
                  </a:cubicBezTo>
                  <a:cubicBezTo>
                    <a:pt x="623739" y="23519"/>
                    <a:pt x="622122" y="19431"/>
                    <a:pt x="619072" y="16544"/>
                  </a:cubicBezTo>
                  <a:cubicBezTo>
                    <a:pt x="615564" y="13722"/>
                    <a:pt x="611126" y="12315"/>
                    <a:pt x="606632" y="12599"/>
                  </a:cubicBezTo>
                  <a:lnTo>
                    <a:pt x="585364" y="12599"/>
                  </a:lnTo>
                  <a:cubicBezTo>
                    <a:pt x="584974" y="12545"/>
                    <a:pt x="584615" y="12815"/>
                    <a:pt x="584561" y="13204"/>
                  </a:cubicBezTo>
                  <a:cubicBezTo>
                    <a:pt x="584552" y="13269"/>
                    <a:pt x="584552" y="13336"/>
                    <a:pt x="584561" y="13402"/>
                  </a:cubicBezTo>
                  <a:lnTo>
                    <a:pt x="584561" y="42027"/>
                  </a:lnTo>
                  <a:cubicBezTo>
                    <a:pt x="584508" y="42415"/>
                    <a:pt x="584778" y="42775"/>
                    <a:pt x="585165" y="42829"/>
                  </a:cubicBezTo>
                  <a:cubicBezTo>
                    <a:pt x="585230" y="42839"/>
                    <a:pt x="585299" y="42839"/>
                    <a:pt x="585364" y="42829"/>
                  </a:cubicBezTo>
                  <a:close/>
                  <a:moveTo>
                    <a:pt x="674717" y="92452"/>
                  </a:moveTo>
                  <a:cubicBezTo>
                    <a:pt x="674066" y="92540"/>
                    <a:pt x="673468" y="92084"/>
                    <a:pt x="673379" y="91433"/>
                  </a:cubicBezTo>
                  <a:cubicBezTo>
                    <a:pt x="673364" y="91327"/>
                    <a:pt x="673364" y="91220"/>
                    <a:pt x="673379" y="91114"/>
                  </a:cubicBezTo>
                  <a:lnTo>
                    <a:pt x="673379" y="13384"/>
                  </a:lnTo>
                  <a:cubicBezTo>
                    <a:pt x="673432" y="12996"/>
                    <a:pt x="673162" y="12636"/>
                    <a:pt x="672776" y="12581"/>
                  </a:cubicBezTo>
                  <a:cubicBezTo>
                    <a:pt x="672710" y="12572"/>
                    <a:pt x="672642" y="12572"/>
                    <a:pt x="672576" y="12581"/>
                  </a:cubicBezTo>
                  <a:lnTo>
                    <a:pt x="647697" y="12581"/>
                  </a:lnTo>
                  <a:cubicBezTo>
                    <a:pt x="647046" y="12670"/>
                    <a:pt x="646448" y="12213"/>
                    <a:pt x="646359" y="11563"/>
                  </a:cubicBezTo>
                  <a:cubicBezTo>
                    <a:pt x="646344" y="11457"/>
                    <a:pt x="646344" y="11350"/>
                    <a:pt x="646359" y="11244"/>
                  </a:cubicBezTo>
                  <a:lnTo>
                    <a:pt x="646359" y="2832"/>
                  </a:lnTo>
                  <a:cubicBezTo>
                    <a:pt x="646270" y="2181"/>
                    <a:pt x="646728" y="1582"/>
                    <a:pt x="647379" y="1494"/>
                  </a:cubicBezTo>
                  <a:cubicBezTo>
                    <a:pt x="647483" y="1480"/>
                    <a:pt x="647590" y="1480"/>
                    <a:pt x="647697" y="1494"/>
                  </a:cubicBezTo>
                  <a:lnTo>
                    <a:pt x="710966" y="1494"/>
                  </a:lnTo>
                  <a:cubicBezTo>
                    <a:pt x="711617" y="1406"/>
                    <a:pt x="712214" y="1862"/>
                    <a:pt x="712304" y="2513"/>
                  </a:cubicBezTo>
                  <a:cubicBezTo>
                    <a:pt x="712318" y="2619"/>
                    <a:pt x="712318" y="2726"/>
                    <a:pt x="712304" y="2832"/>
                  </a:cubicBezTo>
                  <a:lnTo>
                    <a:pt x="712304" y="11259"/>
                  </a:lnTo>
                  <a:cubicBezTo>
                    <a:pt x="712393" y="11909"/>
                    <a:pt x="711935" y="12508"/>
                    <a:pt x="711284" y="12596"/>
                  </a:cubicBezTo>
                  <a:cubicBezTo>
                    <a:pt x="711180" y="12611"/>
                    <a:pt x="711073" y="12611"/>
                    <a:pt x="710966" y="12596"/>
                  </a:cubicBezTo>
                  <a:lnTo>
                    <a:pt x="686086" y="12596"/>
                  </a:lnTo>
                  <a:cubicBezTo>
                    <a:pt x="685697" y="12542"/>
                    <a:pt x="685337" y="12812"/>
                    <a:pt x="685284" y="13201"/>
                  </a:cubicBezTo>
                  <a:cubicBezTo>
                    <a:pt x="685275" y="13266"/>
                    <a:pt x="685275" y="13333"/>
                    <a:pt x="685284" y="13399"/>
                  </a:cubicBezTo>
                  <a:lnTo>
                    <a:pt x="685284" y="91114"/>
                  </a:lnTo>
                  <a:cubicBezTo>
                    <a:pt x="685373" y="91765"/>
                    <a:pt x="684915" y="92364"/>
                    <a:pt x="684264" y="92452"/>
                  </a:cubicBezTo>
                  <a:cubicBezTo>
                    <a:pt x="684160" y="92466"/>
                    <a:pt x="684053" y="92466"/>
                    <a:pt x="683946" y="92452"/>
                  </a:cubicBezTo>
                  <a:close/>
                  <a:moveTo>
                    <a:pt x="740393" y="2832"/>
                  </a:moveTo>
                  <a:cubicBezTo>
                    <a:pt x="740524" y="2051"/>
                    <a:pt x="741208" y="1483"/>
                    <a:pt x="741999" y="1494"/>
                  </a:cubicBezTo>
                  <a:lnTo>
                    <a:pt x="750693" y="1494"/>
                  </a:lnTo>
                  <a:cubicBezTo>
                    <a:pt x="751525" y="1448"/>
                    <a:pt x="752263" y="2017"/>
                    <a:pt x="752432" y="2832"/>
                  </a:cubicBezTo>
                  <a:lnTo>
                    <a:pt x="783598" y="91114"/>
                  </a:lnTo>
                  <a:cubicBezTo>
                    <a:pt x="783866" y="92006"/>
                    <a:pt x="783554" y="92452"/>
                    <a:pt x="782662" y="92452"/>
                  </a:cubicBezTo>
                  <a:lnTo>
                    <a:pt x="773299" y="92452"/>
                  </a:lnTo>
                  <a:cubicBezTo>
                    <a:pt x="772467" y="92499"/>
                    <a:pt x="771729" y="91929"/>
                    <a:pt x="771560" y="91114"/>
                  </a:cubicBezTo>
                  <a:lnTo>
                    <a:pt x="764604" y="71318"/>
                  </a:lnTo>
                  <a:lnTo>
                    <a:pt x="727820" y="71318"/>
                  </a:lnTo>
                  <a:lnTo>
                    <a:pt x="720864" y="91114"/>
                  </a:lnTo>
                  <a:cubicBezTo>
                    <a:pt x="720650" y="91899"/>
                    <a:pt x="719940" y="92446"/>
                    <a:pt x="719125" y="92452"/>
                  </a:cubicBezTo>
                  <a:lnTo>
                    <a:pt x="709762" y="92452"/>
                  </a:lnTo>
                  <a:cubicBezTo>
                    <a:pt x="708870" y="92452"/>
                    <a:pt x="708558" y="92006"/>
                    <a:pt x="708826" y="91114"/>
                  </a:cubicBezTo>
                  <a:close/>
                  <a:moveTo>
                    <a:pt x="760725" y="60349"/>
                  </a:moveTo>
                  <a:lnTo>
                    <a:pt x="746413" y="19017"/>
                  </a:lnTo>
                  <a:lnTo>
                    <a:pt x="746145" y="19017"/>
                  </a:lnTo>
                  <a:lnTo>
                    <a:pt x="731699" y="60349"/>
                  </a:lnTo>
                  <a:close/>
                  <a:moveTo>
                    <a:pt x="808478" y="92452"/>
                  </a:moveTo>
                  <a:cubicBezTo>
                    <a:pt x="807827" y="92540"/>
                    <a:pt x="807230" y="92084"/>
                    <a:pt x="807140" y="91433"/>
                  </a:cubicBezTo>
                  <a:cubicBezTo>
                    <a:pt x="807126" y="91327"/>
                    <a:pt x="807126" y="91220"/>
                    <a:pt x="807140" y="91114"/>
                  </a:cubicBezTo>
                  <a:lnTo>
                    <a:pt x="807140" y="13384"/>
                  </a:lnTo>
                  <a:cubicBezTo>
                    <a:pt x="807194" y="12996"/>
                    <a:pt x="806923" y="12636"/>
                    <a:pt x="806537" y="12581"/>
                  </a:cubicBezTo>
                  <a:cubicBezTo>
                    <a:pt x="806472" y="12572"/>
                    <a:pt x="806403" y="12572"/>
                    <a:pt x="806338" y="12581"/>
                  </a:cubicBezTo>
                  <a:lnTo>
                    <a:pt x="781458" y="12581"/>
                  </a:lnTo>
                  <a:cubicBezTo>
                    <a:pt x="780807" y="12670"/>
                    <a:pt x="780210" y="12213"/>
                    <a:pt x="780121" y="11563"/>
                  </a:cubicBezTo>
                  <a:cubicBezTo>
                    <a:pt x="780106" y="11457"/>
                    <a:pt x="780106" y="11350"/>
                    <a:pt x="780121" y="11244"/>
                  </a:cubicBezTo>
                  <a:lnTo>
                    <a:pt x="780121" y="2832"/>
                  </a:lnTo>
                  <a:cubicBezTo>
                    <a:pt x="780031" y="2181"/>
                    <a:pt x="780489" y="1582"/>
                    <a:pt x="781140" y="1494"/>
                  </a:cubicBezTo>
                  <a:cubicBezTo>
                    <a:pt x="781244" y="1480"/>
                    <a:pt x="781351" y="1480"/>
                    <a:pt x="781458" y="1494"/>
                  </a:cubicBezTo>
                  <a:lnTo>
                    <a:pt x="844727" y="1494"/>
                  </a:lnTo>
                  <a:cubicBezTo>
                    <a:pt x="845378" y="1406"/>
                    <a:pt x="845976" y="1862"/>
                    <a:pt x="846065" y="2513"/>
                  </a:cubicBezTo>
                  <a:cubicBezTo>
                    <a:pt x="846080" y="2619"/>
                    <a:pt x="846080" y="2726"/>
                    <a:pt x="846065" y="2832"/>
                  </a:cubicBezTo>
                  <a:lnTo>
                    <a:pt x="846065" y="11259"/>
                  </a:lnTo>
                  <a:cubicBezTo>
                    <a:pt x="846154" y="11909"/>
                    <a:pt x="845696" y="12508"/>
                    <a:pt x="845046" y="12596"/>
                  </a:cubicBezTo>
                  <a:cubicBezTo>
                    <a:pt x="844941" y="12611"/>
                    <a:pt x="844834" y="12611"/>
                    <a:pt x="844727" y="12596"/>
                  </a:cubicBezTo>
                  <a:lnTo>
                    <a:pt x="819848" y="12596"/>
                  </a:lnTo>
                  <a:cubicBezTo>
                    <a:pt x="819458" y="12542"/>
                    <a:pt x="819099" y="12812"/>
                    <a:pt x="819045" y="13201"/>
                  </a:cubicBezTo>
                  <a:cubicBezTo>
                    <a:pt x="819036" y="13266"/>
                    <a:pt x="819036" y="13333"/>
                    <a:pt x="819045" y="13399"/>
                  </a:cubicBezTo>
                  <a:lnTo>
                    <a:pt x="819045" y="91114"/>
                  </a:lnTo>
                  <a:cubicBezTo>
                    <a:pt x="819134" y="91765"/>
                    <a:pt x="818677" y="92364"/>
                    <a:pt x="818026" y="92452"/>
                  </a:cubicBezTo>
                  <a:cubicBezTo>
                    <a:pt x="817922" y="92466"/>
                    <a:pt x="817815" y="92466"/>
                    <a:pt x="817708" y="92452"/>
                  </a:cubicBezTo>
                  <a:close/>
                  <a:moveTo>
                    <a:pt x="860259" y="2832"/>
                  </a:moveTo>
                  <a:cubicBezTo>
                    <a:pt x="860169" y="2181"/>
                    <a:pt x="860627" y="1582"/>
                    <a:pt x="861278" y="1494"/>
                  </a:cubicBezTo>
                  <a:cubicBezTo>
                    <a:pt x="861382" y="1480"/>
                    <a:pt x="861489" y="1480"/>
                    <a:pt x="861596" y="1494"/>
                  </a:cubicBezTo>
                  <a:lnTo>
                    <a:pt x="870811" y="1494"/>
                  </a:lnTo>
                  <a:cubicBezTo>
                    <a:pt x="871462" y="1406"/>
                    <a:pt x="872059" y="1862"/>
                    <a:pt x="872149" y="2513"/>
                  </a:cubicBezTo>
                  <a:cubicBezTo>
                    <a:pt x="872163" y="2619"/>
                    <a:pt x="872163" y="2726"/>
                    <a:pt x="872149" y="2832"/>
                  </a:cubicBezTo>
                  <a:lnTo>
                    <a:pt x="872149" y="91114"/>
                  </a:lnTo>
                  <a:cubicBezTo>
                    <a:pt x="872238" y="91765"/>
                    <a:pt x="871780" y="92364"/>
                    <a:pt x="871129" y="92452"/>
                  </a:cubicBezTo>
                  <a:cubicBezTo>
                    <a:pt x="871025" y="92466"/>
                    <a:pt x="870918" y="92466"/>
                    <a:pt x="870811" y="92452"/>
                  </a:cubicBezTo>
                  <a:lnTo>
                    <a:pt x="861596" y="92452"/>
                  </a:lnTo>
                  <a:cubicBezTo>
                    <a:pt x="860945" y="92540"/>
                    <a:pt x="860348" y="92084"/>
                    <a:pt x="860259" y="91433"/>
                  </a:cubicBezTo>
                  <a:cubicBezTo>
                    <a:pt x="860244" y="91327"/>
                    <a:pt x="860244" y="91220"/>
                    <a:pt x="860259" y="91114"/>
                  </a:cubicBezTo>
                  <a:close/>
                  <a:moveTo>
                    <a:pt x="924732" y="93923"/>
                  </a:moveTo>
                  <a:cubicBezTo>
                    <a:pt x="917853" y="94145"/>
                    <a:pt x="911070" y="92280"/>
                    <a:pt x="905271" y="88573"/>
                  </a:cubicBezTo>
                  <a:cubicBezTo>
                    <a:pt x="899757" y="84724"/>
                    <a:pt x="895723" y="79109"/>
                    <a:pt x="893833" y="72655"/>
                  </a:cubicBezTo>
                  <a:cubicBezTo>
                    <a:pt x="893381" y="71289"/>
                    <a:pt x="893000" y="69900"/>
                    <a:pt x="892694" y="68494"/>
                  </a:cubicBezTo>
                  <a:cubicBezTo>
                    <a:pt x="892350" y="66839"/>
                    <a:pt x="892103" y="65164"/>
                    <a:pt x="891960" y="63479"/>
                  </a:cubicBezTo>
                  <a:cubicBezTo>
                    <a:pt x="891782" y="61563"/>
                    <a:pt x="891648" y="59266"/>
                    <a:pt x="891559" y="56589"/>
                  </a:cubicBezTo>
                  <a:cubicBezTo>
                    <a:pt x="891470" y="53912"/>
                    <a:pt x="891425" y="50701"/>
                    <a:pt x="891425" y="46958"/>
                  </a:cubicBezTo>
                  <a:cubicBezTo>
                    <a:pt x="891425" y="43213"/>
                    <a:pt x="891470" y="40003"/>
                    <a:pt x="891559" y="37327"/>
                  </a:cubicBezTo>
                  <a:cubicBezTo>
                    <a:pt x="891648" y="34652"/>
                    <a:pt x="891782" y="32356"/>
                    <a:pt x="891960" y="30440"/>
                  </a:cubicBezTo>
                  <a:cubicBezTo>
                    <a:pt x="892103" y="28755"/>
                    <a:pt x="892350" y="27081"/>
                    <a:pt x="892694" y="25426"/>
                  </a:cubicBezTo>
                  <a:cubicBezTo>
                    <a:pt x="893000" y="24019"/>
                    <a:pt x="893381" y="22630"/>
                    <a:pt x="893833" y="21264"/>
                  </a:cubicBezTo>
                  <a:cubicBezTo>
                    <a:pt x="895720" y="14817"/>
                    <a:pt x="899751" y="9207"/>
                    <a:pt x="905256" y="5358"/>
                  </a:cubicBezTo>
                  <a:cubicBezTo>
                    <a:pt x="917298" y="-1776"/>
                    <a:pt x="932273" y="-1776"/>
                    <a:pt x="944314" y="5358"/>
                  </a:cubicBezTo>
                  <a:cubicBezTo>
                    <a:pt x="949828" y="9207"/>
                    <a:pt x="953862" y="14823"/>
                    <a:pt x="955752" y="21276"/>
                  </a:cubicBezTo>
                  <a:cubicBezTo>
                    <a:pt x="956204" y="22642"/>
                    <a:pt x="956585" y="24031"/>
                    <a:pt x="956891" y="25437"/>
                  </a:cubicBezTo>
                  <a:cubicBezTo>
                    <a:pt x="957236" y="27094"/>
                    <a:pt x="957482" y="28769"/>
                    <a:pt x="957625" y="30455"/>
                  </a:cubicBezTo>
                  <a:cubicBezTo>
                    <a:pt x="957803" y="32373"/>
                    <a:pt x="957937" y="34669"/>
                    <a:pt x="958026" y="37342"/>
                  </a:cubicBezTo>
                  <a:cubicBezTo>
                    <a:pt x="958116" y="40015"/>
                    <a:pt x="958160" y="43226"/>
                    <a:pt x="958160" y="46973"/>
                  </a:cubicBezTo>
                  <a:cubicBezTo>
                    <a:pt x="958160" y="50718"/>
                    <a:pt x="958116" y="53929"/>
                    <a:pt x="958026" y="56604"/>
                  </a:cubicBezTo>
                  <a:cubicBezTo>
                    <a:pt x="957937" y="59279"/>
                    <a:pt x="957803" y="61576"/>
                    <a:pt x="957625" y="63494"/>
                  </a:cubicBezTo>
                  <a:cubicBezTo>
                    <a:pt x="957482" y="65180"/>
                    <a:pt x="957236" y="66855"/>
                    <a:pt x="956891" y="68512"/>
                  </a:cubicBezTo>
                  <a:cubicBezTo>
                    <a:pt x="956585" y="69918"/>
                    <a:pt x="956204" y="71307"/>
                    <a:pt x="955752" y="72673"/>
                  </a:cubicBezTo>
                  <a:cubicBezTo>
                    <a:pt x="953862" y="79126"/>
                    <a:pt x="949828" y="84742"/>
                    <a:pt x="944314" y="88591"/>
                  </a:cubicBezTo>
                  <a:cubicBezTo>
                    <a:pt x="938470" y="92304"/>
                    <a:pt x="931637" y="94163"/>
                    <a:pt x="924717" y="93923"/>
                  </a:cubicBezTo>
                  <a:close/>
                  <a:moveTo>
                    <a:pt x="924732" y="82821"/>
                  </a:moveTo>
                  <a:cubicBezTo>
                    <a:pt x="929143" y="83016"/>
                    <a:pt x="933500" y="81797"/>
                    <a:pt x="937171" y="79343"/>
                  </a:cubicBezTo>
                  <a:cubicBezTo>
                    <a:pt x="940513" y="76839"/>
                    <a:pt x="942953" y="73319"/>
                    <a:pt x="944127" y="69311"/>
                  </a:cubicBezTo>
                  <a:cubicBezTo>
                    <a:pt x="944439" y="68325"/>
                    <a:pt x="944686" y="67319"/>
                    <a:pt x="944861" y="66300"/>
                  </a:cubicBezTo>
                  <a:cubicBezTo>
                    <a:pt x="945084" y="65095"/>
                    <a:pt x="945307" y="63602"/>
                    <a:pt x="945530" y="61821"/>
                  </a:cubicBezTo>
                  <a:cubicBezTo>
                    <a:pt x="945753" y="60039"/>
                    <a:pt x="945908" y="57944"/>
                    <a:pt x="946000" y="55534"/>
                  </a:cubicBezTo>
                  <a:cubicBezTo>
                    <a:pt x="946089" y="53126"/>
                    <a:pt x="946134" y="50273"/>
                    <a:pt x="946134" y="46973"/>
                  </a:cubicBezTo>
                  <a:cubicBezTo>
                    <a:pt x="946134" y="43674"/>
                    <a:pt x="946089" y="40820"/>
                    <a:pt x="946000" y="38412"/>
                  </a:cubicBezTo>
                  <a:cubicBezTo>
                    <a:pt x="945911" y="36005"/>
                    <a:pt x="945753" y="33909"/>
                    <a:pt x="945530" y="32126"/>
                  </a:cubicBezTo>
                  <a:cubicBezTo>
                    <a:pt x="945307" y="30342"/>
                    <a:pt x="945084" y="28849"/>
                    <a:pt x="944861" y="27646"/>
                  </a:cubicBezTo>
                  <a:cubicBezTo>
                    <a:pt x="944686" y="26627"/>
                    <a:pt x="944439" y="25621"/>
                    <a:pt x="944127" y="24635"/>
                  </a:cubicBezTo>
                  <a:cubicBezTo>
                    <a:pt x="942953" y="20627"/>
                    <a:pt x="940513" y="17107"/>
                    <a:pt x="937171" y="14603"/>
                  </a:cubicBezTo>
                  <a:cubicBezTo>
                    <a:pt x="933500" y="12149"/>
                    <a:pt x="929143" y="10931"/>
                    <a:pt x="924732" y="11125"/>
                  </a:cubicBezTo>
                  <a:cubicBezTo>
                    <a:pt x="920341" y="10923"/>
                    <a:pt x="916002" y="12143"/>
                    <a:pt x="912357" y="14603"/>
                  </a:cubicBezTo>
                  <a:cubicBezTo>
                    <a:pt x="909049" y="17125"/>
                    <a:pt x="906632" y="20641"/>
                    <a:pt x="905467" y="24635"/>
                  </a:cubicBezTo>
                  <a:cubicBezTo>
                    <a:pt x="905155" y="25621"/>
                    <a:pt x="904908" y="26627"/>
                    <a:pt x="904733" y="27646"/>
                  </a:cubicBezTo>
                  <a:cubicBezTo>
                    <a:pt x="904510" y="28849"/>
                    <a:pt x="904287" y="30342"/>
                    <a:pt x="904064" y="32126"/>
                  </a:cubicBezTo>
                  <a:cubicBezTo>
                    <a:pt x="903841" y="33909"/>
                    <a:pt x="903684" y="36005"/>
                    <a:pt x="903594" y="38412"/>
                  </a:cubicBezTo>
                  <a:cubicBezTo>
                    <a:pt x="903505" y="40820"/>
                    <a:pt x="903461" y="43674"/>
                    <a:pt x="903461" y="46973"/>
                  </a:cubicBezTo>
                  <a:cubicBezTo>
                    <a:pt x="903461" y="50273"/>
                    <a:pt x="903505" y="53126"/>
                    <a:pt x="903594" y="55534"/>
                  </a:cubicBezTo>
                  <a:cubicBezTo>
                    <a:pt x="903684" y="57941"/>
                    <a:pt x="903841" y="60037"/>
                    <a:pt x="904064" y="61821"/>
                  </a:cubicBezTo>
                  <a:cubicBezTo>
                    <a:pt x="904287" y="63604"/>
                    <a:pt x="904510" y="65097"/>
                    <a:pt x="904733" y="66300"/>
                  </a:cubicBezTo>
                  <a:cubicBezTo>
                    <a:pt x="904908" y="67319"/>
                    <a:pt x="905155" y="68325"/>
                    <a:pt x="905467" y="69311"/>
                  </a:cubicBezTo>
                  <a:cubicBezTo>
                    <a:pt x="906632" y="73305"/>
                    <a:pt x="909049" y="76821"/>
                    <a:pt x="912357" y="79343"/>
                  </a:cubicBezTo>
                  <a:cubicBezTo>
                    <a:pt x="915996" y="81800"/>
                    <a:pt x="920329" y="83020"/>
                    <a:pt x="924717" y="82821"/>
                  </a:cubicBezTo>
                  <a:close/>
                  <a:moveTo>
                    <a:pt x="977434" y="2832"/>
                  </a:moveTo>
                  <a:cubicBezTo>
                    <a:pt x="977345" y="2181"/>
                    <a:pt x="977802" y="1582"/>
                    <a:pt x="978453" y="1494"/>
                  </a:cubicBezTo>
                  <a:cubicBezTo>
                    <a:pt x="978557" y="1480"/>
                    <a:pt x="978664" y="1480"/>
                    <a:pt x="978771" y="1494"/>
                  </a:cubicBezTo>
                  <a:lnTo>
                    <a:pt x="987332" y="1494"/>
                  </a:lnTo>
                  <a:cubicBezTo>
                    <a:pt x="988292" y="1429"/>
                    <a:pt x="989196" y="1960"/>
                    <a:pt x="989606" y="2832"/>
                  </a:cubicBezTo>
                  <a:lnTo>
                    <a:pt x="1030790" y="71050"/>
                  </a:lnTo>
                  <a:lnTo>
                    <a:pt x="1031325" y="71050"/>
                  </a:lnTo>
                  <a:lnTo>
                    <a:pt x="1031325" y="2832"/>
                  </a:lnTo>
                  <a:cubicBezTo>
                    <a:pt x="1031236" y="2181"/>
                    <a:pt x="1031693" y="1582"/>
                    <a:pt x="1032344" y="1494"/>
                  </a:cubicBezTo>
                  <a:cubicBezTo>
                    <a:pt x="1032448" y="1480"/>
                    <a:pt x="1032555" y="1480"/>
                    <a:pt x="1032662" y="1494"/>
                  </a:cubicBezTo>
                  <a:lnTo>
                    <a:pt x="1041089" y="1494"/>
                  </a:lnTo>
                  <a:cubicBezTo>
                    <a:pt x="1041740" y="1406"/>
                    <a:pt x="1042338" y="1862"/>
                    <a:pt x="1042427" y="2513"/>
                  </a:cubicBezTo>
                  <a:cubicBezTo>
                    <a:pt x="1042442" y="2619"/>
                    <a:pt x="1042442" y="2726"/>
                    <a:pt x="1042427" y="2832"/>
                  </a:cubicBezTo>
                  <a:lnTo>
                    <a:pt x="1042427" y="91114"/>
                  </a:lnTo>
                  <a:cubicBezTo>
                    <a:pt x="1042516" y="91765"/>
                    <a:pt x="1042058" y="92364"/>
                    <a:pt x="1041407" y="92452"/>
                  </a:cubicBezTo>
                  <a:cubicBezTo>
                    <a:pt x="1041303" y="92466"/>
                    <a:pt x="1041196" y="92466"/>
                    <a:pt x="1041089" y="92452"/>
                  </a:cubicBezTo>
                  <a:lnTo>
                    <a:pt x="1032529" y="92452"/>
                  </a:lnTo>
                  <a:cubicBezTo>
                    <a:pt x="1031568" y="92517"/>
                    <a:pt x="1030665" y="91986"/>
                    <a:pt x="1030255" y="91114"/>
                  </a:cubicBezTo>
                  <a:lnTo>
                    <a:pt x="988937" y="23164"/>
                  </a:lnTo>
                  <a:lnTo>
                    <a:pt x="988536" y="23164"/>
                  </a:lnTo>
                  <a:lnTo>
                    <a:pt x="988536" y="91114"/>
                  </a:lnTo>
                  <a:cubicBezTo>
                    <a:pt x="988625" y="91765"/>
                    <a:pt x="988170" y="92365"/>
                    <a:pt x="987519" y="92454"/>
                  </a:cubicBezTo>
                  <a:cubicBezTo>
                    <a:pt x="987409" y="92469"/>
                    <a:pt x="987293" y="92469"/>
                    <a:pt x="987183" y="92452"/>
                  </a:cubicBezTo>
                  <a:lnTo>
                    <a:pt x="978756" y="92452"/>
                  </a:lnTo>
                  <a:cubicBezTo>
                    <a:pt x="978106" y="92540"/>
                    <a:pt x="977508" y="92084"/>
                    <a:pt x="977419" y="91433"/>
                  </a:cubicBezTo>
                  <a:cubicBezTo>
                    <a:pt x="977404" y="91327"/>
                    <a:pt x="977404" y="91220"/>
                    <a:pt x="977419" y="91114"/>
                  </a:cubicBezTo>
                  <a:close/>
                  <a:moveTo>
                    <a:pt x="1063041" y="79611"/>
                  </a:moveTo>
                  <a:cubicBezTo>
                    <a:pt x="1062952" y="78960"/>
                    <a:pt x="1063410" y="78361"/>
                    <a:pt x="1064061" y="78273"/>
                  </a:cubicBezTo>
                  <a:cubicBezTo>
                    <a:pt x="1064165" y="78259"/>
                    <a:pt x="1064272" y="78259"/>
                    <a:pt x="1064379" y="78273"/>
                  </a:cubicBezTo>
                  <a:lnTo>
                    <a:pt x="1074545" y="78273"/>
                  </a:lnTo>
                  <a:cubicBezTo>
                    <a:pt x="1075196" y="78185"/>
                    <a:pt x="1075793" y="78642"/>
                    <a:pt x="1075882" y="79292"/>
                  </a:cubicBezTo>
                  <a:cubicBezTo>
                    <a:pt x="1075897" y="79398"/>
                    <a:pt x="1075897" y="79505"/>
                    <a:pt x="1075882" y="79611"/>
                  </a:cubicBezTo>
                  <a:lnTo>
                    <a:pt x="1075882" y="91114"/>
                  </a:lnTo>
                  <a:cubicBezTo>
                    <a:pt x="1075971" y="91765"/>
                    <a:pt x="1075514" y="92364"/>
                    <a:pt x="1074863" y="92452"/>
                  </a:cubicBezTo>
                  <a:cubicBezTo>
                    <a:pt x="1074759" y="92466"/>
                    <a:pt x="1074652" y="92466"/>
                    <a:pt x="1074545" y="92452"/>
                  </a:cubicBezTo>
                  <a:lnTo>
                    <a:pt x="1064379" y="92452"/>
                  </a:lnTo>
                  <a:cubicBezTo>
                    <a:pt x="1063728" y="92540"/>
                    <a:pt x="1063130" y="92084"/>
                    <a:pt x="1063041" y="91433"/>
                  </a:cubicBezTo>
                  <a:cubicBezTo>
                    <a:pt x="1063026" y="91327"/>
                    <a:pt x="1063026" y="91220"/>
                    <a:pt x="1063041" y="91114"/>
                  </a:cubicBezTo>
                  <a:close/>
                </a:path>
              </a:pathLst>
            </a:custGeom>
            <a:solidFill>
              <a:schemeClr val="bg2"/>
            </a:solidFill>
            <a:ln w="2965" cap="flat">
              <a:noFill/>
              <a:prstDash val="solid"/>
              <a:miter/>
            </a:ln>
          </p:spPr>
          <p:txBody>
            <a:bodyPr rtlCol="0" anchor="ctr"/>
            <a:lstStyle/>
            <a:p>
              <a:endParaRPr lang="de-DE"/>
            </a:p>
          </p:txBody>
        </p:sp>
        <p:sp>
          <p:nvSpPr>
            <p:cNvPr id="44" name="Freeform: Shape 43">
              <a:extLst>
                <a:ext uri="{FF2B5EF4-FFF2-40B4-BE49-F238E27FC236}">
                  <a16:creationId xmlns:a16="http://schemas.microsoft.com/office/drawing/2014/main" id="{214B28F2-41D5-4D70-BF97-B7DEEA882F75}"/>
                </a:ext>
              </a:extLst>
            </p:cNvPr>
            <p:cNvSpPr/>
            <p:nvPr/>
          </p:nvSpPr>
          <p:spPr>
            <a:xfrm>
              <a:off x="10774019" y="6569216"/>
              <a:ext cx="1193687" cy="93972"/>
            </a:xfrm>
            <a:custGeom>
              <a:avLst/>
              <a:gdLst>
                <a:gd name="connsiteX0" fmla="*/ 31941 w 1193687"/>
                <a:gd name="connsiteY0" fmla="*/ 2904 h 93972"/>
                <a:gd name="connsiteX1" fmla="*/ 33546 w 1193687"/>
                <a:gd name="connsiteY1" fmla="*/ 1567 h 93972"/>
                <a:gd name="connsiteX2" fmla="*/ 42240 w 1193687"/>
                <a:gd name="connsiteY2" fmla="*/ 1567 h 93972"/>
                <a:gd name="connsiteX3" fmla="*/ 43979 w 1193687"/>
                <a:gd name="connsiteY3" fmla="*/ 2904 h 93972"/>
                <a:gd name="connsiteX4" fmla="*/ 75145 w 1193687"/>
                <a:gd name="connsiteY4" fmla="*/ 91187 h 93972"/>
                <a:gd name="connsiteX5" fmla="*/ 74209 w 1193687"/>
                <a:gd name="connsiteY5" fmla="*/ 92524 h 93972"/>
                <a:gd name="connsiteX6" fmla="*/ 64846 w 1193687"/>
                <a:gd name="connsiteY6" fmla="*/ 92524 h 93972"/>
                <a:gd name="connsiteX7" fmla="*/ 63107 w 1193687"/>
                <a:gd name="connsiteY7" fmla="*/ 91187 h 93972"/>
                <a:gd name="connsiteX8" fmla="*/ 56151 w 1193687"/>
                <a:gd name="connsiteY8" fmla="*/ 71390 h 93972"/>
                <a:gd name="connsiteX9" fmla="*/ 19367 w 1193687"/>
                <a:gd name="connsiteY9" fmla="*/ 71390 h 93972"/>
                <a:gd name="connsiteX10" fmla="*/ 12411 w 1193687"/>
                <a:gd name="connsiteY10" fmla="*/ 91187 h 93972"/>
                <a:gd name="connsiteX11" fmla="*/ 10672 w 1193687"/>
                <a:gd name="connsiteY11" fmla="*/ 92524 h 93972"/>
                <a:gd name="connsiteX12" fmla="*/ 1309 w 1193687"/>
                <a:gd name="connsiteY12" fmla="*/ 92524 h 93972"/>
                <a:gd name="connsiteX13" fmla="*/ 373 w 1193687"/>
                <a:gd name="connsiteY13" fmla="*/ 91187 h 93972"/>
                <a:gd name="connsiteX14" fmla="*/ 52272 w 1193687"/>
                <a:gd name="connsiteY14" fmla="*/ 60422 h 93972"/>
                <a:gd name="connsiteX15" fmla="*/ 37960 w 1193687"/>
                <a:gd name="connsiteY15" fmla="*/ 19089 h 93972"/>
                <a:gd name="connsiteX16" fmla="*/ 37692 w 1193687"/>
                <a:gd name="connsiteY16" fmla="*/ 19089 h 93972"/>
                <a:gd name="connsiteX17" fmla="*/ 23246 w 1193687"/>
                <a:gd name="connsiteY17" fmla="*/ 60422 h 93972"/>
                <a:gd name="connsiteX18" fmla="*/ 105911 w 1193687"/>
                <a:gd name="connsiteY18" fmla="*/ 92524 h 93972"/>
                <a:gd name="connsiteX19" fmla="*/ 104305 w 1193687"/>
                <a:gd name="connsiteY19" fmla="*/ 91187 h 93972"/>
                <a:gd name="connsiteX20" fmla="*/ 74878 w 1193687"/>
                <a:gd name="connsiteY20" fmla="*/ 3172 h 93972"/>
                <a:gd name="connsiteX21" fmla="*/ 74878 w 1193687"/>
                <a:gd name="connsiteY21" fmla="*/ 1968 h 93972"/>
                <a:gd name="connsiteX22" fmla="*/ 75814 w 1193687"/>
                <a:gd name="connsiteY22" fmla="*/ 1567 h 93972"/>
                <a:gd name="connsiteX23" fmla="*/ 84910 w 1193687"/>
                <a:gd name="connsiteY23" fmla="*/ 1567 h 93972"/>
                <a:gd name="connsiteX24" fmla="*/ 86783 w 1193687"/>
                <a:gd name="connsiteY24" fmla="*/ 2904 h 93972"/>
                <a:gd name="connsiteX25" fmla="*/ 110057 w 1193687"/>
                <a:gd name="connsiteY25" fmla="*/ 73129 h 93972"/>
                <a:gd name="connsiteX26" fmla="*/ 110325 w 1193687"/>
                <a:gd name="connsiteY26" fmla="*/ 73129 h 93972"/>
                <a:gd name="connsiteX27" fmla="*/ 132797 w 1193687"/>
                <a:gd name="connsiteY27" fmla="*/ 2904 h 93972"/>
                <a:gd name="connsiteX28" fmla="*/ 134536 w 1193687"/>
                <a:gd name="connsiteY28" fmla="*/ 1567 h 93972"/>
                <a:gd name="connsiteX29" fmla="*/ 143750 w 1193687"/>
                <a:gd name="connsiteY29" fmla="*/ 1567 h 93972"/>
                <a:gd name="connsiteX30" fmla="*/ 144687 w 1193687"/>
                <a:gd name="connsiteY30" fmla="*/ 3172 h 93972"/>
                <a:gd name="connsiteX31" fmla="*/ 115408 w 1193687"/>
                <a:gd name="connsiteY31" fmla="*/ 91187 h 93972"/>
                <a:gd name="connsiteX32" fmla="*/ 113803 w 1193687"/>
                <a:gd name="connsiteY32" fmla="*/ 92524 h 93972"/>
                <a:gd name="connsiteX33" fmla="*/ 158613 w 1193687"/>
                <a:gd name="connsiteY33" fmla="*/ 2904 h 93972"/>
                <a:gd name="connsiteX34" fmla="*/ 159632 w 1193687"/>
                <a:gd name="connsiteY34" fmla="*/ 1567 h 93972"/>
                <a:gd name="connsiteX35" fmla="*/ 159950 w 1193687"/>
                <a:gd name="connsiteY35" fmla="*/ 1567 h 93972"/>
                <a:gd name="connsiteX36" fmla="*/ 169165 w 1193687"/>
                <a:gd name="connsiteY36" fmla="*/ 1567 h 93972"/>
                <a:gd name="connsiteX37" fmla="*/ 170503 w 1193687"/>
                <a:gd name="connsiteY37" fmla="*/ 2586 h 93972"/>
                <a:gd name="connsiteX38" fmla="*/ 170503 w 1193687"/>
                <a:gd name="connsiteY38" fmla="*/ 2904 h 93972"/>
                <a:gd name="connsiteX39" fmla="*/ 170503 w 1193687"/>
                <a:gd name="connsiteY39" fmla="*/ 91187 h 93972"/>
                <a:gd name="connsiteX40" fmla="*/ 169484 w 1193687"/>
                <a:gd name="connsiteY40" fmla="*/ 92524 h 93972"/>
                <a:gd name="connsiteX41" fmla="*/ 169165 w 1193687"/>
                <a:gd name="connsiteY41" fmla="*/ 92524 h 93972"/>
                <a:gd name="connsiteX42" fmla="*/ 159950 w 1193687"/>
                <a:gd name="connsiteY42" fmla="*/ 92524 h 93972"/>
                <a:gd name="connsiteX43" fmla="*/ 158613 w 1193687"/>
                <a:gd name="connsiteY43" fmla="*/ 91505 h 93972"/>
                <a:gd name="connsiteX44" fmla="*/ 158613 w 1193687"/>
                <a:gd name="connsiteY44" fmla="*/ 91187 h 93972"/>
                <a:gd name="connsiteX45" fmla="*/ 216531 w 1193687"/>
                <a:gd name="connsiteY45" fmla="*/ 2904 h 93972"/>
                <a:gd name="connsiteX46" fmla="*/ 218137 w 1193687"/>
                <a:gd name="connsiteY46" fmla="*/ 1567 h 93972"/>
                <a:gd name="connsiteX47" fmla="*/ 226831 w 1193687"/>
                <a:gd name="connsiteY47" fmla="*/ 1567 h 93972"/>
                <a:gd name="connsiteX48" fmla="*/ 228570 w 1193687"/>
                <a:gd name="connsiteY48" fmla="*/ 2904 h 93972"/>
                <a:gd name="connsiteX49" fmla="*/ 259736 w 1193687"/>
                <a:gd name="connsiteY49" fmla="*/ 91187 h 93972"/>
                <a:gd name="connsiteX50" fmla="*/ 258800 w 1193687"/>
                <a:gd name="connsiteY50" fmla="*/ 92524 h 93972"/>
                <a:gd name="connsiteX51" fmla="*/ 249437 w 1193687"/>
                <a:gd name="connsiteY51" fmla="*/ 92524 h 93972"/>
                <a:gd name="connsiteX52" fmla="*/ 247698 w 1193687"/>
                <a:gd name="connsiteY52" fmla="*/ 91187 h 93972"/>
                <a:gd name="connsiteX53" fmla="*/ 240742 w 1193687"/>
                <a:gd name="connsiteY53" fmla="*/ 71390 h 93972"/>
                <a:gd name="connsiteX54" fmla="*/ 203958 w 1193687"/>
                <a:gd name="connsiteY54" fmla="*/ 71390 h 93972"/>
                <a:gd name="connsiteX55" fmla="*/ 197002 w 1193687"/>
                <a:gd name="connsiteY55" fmla="*/ 91187 h 93972"/>
                <a:gd name="connsiteX56" fmla="*/ 195263 w 1193687"/>
                <a:gd name="connsiteY56" fmla="*/ 92524 h 93972"/>
                <a:gd name="connsiteX57" fmla="*/ 185900 w 1193687"/>
                <a:gd name="connsiteY57" fmla="*/ 92524 h 93972"/>
                <a:gd name="connsiteX58" fmla="*/ 184964 w 1193687"/>
                <a:gd name="connsiteY58" fmla="*/ 91187 h 93972"/>
                <a:gd name="connsiteX59" fmla="*/ 236863 w 1193687"/>
                <a:gd name="connsiteY59" fmla="*/ 60422 h 93972"/>
                <a:gd name="connsiteX60" fmla="*/ 222551 w 1193687"/>
                <a:gd name="connsiteY60" fmla="*/ 19089 h 93972"/>
                <a:gd name="connsiteX61" fmla="*/ 222283 w 1193687"/>
                <a:gd name="connsiteY61" fmla="*/ 19089 h 93972"/>
                <a:gd name="connsiteX62" fmla="*/ 207837 w 1193687"/>
                <a:gd name="connsiteY62" fmla="*/ 60422 h 93972"/>
                <a:gd name="connsiteX63" fmla="*/ 284616 w 1193687"/>
                <a:gd name="connsiteY63" fmla="*/ 92524 h 93972"/>
                <a:gd name="connsiteX64" fmla="*/ 283278 w 1193687"/>
                <a:gd name="connsiteY64" fmla="*/ 91505 h 93972"/>
                <a:gd name="connsiteX65" fmla="*/ 283278 w 1193687"/>
                <a:gd name="connsiteY65" fmla="*/ 91187 h 93972"/>
                <a:gd name="connsiteX66" fmla="*/ 283278 w 1193687"/>
                <a:gd name="connsiteY66" fmla="*/ 13457 h 93972"/>
                <a:gd name="connsiteX67" fmla="*/ 282674 w 1193687"/>
                <a:gd name="connsiteY67" fmla="*/ 12654 h 93972"/>
                <a:gd name="connsiteX68" fmla="*/ 282476 w 1193687"/>
                <a:gd name="connsiteY68" fmla="*/ 12654 h 93972"/>
                <a:gd name="connsiteX69" fmla="*/ 257596 w 1193687"/>
                <a:gd name="connsiteY69" fmla="*/ 12654 h 93972"/>
                <a:gd name="connsiteX70" fmla="*/ 256259 w 1193687"/>
                <a:gd name="connsiteY70" fmla="*/ 11635 h 93972"/>
                <a:gd name="connsiteX71" fmla="*/ 256259 w 1193687"/>
                <a:gd name="connsiteY71" fmla="*/ 11316 h 93972"/>
                <a:gd name="connsiteX72" fmla="*/ 256259 w 1193687"/>
                <a:gd name="connsiteY72" fmla="*/ 2904 h 93972"/>
                <a:gd name="connsiteX73" fmla="*/ 257278 w 1193687"/>
                <a:gd name="connsiteY73" fmla="*/ 1567 h 93972"/>
                <a:gd name="connsiteX74" fmla="*/ 257596 w 1193687"/>
                <a:gd name="connsiteY74" fmla="*/ 1567 h 93972"/>
                <a:gd name="connsiteX75" fmla="*/ 320865 w 1193687"/>
                <a:gd name="connsiteY75" fmla="*/ 1567 h 93972"/>
                <a:gd name="connsiteX76" fmla="*/ 322203 w 1193687"/>
                <a:gd name="connsiteY76" fmla="*/ 2586 h 93972"/>
                <a:gd name="connsiteX77" fmla="*/ 322203 w 1193687"/>
                <a:gd name="connsiteY77" fmla="*/ 2904 h 93972"/>
                <a:gd name="connsiteX78" fmla="*/ 322203 w 1193687"/>
                <a:gd name="connsiteY78" fmla="*/ 11331 h 93972"/>
                <a:gd name="connsiteX79" fmla="*/ 321183 w 1193687"/>
                <a:gd name="connsiteY79" fmla="*/ 12669 h 93972"/>
                <a:gd name="connsiteX80" fmla="*/ 320865 w 1193687"/>
                <a:gd name="connsiteY80" fmla="*/ 12669 h 93972"/>
                <a:gd name="connsiteX81" fmla="*/ 295986 w 1193687"/>
                <a:gd name="connsiteY81" fmla="*/ 12669 h 93972"/>
                <a:gd name="connsiteX82" fmla="*/ 295183 w 1193687"/>
                <a:gd name="connsiteY82" fmla="*/ 13273 h 93972"/>
                <a:gd name="connsiteX83" fmla="*/ 295183 w 1193687"/>
                <a:gd name="connsiteY83" fmla="*/ 13471 h 93972"/>
                <a:gd name="connsiteX84" fmla="*/ 295183 w 1193687"/>
                <a:gd name="connsiteY84" fmla="*/ 91187 h 93972"/>
                <a:gd name="connsiteX85" fmla="*/ 294164 w 1193687"/>
                <a:gd name="connsiteY85" fmla="*/ 92524 h 93972"/>
                <a:gd name="connsiteX86" fmla="*/ 293846 w 1193687"/>
                <a:gd name="connsiteY86" fmla="*/ 92524 h 93972"/>
                <a:gd name="connsiteX87" fmla="*/ 336382 w 1193687"/>
                <a:gd name="connsiteY87" fmla="*/ 2904 h 93972"/>
                <a:gd name="connsiteX88" fmla="*/ 337401 w 1193687"/>
                <a:gd name="connsiteY88" fmla="*/ 1567 h 93972"/>
                <a:gd name="connsiteX89" fmla="*/ 337719 w 1193687"/>
                <a:gd name="connsiteY89" fmla="*/ 1567 h 93972"/>
                <a:gd name="connsiteX90" fmla="*/ 346934 w 1193687"/>
                <a:gd name="connsiteY90" fmla="*/ 1567 h 93972"/>
                <a:gd name="connsiteX91" fmla="*/ 348272 w 1193687"/>
                <a:gd name="connsiteY91" fmla="*/ 2586 h 93972"/>
                <a:gd name="connsiteX92" fmla="*/ 348272 w 1193687"/>
                <a:gd name="connsiteY92" fmla="*/ 2904 h 93972"/>
                <a:gd name="connsiteX93" fmla="*/ 348272 w 1193687"/>
                <a:gd name="connsiteY93" fmla="*/ 91187 h 93972"/>
                <a:gd name="connsiteX94" fmla="*/ 347252 w 1193687"/>
                <a:gd name="connsiteY94" fmla="*/ 92524 h 93972"/>
                <a:gd name="connsiteX95" fmla="*/ 346934 w 1193687"/>
                <a:gd name="connsiteY95" fmla="*/ 92524 h 93972"/>
                <a:gd name="connsiteX96" fmla="*/ 337719 w 1193687"/>
                <a:gd name="connsiteY96" fmla="*/ 92524 h 93972"/>
                <a:gd name="connsiteX97" fmla="*/ 336382 w 1193687"/>
                <a:gd name="connsiteY97" fmla="*/ 91505 h 93972"/>
                <a:gd name="connsiteX98" fmla="*/ 336382 w 1193687"/>
                <a:gd name="connsiteY98" fmla="*/ 91187 h 93972"/>
                <a:gd name="connsiteX99" fmla="*/ 400855 w 1193687"/>
                <a:gd name="connsiteY99" fmla="*/ 93996 h 93972"/>
                <a:gd name="connsiteX100" fmla="*/ 381391 w 1193687"/>
                <a:gd name="connsiteY100" fmla="*/ 88645 h 93972"/>
                <a:gd name="connsiteX101" fmla="*/ 369956 w 1193687"/>
                <a:gd name="connsiteY101" fmla="*/ 72728 h 93972"/>
                <a:gd name="connsiteX102" fmla="*/ 368820 w 1193687"/>
                <a:gd name="connsiteY102" fmla="*/ 68566 h 93972"/>
                <a:gd name="connsiteX103" fmla="*/ 368083 w 1193687"/>
                <a:gd name="connsiteY103" fmla="*/ 63552 h 93972"/>
                <a:gd name="connsiteX104" fmla="*/ 367682 w 1193687"/>
                <a:gd name="connsiteY104" fmla="*/ 56661 h 93972"/>
                <a:gd name="connsiteX105" fmla="*/ 367533 w 1193687"/>
                <a:gd name="connsiteY105" fmla="*/ 47046 h 93972"/>
                <a:gd name="connsiteX106" fmla="*/ 367667 w 1193687"/>
                <a:gd name="connsiteY106" fmla="*/ 37415 h 93972"/>
                <a:gd name="connsiteX107" fmla="*/ 368068 w 1193687"/>
                <a:gd name="connsiteY107" fmla="*/ 30527 h 93972"/>
                <a:gd name="connsiteX108" fmla="*/ 368805 w 1193687"/>
                <a:gd name="connsiteY108" fmla="*/ 25513 h 93972"/>
                <a:gd name="connsiteX109" fmla="*/ 369941 w 1193687"/>
                <a:gd name="connsiteY109" fmla="*/ 21351 h 93972"/>
                <a:gd name="connsiteX110" fmla="*/ 381391 w 1193687"/>
                <a:gd name="connsiteY110" fmla="*/ 5431 h 93972"/>
                <a:gd name="connsiteX111" fmla="*/ 420449 w 1193687"/>
                <a:gd name="connsiteY111" fmla="*/ 5431 h 93972"/>
                <a:gd name="connsiteX112" fmla="*/ 431887 w 1193687"/>
                <a:gd name="connsiteY112" fmla="*/ 21348 h 93972"/>
                <a:gd name="connsiteX113" fmla="*/ 433023 w 1193687"/>
                <a:gd name="connsiteY113" fmla="*/ 25510 h 93972"/>
                <a:gd name="connsiteX114" fmla="*/ 433760 w 1193687"/>
                <a:gd name="connsiteY114" fmla="*/ 30527 h 93972"/>
                <a:gd name="connsiteX115" fmla="*/ 434161 w 1193687"/>
                <a:gd name="connsiteY115" fmla="*/ 37415 h 93972"/>
                <a:gd name="connsiteX116" fmla="*/ 434295 w 1193687"/>
                <a:gd name="connsiteY116" fmla="*/ 47046 h 93972"/>
                <a:gd name="connsiteX117" fmla="*/ 434161 w 1193687"/>
                <a:gd name="connsiteY117" fmla="*/ 56676 h 93972"/>
                <a:gd name="connsiteX118" fmla="*/ 433760 w 1193687"/>
                <a:gd name="connsiteY118" fmla="*/ 63567 h 93972"/>
                <a:gd name="connsiteX119" fmla="*/ 433023 w 1193687"/>
                <a:gd name="connsiteY119" fmla="*/ 68584 h 93972"/>
                <a:gd name="connsiteX120" fmla="*/ 431887 w 1193687"/>
                <a:gd name="connsiteY120" fmla="*/ 72746 h 93972"/>
                <a:gd name="connsiteX121" fmla="*/ 420449 w 1193687"/>
                <a:gd name="connsiteY121" fmla="*/ 88663 h 93972"/>
                <a:gd name="connsiteX122" fmla="*/ 400855 w 1193687"/>
                <a:gd name="connsiteY122" fmla="*/ 93996 h 93972"/>
                <a:gd name="connsiteX123" fmla="*/ 400855 w 1193687"/>
                <a:gd name="connsiteY123" fmla="*/ 82894 h 93972"/>
                <a:gd name="connsiteX124" fmla="*/ 413295 w 1193687"/>
                <a:gd name="connsiteY124" fmla="*/ 79416 h 93972"/>
                <a:gd name="connsiteX125" fmla="*/ 420250 w 1193687"/>
                <a:gd name="connsiteY125" fmla="*/ 69384 h 93972"/>
                <a:gd name="connsiteX126" fmla="*/ 420987 w 1193687"/>
                <a:gd name="connsiteY126" fmla="*/ 66373 h 93972"/>
                <a:gd name="connsiteX127" fmla="*/ 421656 w 1193687"/>
                <a:gd name="connsiteY127" fmla="*/ 61893 h 93972"/>
                <a:gd name="connsiteX128" fmla="*/ 422126 w 1193687"/>
                <a:gd name="connsiteY128" fmla="*/ 55606 h 93972"/>
                <a:gd name="connsiteX129" fmla="*/ 422260 w 1193687"/>
                <a:gd name="connsiteY129" fmla="*/ 47046 h 93972"/>
                <a:gd name="connsiteX130" fmla="*/ 422126 w 1193687"/>
                <a:gd name="connsiteY130" fmla="*/ 38485 h 93972"/>
                <a:gd name="connsiteX131" fmla="*/ 421656 w 1193687"/>
                <a:gd name="connsiteY131" fmla="*/ 32198 h 93972"/>
                <a:gd name="connsiteX132" fmla="*/ 420987 w 1193687"/>
                <a:gd name="connsiteY132" fmla="*/ 27718 h 93972"/>
                <a:gd name="connsiteX133" fmla="*/ 420250 w 1193687"/>
                <a:gd name="connsiteY133" fmla="*/ 24707 h 93972"/>
                <a:gd name="connsiteX134" fmla="*/ 413295 w 1193687"/>
                <a:gd name="connsiteY134" fmla="*/ 14675 h 93972"/>
                <a:gd name="connsiteX135" fmla="*/ 400855 w 1193687"/>
                <a:gd name="connsiteY135" fmla="*/ 11197 h 93972"/>
                <a:gd name="connsiteX136" fmla="*/ 388480 w 1193687"/>
                <a:gd name="connsiteY136" fmla="*/ 14675 h 93972"/>
                <a:gd name="connsiteX137" fmla="*/ 381593 w 1193687"/>
                <a:gd name="connsiteY137" fmla="*/ 24707 h 93972"/>
                <a:gd name="connsiteX138" fmla="*/ 380859 w 1193687"/>
                <a:gd name="connsiteY138" fmla="*/ 27718 h 93972"/>
                <a:gd name="connsiteX139" fmla="*/ 380190 w 1193687"/>
                <a:gd name="connsiteY139" fmla="*/ 32198 h 93972"/>
                <a:gd name="connsiteX140" fmla="*/ 379720 w 1193687"/>
                <a:gd name="connsiteY140" fmla="*/ 38485 h 93972"/>
                <a:gd name="connsiteX141" fmla="*/ 379587 w 1193687"/>
                <a:gd name="connsiteY141" fmla="*/ 47046 h 93972"/>
                <a:gd name="connsiteX142" fmla="*/ 379720 w 1193687"/>
                <a:gd name="connsiteY142" fmla="*/ 55606 h 93972"/>
                <a:gd name="connsiteX143" fmla="*/ 380190 w 1193687"/>
                <a:gd name="connsiteY143" fmla="*/ 61893 h 93972"/>
                <a:gd name="connsiteX144" fmla="*/ 380859 w 1193687"/>
                <a:gd name="connsiteY144" fmla="*/ 66373 h 93972"/>
                <a:gd name="connsiteX145" fmla="*/ 381593 w 1193687"/>
                <a:gd name="connsiteY145" fmla="*/ 69384 h 93972"/>
                <a:gd name="connsiteX146" fmla="*/ 388480 w 1193687"/>
                <a:gd name="connsiteY146" fmla="*/ 79416 h 93972"/>
                <a:gd name="connsiteX147" fmla="*/ 400855 w 1193687"/>
                <a:gd name="connsiteY147" fmla="*/ 82894 h 93972"/>
                <a:gd name="connsiteX148" fmla="*/ 453557 w 1193687"/>
                <a:gd name="connsiteY148" fmla="*/ 2904 h 93972"/>
                <a:gd name="connsiteX149" fmla="*/ 454576 w 1193687"/>
                <a:gd name="connsiteY149" fmla="*/ 1567 h 93972"/>
                <a:gd name="connsiteX150" fmla="*/ 454894 w 1193687"/>
                <a:gd name="connsiteY150" fmla="*/ 1567 h 93972"/>
                <a:gd name="connsiteX151" fmla="*/ 463455 w 1193687"/>
                <a:gd name="connsiteY151" fmla="*/ 1567 h 93972"/>
                <a:gd name="connsiteX152" fmla="*/ 465729 w 1193687"/>
                <a:gd name="connsiteY152" fmla="*/ 2904 h 93972"/>
                <a:gd name="connsiteX153" fmla="*/ 506928 w 1193687"/>
                <a:gd name="connsiteY153" fmla="*/ 71123 h 93972"/>
                <a:gd name="connsiteX154" fmla="*/ 507463 w 1193687"/>
                <a:gd name="connsiteY154" fmla="*/ 71123 h 93972"/>
                <a:gd name="connsiteX155" fmla="*/ 507463 w 1193687"/>
                <a:gd name="connsiteY155" fmla="*/ 2904 h 93972"/>
                <a:gd name="connsiteX156" fmla="*/ 508482 w 1193687"/>
                <a:gd name="connsiteY156" fmla="*/ 1567 h 93972"/>
                <a:gd name="connsiteX157" fmla="*/ 508800 w 1193687"/>
                <a:gd name="connsiteY157" fmla="*/ 1567 h 93972"/>
                <a:gd name="connsiteX158" fmla="*/ 517227 w 1193687"/>
                <a:gd name="connsiteY158" fmla="*/ 1567 h 93972"/>
                <a:gd name="connsiteX159" fmla="*/ 518565 w 1193687"/>
                <a:gd name="connsiteY159" fmla="*/ 2586 h 93972"/>
                <a:gd name="connsiteX160" fmla="*/ 518565 w 1193687"/>
                <a:gd name="connsiteY160" fmla="*/ 2904 h 93972"/>
                <a:gd name="connsiteX161" fmla="*/ 518565 w 1193687"/>
                <a:gd name="connsiteY161" fmla="*/ 91187 h 93972"/>
                <a:gd name="connsiteX162" fmla="*/ 517545 w 1193687"/>
                <a:gd name="connsiteY162" fmla="*/ 92524 h 93972"/>
                <a:gd name="connsiteX163" fmla="*/ 517227 w 1193687"/>
                <a:gd name="connsiteY163" fmla="*/ 92524 h 93972"/>
                <a:gd name="connsiteX164" fmla="*/ 508667 w 1193687"/>
                <a:gd name="connsiteY164" fmla="*/ 92524 h 93972"/>
                <a:gd name="connsiteX165" fmla="*/ 506393 w 1193687"/>
                <a:gd name="connsiteY165" fmla="*/ 91187 h 93972"/>
                <a:gd name="connsiteX166" fmla="*/ 465060 w 1193687"/>
                <a:gd name="connsiteY166" fmla="*/ 23236 h 93972"/>
                <a:gd name="connsiteX167" fmla="*/ 464659 w 1193687"/>
                <a:gd name="connsiteY167" fmla="*/ 23236 h 93972"/>
                <a:gd name="connsiteX168" fmla="*/ 464659 w 1193687"/>
                <a:gd name="connsiteY168" fmla="*/ 91187 h 93972"/>
                <a:gd name="connsiteX169" fmla="*/ 463639 w 1193687"/>
                <a:gd name="connsiteY169" fmla="*/ 92524 h 93972"/>
                <a:gd name="connsiteX170" fmla="*/ 463321 w 1193687"/>
                <a:gd name="connsiteY170" fmla="*/ 92524 h 93972"/>
                <a:gd name="connsiteX171" fmla="*/ 454894 w 1193687"/>
                <a:gd name="connsiteY171" fmla="*/ 92524 h 93972"/>
                <a:gd name="connsiteX172" fmla="*/ 453557 w 1193687"/>
                <a:gd name="connsiteY172" fmla="*/ 91505 h 93972"/>
                <a:gd name="connsiteX173" fmla="*/ 453557 w 1193687"/>
                <a:gd name="connsiteY173" fmla="*/ 91187 h 93972"/>
                <a:gd name="connsiteX174" fmla="*/ 539164 w 1193687"/>
                <a:gd name="connsiteY174" fmla="*/ 79683 h 93972"/>
                <a:gd name="connsiteX175" fmla="*/ 540184 w 1193687"/>
                <a:gd name="connsiteY175" fmla="*/ 78346 h 93972"/>
                <a:gd name="connsiteX176" fmla="*/ 540502 w 1193687"/>
                <a:gd name="connsiteY176" fmla="*/ 78346 h 93972"/>
                <a:gd name="connsiteX177" fmla="*/ 550668 w 1193687"/>
                <a:gd name="connsiteY177" fmla="*/ 78346 h 93972"/>
                <a:gd name="connsiteX178" fmla="*/ 552005 w 1193687"/>
                <a:gd name="connsiteY178" fmla="*/ 79365 h 93972"/>
                <a:gd name="connsiteX179" fmla="*/ 552005 w 1193687"/>
                <a:gd name="connsiteY179" fmla="*/ 79683 h 93972"/>
                <a:gd name="connsiteX180" fmla="*/ 552005 w 1193687"/>
                <a:gd name="connsiteY180" fmla="*/ 91187 h 93972"/>
                <a:gd name="connsiteX181" fmla="*/ 550986 w 1193687"/>
                <a:gd name="connsiteY181" fmla="*/ 92524 h 93972"/>
                <a:gd name="connsiteX182" fmla="*/ 550668 w 1193687"/>
                <a:gd name="connsiteY182" fmla="*/ 92524 h 93972"/>
                <a:gd name="connsiteX183" fmla="*/ 540502 w 1193687"/>
                <a:gd name="connsiteY183" fmla="*/ 92524 h 93972"/>
                <a:gd name="connsiteX184" fmla="*/ 539164 w 1193687"/>
                <a:gd name="connsiteY184" fmla="*/ 91505 h 93972"/>
                <a:gd name="connsiteX185" fmla="*/ 539164 w 1193687"/>
                <a:gd name="connsiteY185" fmla="*/ 91187 h 93972"/>
                <a:gd name="connsiteX186" fmla="*/ 601883 w 1193687"/>
                <a:gd name="connsiteY186" fmla="*/ 2904 h 93972"/>
                <a:gd name="connsiteX187" fmla="*/ 602903 w 1193687"/>
                <a:gd name="connsiteY187" fmla="*/ 1567 h 93972"/>
                <a:gd name="connsiteX188" fmla="*/ 603221 w 1193687"/>
                <a:gd name="connsiteY188" fmla="*/ 1567 h 93972"/>
                <a:gd name="connsiteX189" fmla="*/ 612465 w 1193687"/>
                <a:gd name="connsiteY189" fmla="*/ 1567 h 93972"/>
                <a:gd name="connsiteX190" fmla="*/ 613803 w 1193687"/>
                <a:gd name="connsiteY190" fmla="*/ 2586 h 93972"/>
                <a:gd name="connsiteX191" fmla="*/ 613803 w 1193687"/>
                <a:gd name="connsiteY191" fmla="*/ 2904 h 93972"/>
                <a:gd name="connsiteX192" fmla="*/ 613803 w 1193687"/>
                <a:gd name="connsiteY192" fmla="*/ 80620 h 93972"/>
                <a:gd name="connsiteX193" fmla="*/ 614406 w 1193687"/>
                <a:gd name="connsiteY193" fmla="*/ 81422 h 93972"/>
                <a:gd name="connsiteX194" fmla="*/ 614606 w 1193687"/>
                <a:gd name="connsiteY194" fmla="*/ 81422 h 93972"/>
                <a:gd name="connsiteX195" fmla="*/ 657944 w 1193687"/>
                <a:gd name="connsiteY195" fmla="*/ 81422 h 93972"/>
                <a:gd name="connsiteX196" fmla="*/ 659282 w 1193687"/>
                <a:gd name="connsiteY196" fmla="*/ 82441 h 93972"/>
                <a:gd name="connsiteX197" fmla="*/ 659282 w 1193687"/>
                <a:gd name="connsiteY197" fmla="*/ 82760 h 93972"/>
                <a:gd name="connsiteX198" fmla="*/ 659282 w 1193687"/>
                <a:gd name="connsiteY198" fmla="*/ 91187 h 93972"/>
                <a:gd name="connsiteX199" fmla="*/ 658262 w 1193687"/>
                <a:gd name="connsiteY199" fmla="*/ 92524 h 93972"/>
                <a:gd name="connsiteX200" fmla="*/ 657944 w 1193687"/>
                <a:gd name="connsiteY200" fmla="*/ 92524 h 93972"/>
                <a:gd name="connsiteX201" fmla="*/ 603251 w 1193687"/>
                <a:gd name="connsiteY201" fmla="*/ 92524 h 93972"/>
                <a:gd name="connsiteX202" fmla="*/ 601913 w 1193687"/>
                <a:gd name="connsiteY202" fmla="*/ 91505 h 93972"/>
                <a:gd name="connsiteX203" fmla="*/ 601913 w 1193687"/>
                <a:gd name="connsiteY203" fmla="*/ 91187 h 93972"/>
                <a:gd name="connsiteX204" fmla="*/ 703958 w 1193687"/>
                <a:gd name="connsiteY204" fmla="*/ 93996 h 93972"/>
                <a:gd name="connsiteX205" fmla="*/ 684495 w 1193687"/>
                <a:gd name="connsiteY205" fmla="*/ 88645 h 93972"/>
                <a:gd name="connsiteX206" fmla="*/ 673056 w 1193687"/>
                <a:gd name="connsiteY206" fmla="*/ 72728 h 93972"/>
                <a:gd name="connsiteX207" fmla="*/ 671921 w 1193687"/>
                <a:gd name="connsiteY207" fmla="*/ 68566 h 93972"/>
                <a:gd name="connsiteX208" fmla="*/ 671187 w 1193687"/>
                <a:gd name="connsiteY208" fmla="*/ 63552 h 93972"/>
                <a:gd name="connsiteX209" fmla="*/ 670785 w 1193687"/>
                <a:gd name="connsiteY209" fmla="*/ 56661 h 93972"/>
                <a:gd name="connsiteX210" fmla="*/ 670652 w 1193687"/>
                <a:gd name="connsiteY210" fmla="*/ 47031 h 93972"/>
                <a:gd name="connsiteX211" fmla="*/ 670785 w 1193687"/>
                <a:gd name="connsiteY211" fmla="*/ 37400 h 93972"/>
                <a:gd name="connsiteX212" fmla="*/ 671187 w 1193687"/>
                <a:gd name="connsiteY212" fmla="*/ 30513 h 93972"/>
                <a:gd name="connsiteX213" fmla="*/ 671915 w 1193687"/>
                <a:gd name="connsiteY213" fmla="*/ 25510 h 93972"/>
                <a:gd name="connsiteX214" fmla="*/ 673051 w 1193687"/>
                <a:gd name="connsiteY214" fmla="*/ 21348 h 93972"/>
                <a:gd name="connsiteX215" fmla="*/ 684495 w 1193687"/>
                <a:gd name="connsiteY215" fmla="*/ 5431 h 93972"/>
                <a:gd name="connsiteX216" fmla="*/ 723553 w 1193687"/>
                <a:gd name="connsiteY216" fmla="*/ 5431 h 93972"/>
                <a:gd name="connsiteX217" fmla="*/ 734991 w 1193687"/>
                <a:gd name="connsiteY217" fmla="*/ 21348 h 93972"/>
                <a:gd name="connsiteX218" fmla="*/ 736126 w 1193687"/>
                <a:gd name="connsiteY218" fmla="*/ 25510 h 93972"/>
                <a:gd name="connsiteX219" fmla="*/ 736864 w 1193687"/>
                <a:gd name="connsiteY219" fmla="*/ 30527 h 93972"/>
                <a:gd name="connsiteX220" fmla="*/ 737265 w 1193687"/>
                <a:gd name="connsiteY220" fmla="*/ 37415 h 93972"/>
                <a:gd name="connsiteX221" fmla="*/ 737399 w 1193687"/>
                <a:gd name="connsiteY221" fmla="*/ 47046 h 93972"/>
                <a:gd name="connsiteX222" fmla="*/ 737265 w 1193687"/>
                <a:gd name="connsiteY222" fmla="*/ 56676 h 93972"/>
                <a:gd name="connsiteX223" fmla="*/ 736864 w 1193687"/>
                <a:gd name="connsiteY223" fmla="*/ 63567 h 93972"/>
                <a:gd name="connsiteX224" fmla="*/ 736126 w 1193687"/>
                <a:gd name="connsiteY224" fmla="*/ 68584 h 93972"/>
                <a:gd name="connsiteX225" fmla="*/ 734991 w 1193687"/>
                <a:gd name="connsiteY225" fmla="*/ 72746 h 93972"/>
                <a:gd name="connsiteX226" fmla="*/ 723553 w 1193687"/>
                <a:gd name="connsiteY226" fmla="*/ 88663 h 93972"/>
                <a:gd name="connsiteX227" fmla="*/ 703958 w 1193687"/>
                <a:gd name="connsiteY227" fmla="*/ 93996 h 93972"/>
                <a:gd name="connsiteX228" fmla="*/ 703958 w 1193687"/>
                <a:gd name="connsiteY228" fmla="*/ 82894 h 93972"/>
                <a:gd name="connsiteX229" fmla="*/ 716398 w 1193687"/>
                <a:gd name="connsiteY229" fmla="*/ 79416 h 93972"/>
                <a:gd name="connsiteX230" fmla="*/ 723354 w 1193687"/>
                <a:gd name="connsiteY230" fmla="*/ 69384 h 93972"/>
                <a:gd name="connsiteX231" fmla="*/ 724091 w 1193687"/>
                <a:gd name="connsiteY231" fmla="*/ 66373 h 93972"/>
                <a:gd name="connsiteX232" fmla="*/ 724760 w 1193687"/>
                <a:gd name="connsiteY232" fmla="*/ 61893 h 93972"/>
                <a:gd name="connsiteX233" fmla="*/ 725229 w 1193687"/>
                <a:gd name="connsiteY233" fmla="*/ 55606 h 93972"/>
                <a:gd name="connsiteX234" fmla="*/ 725363 w 1193687"/>
                <a:gd name="connsiteY234" fmla="*/ 47046 h 93972"/>
                <a:gd name="connsiteX235" fmla="*/ 725229 w 1193687"/>
                <a:gd name="connsiteY235" fmla="*/ 38485 h 93972"/>
                <a:gd name="connsiteX236" fmla="*/ 724760 w 1193687"/>
                <a:gd name="connsiteY236" fmla="*/ 32198 h 93972"/>
                <a:gd name="connsiteX237" fmla="*/ 724091 w 1193687"/>
                <a:gd name="connsiteY237" fmla="*/ 27718 h 93972"/>
                <a:gd name="connsiteX238" fmla="*/ 723354 w 1193687"/>
                <a:gd name="connsiteY238" fmla="*/ 24707 h 93972"/>
                <a:gd name="connsiteX239" fmla="*/ 716398 w 1193687"/>
                <a:gd name="connsiteY239" fmla="*/ 14675 h 93972"/>
                <a:gd name="connsiteX240" fmla="*/ 703958 w 1193687"/>
                <a:gd name="connsiteY240" fmla="*/ 11197 h 93972"/>
                <a:gd name="connsiteX241" fmla="*/ 691584 w 1193687"/>
                <a:gd name="connsiteY241" fmla="*/ 14675 h 93972"/>
                <a:gd name="connsiteX242" fmla="*/ 684697 w 1193687"/>
                <a:gd name="connsiteY242" fmla="*/ 24707 h 93972"/>
                <a:gd name="connsiteX243" fmla="*/ 683962 w 1193687"/>
                <a:gd name="connsiteY243" fmla="*/ 27718 h 93972"/>
                <a:gd name="connsiteX244" fmla="*/ 683294 w 1193687"/>
                <a:gd name="connsiteY244" fmla="*/ 32198 h 93972"/>
                <a:gd name="connsiteX245" fmla="*/ 682824 w 1193687"/>
                <a:gd name="connsiteY245" fmla="*/ 38485 h 93972"/>
                <a:gd name="connsiteX246" fmla="*/ 682690 w 1193687"/>
                <a:gd name="connsiteY246" fmla="*/ 47046 h 93972"/>
                <a:gd name="connsiteX247" fmla="*/ 682824 w 1193687"/>
                <a:gd name="connsiteY247" fmla="*/ 55606 h 93972"/>
                <a:gd name="connsiteX248" fmla="*/ 683294 w 1193687"/>
                <a:gd name="connsiteY248" fmla="*/ 61893 h 93972"/>
                <a:gd name="connsiteX249" fmla="*/ 683962 w 1193687"/>
                <a:gd name="connsiteY249" fmla="*/ 66373 h 93972"/>
                <a:gd name="connsiteX250" fmla="*/ 684697 w 1193687"/>
                <a:gd name="connsiteY250" fmla="*/ 69384 h 93972"/>
                <a:gd name="connsiteX251" fmla="*/ 691584 w 1193687"/>
                <a:gd name="connsiteY251" fmla="*/ 79416 h 93972"/>
                <a:gd name="connsiteX252" fmla="*/ 703958 w 1193687"/>
                <a:gd name="connsiteY252" fmla="*/ 82894 h 93972"/>
                <a:gd name="connsiteX253" fmla="*/ 755858 w 1193687"/>
                <a:gd name="connsiteY253" fmla="*/ 72728 h 93972"/>
                <a:gd name="connsiteX254" fmla="*/ 754788 w 1193687"/>
                <a:gd name="connsiteY254" fmla="*/ 68566 h 93972"/>
                <a:gd name="connsiteX255" fmla="*/ 754053 w 1193687"/>
                <a:gd name="connsiteY255" fmla="*/ 63552 h 93972"/>
                <a:gd name="connsiteX256" fmla="*/ 753584 w 1193687"/>
                <a:gd name="connsiteY256" fmla="*/ 56661 h 93972"/>
                <a:gd name="connsiteX257" fmla="*/ 753450 w 1193687"/>
                <a:gd name="connsiteY257" fmla="*/ 47031 h 93972"/>
                <a:gd name="connsiteX258" fmla="*/ 753584 w 1193687"/>
                <a:gd name="connsiteY258" fmla="*/ 37400 h 93972"/>
                <a:gd name="connsiteX259" fmla="*/ 754053 w 1193687"/>
                <a:gd name="connsiteY259" fmla="*/ 30513 h 93972"/>
                <a:gd name="connsiteX260" fmla="*/ 754788 w 1193687"/>
                <a:gd name="connsiteY260" fmla="*/ 25498 h 93972"/>
                <a:gd name="connsiteX261" fmla="*/ 755858 w 1193687"/>
                <a:gd name="connsiteY261" fmla="*/ 21337 h 93972"/>
                <a:gd name="connsiteX262" fmla="*/ 767361 w 1193687"/>
                <a:gd name="connsiteY262" fmla="*/ 5431 h 93972"/>
                <a:gd name="connsiteX263" fmla="*/ 787024 w 1193687"/>
                <a:gd name="connsiteY263" fmla="*/ 80 h 93972"/>
                <a:gd name="connsiteX264" fmla="*/ 797859 w 1193687"/>
                <a:gd name="connsiteY264" fmla="*/ 1483 h 93972"/>
                <a:gd name="connsiteX265" fmla="*/ 806420 w 1193687"/>
                <a:gd name="connsiteY265" fmla="*/ 5362 h 93972"/>
                <a:gd name="connsiteX266" fmla="*/ 812840 w 1193687"/>
                <a:gd name="connsiteY266" fmla="*/ 11114 h 93972"/>
                <a:gd name="connsiteX267" fmla="*/ 817254 w 1193687"/>
                <a:gd name="connsiteY267" fmla="*/ 18135 h 93972"/>
                <a:gd name="connsiteX268" fmla="*/ 817061 w 1193687"/>
                <a:gd name="connsiteY268" fmla="*/ 19873 h 93972"/>
                <a:gd name="connsiteX269" fmla="*/ 816853 w 1193687"/>
                <a:gd name="connsiteY269" fmla="*/ 20008 h 93972"/>
                <a:gd name="connsiteX270" fmla="*/ 808827 w 1193687"/>
                <a:gd name="connsiteY270" fmla="*/ 23872 h 93972"/>
                <a:gd name="connsiteX271" fmla="*/ 806955 w 1193687"/>
                <a:gd name="connsiteY271" fmla="*/ 23203 h 93972"/>
                <a:gd name="connsiteX272" fmla="*/ 798929 w 1193687"/>
                <a:gd name="connsiteY272" fmla="*/ 14107 h 93972"/>
                <a:gd name="connsiteX273" fmla="*/ 787039 w 1193687"/>
                <a:gd name="connsiteY273" fmla="*/ 11165 h 93972"/>
                <a:gd name="connsiteX274" fmla="*/ 774397 w 1193687"/>
                <a:gd name="connsiteY274" fmla="*/ 14643 h 93972"/>
                <a:gd name="connsiteX275" fmla="*/ 767373 w 1193687"/>
                <a:gd name="connsiteY275" fmla="*/ 24675 h 93972"/>
                <a:gd name="connsiteX276" fmla="*/ 766571 w 1193687"/>
                <a:gd name="connsiteY276" fmla="*/ 27617 h 93972"/>
                <a:gd name="connsiteX277" fmla="*/ 765976 w 1193687"/>
                <a:gd name="connsiteY277" fmla="*/ 31898 h 93972"/>
                <a:gd name="connsiteX278" fmla="*/ 765643 w 1193687"/>
                <a:gd name="connsiteY278" fmla="*/ 38116 h 93972"/>
                <a:gd name="connsiteX279" fmla="*/ 765489 w 1193687"/>
                <a:gd name="connsiteY279" fmla="*/ 47046 h 93972"/>
                <a:gd name="connsiteX280" fmla="*/ 765622 w 1193687"/>
                <a:gd name="connsiteY280" fmla="*/ 55942 h 93972"/>
                <a:gd name="connsiteX281" fmla="*/ 765955 w 1193687"/>
                <a:gd name="connsiteY281" fmla="*/ 62161 h 93972"/>
                <a:gd name="connsiteX282" fmla="*/ 766550 w 1193687"/>
                <a:gd name="connsiteY282" fmla="*/ 66441 h 93972"/>
                <a:gd name="connsiteX283" fmla="*/ 767352 w 1193687"/>
                <a:gd name="connsiteY283" fmla="*/ 69384 h 93972"/>
                <a:gd name="connsiteX284" fmla="*/ 774376 w 1193687"/>
                <a:gd name="connsiteY284" fmla="*/ 79416 h 93972"/>
                <a:gd name="connsiteX285" fmla="*/ 787018 w 1193687"/>
                <a:gd name="connsiteY285" fmla="*/ 82894 h 93972"/>
                <a:gd name="connsiteX286" fmla="*/ 799205 w 1193687"/>
                <a:gd name="connsiteY286" fmla="*/ 79550 h 93972"/>
                <a:gd name="connsiteX287" fmla="*/ 806562 w 1193687"/>
                <a:gd name="connsiteY287" fmla="*/ 69785 h 93972"/>
                <a:gd name="connsiteX288" fmla="*/ 807751 w 1193687"/>
                <a:gd name="connsiteY288" fmla="*/ 64033 h 93972"/>
                <a:gd name="connsiteX289" fmla="*/ 808286 w 1193687"/>
                <a:gd name="connsiteY289" fmla="*/ 55472 h 93972"/>
                <a:gd name="connsiteX290" fmla="*/ 807683 w 1193687"/>
                <a:gd name="connsiteY290" fmla="*/ 54670 h 93972"/>
                <a:gd name="connsiteX291" fmla="*/ 807484 w 1193687"/>
                <a:gd name="connsiteY291" fmla="*/ 54670 h 93972"/>
                <a:gd name="connsiteX292" fmla="*/ 789827 w 1193687"/>
                <a:gd name="connsiteY292" fmla="*/ 54670 h 93972"/>
                <a:gd name="connsiteX293" fmla="*/ 788490 w 1193687"/>
                <a:gd name="connsiteY293" fmla="*/ 53651 h 93972"/>
                <a:gd name="connsiteX294" fmla="*/ 788490 w 1193687"/>
                <a:gd name="connsiteY294" fmla="*/ 53332 h 93972"/>
                <a:gd name="connsiteX295" fmla="*/ 788490 w 1193687"/>
                <a:gd name="connsiteY295" fmla="*/ 45559 h 93972"/>
                <a:gd name="connsiteX296" fmla="*/ 789509 w 1193687"/>
                <a:gd name="connsiteY296" fmla="*/ 44222 h 93972"/>
                <a:gd name="connsiteX297" fmla="*/ 789827 w 1193687"/>
                <a:gd name="connsiteY297" fmla="*/ 44222 h 93972"/>
                <a:gd name="connsiteX298" fmla="*/ 818854 w 1193687"/>
                <a:gd name="connsiteY298" fmla="*/ 44222 h 93972"/>
                <a:gd name="connsiteX299" fmla="*/ 820191 w 1193687"/>
                <a:gd name="connsiteY299" fmla="*/ 45241 h 93972"/>
                <a:gd name="connsiteX300" fmla="*/ 820191 w 1193687"/>
                <a:gd name="connsiteY300" fmla="*/ 45559 h 93972"/>
                <a:gd name="connsiteX301" fmla="*/ 820191 w 1193687"/>
                <a:gd name="connsiteY301" fmla="*/ 52396 h 93972"/>
                <a:gd name="connsiteX302" fmla="*/ 819597 w 1193687"/>
                <a:gd name="connsiteY302" fmla="*/ 63831 h 93972"/>
                <a:gd name="connsiteX303" fmla="*/ 817926 w 1193687"/>
                <a:gd name="connsiteY303" fmla="*/ 72451 h 93972"/>
                <a:gd name="connsiteX304" fmla="*/ 806488 w 1193687"/>
                <a:gd name="connsiteY304" fmla="*/ 88434 h 93972"/>
                <a:gd name="connsiteX305" fmla="*/ 787027 w 1193687"/>
                <a:gd name="connsiteY305" fmla="*/ 93987 h 93972"/>
                <a:gd name="connsiteX306" fmla="*/ 767364 w 1193687"/>
                <a:gd name="connsiteY306" fmla="*/ 88636 h 93972"/>
                <a:gd name="connsiteX307" fmla="*/ 755858 w 1193687"/>
                <a:gd name="connsiteY307" fmla="*/ 72728 h 93972"/>
                <a:gd name="connsiteX308" fmla="*/ 839459 w 1193687"/>
                <a:gd name="connsiteY308" fmla="*/ 2904 h 93972"/>
                <a:gd name="connsiteX309" fmla="*/ 840478 w 1193687"/>
                <a:gd name="connsiteY309" fmla="*/ 1567 h 93972"/>
                <a:gd name="connsiteX310" fmla="*/ 840796 w 1193687"/>
                <a:gd name="connsiteY310" fmla="*/ 1567 h 93972"/>
                <a:gd name="connsiteX311" fmla="*/ 850011 w 1193687"/>
                <a:gd name="connsiteY311" fmla="*/ 1567 h 93972"/>
                <a:gd name="connsiteX312" fmla="*/ 851349 w 1193687"/>
                <a:gd name="connsiteY312" fmla="*/ 2586 h 93972"/>
                <a:gd name="connsiteX313" fmla="*/ 851349 w 1193687"/>
                <a:gd name="connsiteY313" fmla="*/ 2904 h 93972"/>
                <a:gd name="connsiteX314" fmla="*/ 851349 w 1193687"/>
                <a:gd name="connsiteY314" fmla="*/ 91187 h 93972"/>
                <a:gd name="connsiteX315" fmla="*/ 850329 w 1193687"/>
                <a:gd name="connsiteY315" fmla="*/ 92524 h 93972"/>
                <a:gd name="connsiteX316" fmla="*/ 850011 w 1193687"/>
                <a:gd name="connsiteY316" fmla="*/ 92524 h 93972"/>
                <a:gd name="connsiteX317" fmla="*/ 840796 w 1193687"/>
                <a:gd name="connsiteY317" fmla="*/ 92524 h 93972"/>
                <a:gd name="connsiteX318" fmla="*/ 839459 w 1193687"/>
                <a:gd name="connsiteY318" fmla="*/ 91505 h 93972"/>
                <a:gd name="connsiteX319" fmla="*/ 839459 w 1193687"/>
                <a:gd name="connsiteY319" fmla="*/ 91187 h 93972"/>
                <a:gd name="connsiteX320" fmla="*/ 901390 w 1193687"/>
                <a:gd name="connsiteY320" fmla="*/ 93996 h 93972"/>
                <a:gd name="connsiteX321" fmla="*/ 891893 w 1193687"/>
                <a:gd name="connsiteY321" fmla="*/ 93059 h 93972"/>
                <a:gd name="connsiteX322" fmla="*/ 883065 w 1193687"/>
                <a:gd name="connsiteY322" fmla="*/ 90583 h 93972"/>
                <a:gd name="connsiteX323" fmla="*/ 875441 w 1193687"/>
                <a:gd name="connsiteY323" fmla="*/ 86972 h 93972"/>
                <a:gd name="connsiteX324" fmla="*/ 869421 w 1193687"/>
                <a:gd name="connsiteY324" fmla="*/ 82626 h 93972"/>
                <a:gd name="connsiteX325" fmla="*/ 869225 w 1193687"/>
                <a:gd name="connsiteY325" fmla="*/ 80689 h 93972"/>
                <a:gd name="connsiteX326" fmla="*/ 869288 w 1193687"/>
                <a:gd name="connsiteY326" fmla="*/ 80620 h 93972"/>
                <a:gd name="connsiteX327" fmla="*/ 875173 w 1193687"/>
                <a:gd name="connsiteY327" fmla="*/ 73664 h 93972"/>
                <a:gd name="connsiteX328" fmla="*/ 876882 w 1193687"/>
                <a:gd name="connsiteY328" fmla="*/ 73389 h 93972"/>
                <a:gd name="connsiteX329" fmla="*/ 877046 w 1193687"/>
                <a:gd name="connsiteY329" fmla="*/ 73530 h 93972"/>
                <a:gd name="connsiteX330" fmla="*/ 888014 w 1193687"/>
                <a:gd name="connsiteY330" fmla="*/ 79951 h 93972"/>
                <a:gd name="connsiteX331" fmla="*/ 902460 w 1193687"/>
                <a:gd name="connsiteY331" fmla="*/ 82894 h 93972"/>
                <a:gd name="connsiteX332" fmla="*/ 917242 w 1193687"/>
                <a:gd name="connsiteY332" fmla="*/ 78613 h 93972"/>
                <a:gd name="connsiteX333" fmla="*/ 922525 w 1193687"/>
                <a:gd name="connsiteY333" fmla="*/ 67377 h 93972"/>
                <a:gd name="connsiteX334" fmla="*/ 921588 w 1193687"/>
                <a:gd name="connsiteY334" fmla="*/ 62027 h 93972"/>
                <a:gd name="connsiteX335" fmla="*/ 918446 w 1193687"/>
                <a:gd name="connsiteY335" fmla="*/ 57746 h 93972"/>
                <a:gd name="connsiteX336" fmla="*/ 912626 w 1193687"/>
                <a:gd name="connsiteY336" fmla="*/ 54536 h 93972"/>
                <a:gd name="connsiteX337" fmla="*/ 903531 w 1193687"/>
                <a:gd name="connsiteY337" fmla="*/ 52530 h 93972"/>
                <a:gd name="connsiteX338" fmla="*/ 898983 w 1193687"/>
                <a:gd name="connsiteY338" fmla="*/ 51861 h 93972"/>
                <a:gd name="connsiteX339" fmla="*/ 872230 w 1193687"/>
                <a:gd name="connsiteY339" fmla="*/ 26714 h 93972"/>
                <a:gd name="connsiteX340" fmla="*/ 874311 w 1193687"/>
                <a:gd name="connsiteY340" fmla="*/ 15745 h 93972"/>
                <a:gd name="connsiteX341" fmla="*/ 880256 w 1193687"/>
                <a:gd name="connsiteY341" fmla="*/ 7318 h 93972"/>
                <a:gd name="connsiteX342" fmla="*/ 889619 w 1193687"/>
                <a:gd name="connsiteY342" fmla="*/ 1968 h 93972"/>
                <a:gd name="connsiteX343" fmla="*/ 901925 w 1193687"/>
                <a:gd name="connsiteY343" fmla="*/ 95 h 93972"/>
                <a:gd name="connsiteX344" fmla="*/ 917240 w 1193687"/>
                <a:gd name="connsiteY344" fmla="*/ 2435 h 93972"/>
                <a:gd name="connsiteX345" fmla="*/ 929629 w 1193687"/>
                <a:gd name="connsiteY345" fmla="*/ 8522 h 93972"/>
                <a:gd name="connsiteX346" fmla="*/ 930087 w 1193687"/>
                <a:gd name="connsiteY346" fmla="*/ 10140 h 93972"/>
                <a:gd name="connsiteX347" fmla="*/ 929896 w 1193687"/>
                <a:gd name="connsiteY347" fmla="*/ 10395 h 93972"/>
                <a:gd name="connsiteX348" fmla="*/ 925348 w 1193687"/>
                <a:gd name="connsiteY348" fmla="*/ 17752 h 93972"/>
                <a:gd name="connsiteX349" fmla="*/ 923532 w 1193687"/>
                <a:gd name="connsiteY349" fmla="*/ 18063 h 93972"/>
                <a:gd name="connsiteX350" fmla="*/ 923476 w 1193687"/>
                <a:gd name="connsiteY350" fmla="*/ 18019 h 93972"/>
                <a:gd name="connsiteX351" fmla="*/ 912626 w 1193687"/>
                <a:gd name="connsiteY351" fmla="*/ 12862 h 93972"/>
                <a:gd name="connsiteX352" fmla="*/ 901524 w 1193687"/>
                <a:gd name="connsiteY352" fmla="*/ 11191 h 93972"/>
                <a:gd name="connsiteX353" fmla="*/ 888683 w 1193687"/>
                <a:gd name="connsiteY353" fmla="*/ 15270 h 93972"/>
                <a:gd name="connsiteX354" fmla="*/ 884269 w 1193687"/>
                <a:gd name="connsiteY354" fmla="*/ 25902 h 93972"/>
                <a:gd name="connsiteX355" fmla="*/ 888549 w 1193687"/>
                <a:gd name="connsiteY355" fmla="*/ 35331 h 93972"/>
                <a:gd name="connsiteX356" fmla="*/ 903397 w 1193687"/>
                <a:gd name="connsiteY356" fmla="*/ 40482 h 93972"/>
                <a:gd name="connsiteX357" fmla="*/ 907811 w 1193687"/>
                <a:gd name="connsiteY357" fmla="*/ 41151 h 93972"/>
                <a:gd name="connsiteX358" fmla="*/ 927875 w 1193687"/>
                <a:gd name="connsiteY358" fmla="*/ 49177 h 93972"/>
                <a:gd name="connsiteX359" fmla="*/ 934563 w 1193687"/>
                <a:gd name="connsiteY359" fmla="*/ 66566 h 93972"/>
                <a:gd name="connsiteX360" fmla="*/ 932482 w 1193687"/>
                <a:gd name="connsiteY360" fmla="*/ 77600 h 93972"/>
                <a:gd name="connsiteX361" fmla="*/ 926196 w 1193687"/>
                <a:gd name="connsiteY361" fmla="*/ 86220 h 93972"/>
                <a:gd name="connsiteX362" fmla="*/ 915762 w 1193687"/>
                <a:gd name="connsiteY362" fmla="*/ 91906 h 93972"/>
                <a:gd name="connsiteX363" fmla="*/ 901390 w 1193687"/>
                <a:gd name="connsiteY363" fmla="*/ 93996 h 93972"/>
                <a:gd name="connsiteX364" fmla="*/ 971348 w 1193687"/>
                <a:gd name="connsiteY364" fmla="*/ 92524 h 93972"/>
                <a:gd name="connsiteX365" fmla="*/ 970010 w 1193687"/>
                <a:gd name="connsiteY365" fmla="*/ 91505 h 93972"/>
                <a:gd name="connsiteX366" fmla="*/ 970010 w 1193687"/>
                <a:gd name="connsiteY366" fmla="*/ 91187 h 93972"/>
                <a:gd name="connsiteX367" fmla="*/ 970010 w 1193687"/>
                <a:gd name="connsiteY367" fmla="*/ 13457 h 93972"/>
                <a:gd name="connsiteX368" fmla="*/ 969407 w 1193687"/>
                <a:gd name="connsiteY368" fmla="*/ 12654 h 93972"/>
                <a:gd name="connsiteX369" fmla="*/ 969207 w 1193687"/>
                <a:gd name="connsiteY369" fmla="*/ 12654 h 93972"/>
                <a:gd name="connsiteX370" fmla="*/ 944328 w 1193687"/>
                <a:gd name="connsiteY370" fmla="*/ 12654 h 93972"/>
                <a:gd name="connsiteX371" fmla="*/ 942990 w 1193687"/>
                <a:gd name="connsiteY371" fmla="*/ 11635 h 93972"/>
                <a:gd name="connsiteX372" fmla="*/ 942990 w 1193687"/>
                <a:gd name="connsiteY372" fmla="*/ 11316 h 93972"/>
                <a:gd name="connsiteX373" fmla="*/ 942990 w 1193687"/>
                <a:gd name="connsiteY373" fmla="*/ 2904 h 93972"/>
                <a:gd name="connsiteX374" fmla="*/ 944010 w 1193687"/>
                <a:gd name="connsiteY374" fmla="*/ 1567 h 93972"/>
                <a:gd name="connsiteX375" fmla="*/ 944328 w 1193687"/>
                <a:gd name="connsiteY375" fmla="*/ 1567 h 93972"/>
                <a:gd name="connsiteX376" fmla="*/ 1007597 w 1193687"/>
                <a:gd name="connsiteY376" fmla="*/ 1567 h 93972"/>
                <a:gd name="connsiteX377" fmla="*/ 1008935 w 1193687"/>
                <a:gd name="connsiteY377" fmla="*/ 2586 h 93972"/>
                <a:gd name="connsiteX378" fmla="*/ 1008935 w 1193687"/>
                <a:gd name="connsiteY378" fmla="*/ 2904 h 93972"/>
                <a:gd name="connsiteX379" fmla="*/ 1008935 w 1193687"/>
                <a:gd name="connsiteY379" fmla="*/ 11331 h 93972"/>
                <a:gd name="connsiteX380" fmla="*/ 1007915 w 1193687"/>
                <a:gd name="connsiteY380" fmla="*/ 12669 h 93972"/>
                <a:gd name="connsiteX381" fmla="*/ 1007597 w 1193687"/>
                <a:gd name="connsiteY381" fmla="*/ 12669 h 93972"/>
                <a:gd name="connsiteX382" fmla="*/ 982717 w 1193687"/>
                <a:gd name="connsiteY382" fmla="*/ 12669 h 93972"/>
                <a:gd name="connsiteX383" fmla="*/ 981915 w 1193687"/>
                <a:gd name="connsiteY383" fmla="*/ 13273 h 93972"/>
                <a:gd name="connsiteX384" fmla="*/ 981915 w 1193687"/>
                <a:gd name="connsiteY384" fmla="*/ 13471 h 93972"/>
                <a:gd name="connsiteX385" fmla="*/ 981915 w 1193687"/>
                <a:gd name="connsiteY385" fmla="*/ 91187 h 93972"/>
                <a:gd name="connsiteX386" fmla="*/ 980895 w 1193687"/>
                <a:gd name="connsiteY386" fmla="*/ 92524 h 93972"/>
                <a:gd name="connsiteX387" fmla="*/ 980577 w 1193687"/>
                <a:gd name="connsiteY387" fmla="*/ 92524 h 93972"/>
                <a:gd name="connsiteX388" fmla="*/ 1023113 w 1193687"/>
                <a:gd name="connsiteY388" fmla="*/ 2904 h 93972"/>
                <a:gd name="connsiteX389" fmla="*/ 1024133 w 1193687"/>
                <a:gd name="connsiteY389" fmla="*/ 1567 h 93972"/>
                <a:gd name="connsiteX390" fmla="*/ 1024451 w 1193687"/>
                <a:gd name="connsiteY390" fmla="*/ 1567 h 93972"/>
                <a:gd name="connsiteX391" fmla="*/ 1033666 w 1193687"/>
                <a:gd name="connsiteY391" fmla="*/ 1567 h 93972"/>
                <a:gd name="connsiteX392" fmla="*/ 1035003 w 1193687"/>
                <a:gd name="connsiteY392" fmla="*/ 2586 h 93972"/>
                <a:gd name="connsiteX393" fmla="*/ 1035003 w 1193687"/>
                <a:gd name="connsiteY393" fmla="*/ 2904 h 93972"/>
                <a:gd name="connsiteX394" fmla="*/ 1035003 w 1193687"/>
                <a:gd name="connsiteY394" fmla="*/ 91187 h 93972"/>
                <a:gd name="connsiteX395" fmla="*/ 1033984 w 1193687"/>
                <a:gd name="connsiteY395" fmla="*/ 92524 h 93972"/>
                <a:gd name="connsiteX396" fmla="*/ 1033666 w 1193687"/>
                <a:gd name="connsiteY396" fmla="*/ 92524 h 93972"/>
                <a:gd name="connsiteX397" fmla="*/ 1024451 w 1193687"/>
                <a:gd name="connsiteY397" fmla="*/ 92524 h 93972"/>
                <a:gd name="connsiteX398" fmla="*/ 1023113 w 1193687"/>
                <a:gd name="connsiteY398" fmla="*/ 91505 h 93972"/>
                <a:gd name="connsiteX399" fmla="*/ 1023113 w 1193687"/>
                <a:gd name="connsiteY399" fmla="*/ 91187 h 93972"/>
                <a:gd name="connsiteX400" fmla="*/ 1056702 w 1193687"/>
                <a:gd name="connsiteY400" fmla="*/ 72594 h 93972"/>
                <a:gd name="connsiteX401" fmla="*/ 1055564 w 1193687"/>
                <a:gd name="connsiteY401" fmla="*/ 68516 h 93972"/>
                <a:gd name="connsiteX402" fmla="*/ 1054830 w 1193687"/>
                <a:gd name="connsiteY402" fmla="*/ 63567 h 93972"/>
                <a:gd name="connsiteX403" fmla="*/ 1054428 w 1193687"/>
                <a:gd name="connsiteY403" fmla="*/ 56676 h 93972"/>
                <a:gd name="connsiteX404" fmla="*/ 1054295 w 1193687"/>
                <a:gd name="connsiteY404" fmla="*/ 47046 h 93972"/>
                <a:gd name="connsiteX405" fmla="*/ 1054428 w 1193687"/>
                <a:gd name="connsiteY405" fmla="*/ 37415 h 93972"/>
                <a:gd name="connsiteX406" fmla="*/ 1054830 w 1193687"/>
                <a:gd name="connsiteY406" fmla="*/ 30527 h 93972"/>
                <a:gd name="connsiteX407" fmla="*/ 1055564 w 1193687"/>
                <a:gd name="connsiteY407" fmla="*/ 25578 h 93972"/>
                <a:gd name="connsiteX408" fmla="*/ 1056702 w 1193687"/>
                <a:gd name="connsiteY408" fmla="*/ 21500 h 93972"/>
                <a:gd name="connsiteX409" fmla="*/ 1067938 w 1193687"/>
                <a:gd name="connsiteY409" fmla="*/ 5383 h 93972"/>
                <a:gd name="connsiteX410" fmla="*/ 1086932 w 1193687"/>
                <a:gd name="connsiteY410" fmla="*/ 98 h 93972"/>
                <a:gd name="connsiteX411" fmla="*/ 1104654 w 1193687"/>
                <a:gd name="connsiteY411" fmla="*/ 4854 h 93972"/>
                <a:gd name="connsiteX412" fmla="*/ 1116092 w 1193687"/>
                <a:gd name="connsiteY412" fmla="*/ 18429 h 93972"/>
                <a:gd name="connsiteX413" fmla="*/ 1115557 w 1193687"/>
                <a:gd name="connsiteY413" fmla="*/ 20168 h 93972"/>
                <a:gd name="connsiteX414" fmla="*/ 1107532 w 1193687"/>
                <a:gd name="connsiteY414" fmla="*/ 24047 h 93972"/>
                <a:gd name="connsiteX415" fmla="*/ 1105867 w 1193687"/>
                <a:gd name="connsiteY415" fmla="*/ 23816 h 93972"/>
                <a:gd name="connsiteX416" fmla="*/ 1105659 w 1193687"/>
                <a:gd name="connsiteY416" fmla="*/ 23379 h 93972"/>
                <a:gd name="connsiteX417" fmla="*/ 1098570 w 1193687"/>
                <a:gd name="connsiteY417" fmla="*/ 14619 h 93972"/>
                <a:gd name="connsiteX418" fmla="*/ 1086932 w 1193687"/>
                <a:gd name="connsiteY418" fmla="*/ 11209 h 93972"/>
                <a:gd name="connsiteX419" fmla="*/ 1074894 w 1193687"/>
                <a:gd name="connsiteY419" fmla="*/ 14687 h 93972"/>
                <a:gd name="connsiteX420" fmla="*/ 1068057 w 1193687"/>
                <a:gd name="connsiteY420" fmla="*/ 24585 h 93972"/>
                <a:gd name="connsiteX421" fmla="*/ 1067323 w 1193687"/>
                <a:gd name="connsiteY421" fmla="*/ 27730 h 93972"/>
                <a:gd name="connsiteX422" fmla="*/ 1066788 w 1193687"/>
                <a:gd name="connsiteY422" fmla="*/ 31892 h 93972"/>
                <a:gd name="connsiteX423" fmla="*/ 1066455 w 1193687"/>
                <a:gd name="connsiteY423" fmla="*/ 38045 h 93972"/>
                <a:gd name="connsiteX424" fmla="*/ 1066321 w 1193687"/>
                <a:gd name="connsiteY424" fmla="*/ 47075 h 93972"/>
                <a:gd name="connsiteX425" fmla="*/ 1066455 w 1193687"/>
                <a:gd name="connsiteY425" fmla="*/ 56103 h 93972"/>
                <a:gd name="connsiteX426" fmla="*/ 1066788 w 1193687"/>
                <a:gd name="connsiteY426" fmla="*/ 62256 h 93972"/>
                <a:gd name="connsiteX427" fmla="*/ 1067323 w 1193687"/>
                <a:gd name="connsiteY427" fmla="*/ 66471 h 93972"/>
                <a:gd name="connsiteX428" fmla="*/ 1068057 w 1193687"/>
                <a:gd name="connsiteY428" fmla="*/ 69547 h 93972"/>
                <a:gd name="connsiteX429" fmla="*/ 1074894 w 1193687"/>
                <a:gd name="connsiteY429" fmla="*/ 79446 h 93972"/>
                <a:gd name="connsiteX430" fmla="*/ 1086932 w 1193687"/>
                <a:gd name="connsiteY430" fmla="*/ 82923 h 93972"/>
                <a:gd name="connsiteX431" fmla="*/ 1098570 w 1193687"/>
                <a:gd name="connsiteY431" fmla="*/ 79511 h 93972"/>
                <a:gd name="connsiteX432" fmla="*/ 1105659 w 1193687"/>
                <a:gd name="connsiteY432" fmla="*/ 70751 h 93972"/>
                <a:gd name="connsiteX433" fmla="*/ 1107095 w 1193687"/>
                <a:gd name="connsiteY433" fmla="*/ 69875 h 93972"/>
                <a:gd name="connsiteX434" fmla="*/ 1107532 w 1193687"/>
                <a:gd name="connsiteY434" fmla="*/ 70082 h 93972"/>
                <a:gd name="connsiteX435" fmla="*/ 1115557 w 1193687"/>
                <a:gd name="connsiteY435" fmla="*/ 73946 h 93972"/>
                <a:gd name="connsiteX436" fmla="*/ 1116092 w 1193687"/>
                <a:gd name="connsiteY436" fmla="*/ 75685 h 93972"/>
                <a:gd name="connsiteX437" fmla="*/ 1104654 w 1193687"/>
                <a:gd name="connsiteY437" fmla="*/ 89261 h 93972"/>
                <a:gd name="connsiteX438" fmla="*/ 1086932 w 1193687"/>
                <a:gd name="connsiteY438" fmla="*/ 94017 h 93972"/>
                <a:gd name="connsiteX439" fmla="*/ 1067938 w 1193687"/>
                <a:gd name="connsiteY439" fmla="*/ 88732 h 93972"/>
                <a:gd name="connsiteX440" fmla="*/ 1056687 w 1193687"/>
                <a:gd name="connsiteY440" fmla="*/ 72609 h 93972"/>
                <a:gd name="connsiteX441" fmla="*/ 1160769 w 1193687"/>
                <a:gd name="connsiteY441" fmla="*/ 93996 h 93972"/>
                <a:gd name="connsiteX442" fmla="*/ 1151272 w 1193687"/>
                <a:gd name="connsiteY442" fmla="*/ 93059 h 93972"/>
                <a:gd name="connsiteX443" fmla="*/ 1142443 w 1193687"/>
                <a:gd name="connsiteY443" fmla="*/ 90583 h 93972"/>
                <a:gd name="connsiteX444" fmla="*/ 1134819 w 1193687"/>
                <a:gd name="connsiteY444" fmla="*/ 86972 h 93972"/>
                <a:gd name="connsiteX445" fmla="*/ 1128785 w 1193687"/>
                <a:gd name="connsiteY445" fmla="*/ 82626 h 93972"/>
                <a:gd name="connsiteX446" fmla="*/ 1128589 w 1193687"/>
                <a:gd name="connsiteY446" fmla="*/ 80689 h 93972"/>
                <a:gd name="connsiteX447" fmla="*/ 1128651 w 1193687"/>
                <a:gd name="connsiteY447" fmla="*/ 80620 h 93972"/>
                <a:gd name="connsiteX448" fmla="*/ 1134537 w 1193687"/>
                <a:gd name="connsiteY448" fmla="*/ 73664 h 93972"/>
                <a:gd name="connsiteX449" fmla="*/ 1136246 w 1193687"/>
                <a:gd name="connsiteY449" fmla="*/ 73389 h 93972"/>
                <a:gd name="connsiteX450" fmla="*/ 1136409 w 1193687"/>
                <a:gd name="connsiteY450" fmla="*/ 73530 h 93972"/>
                <a:gd name="connsiteX451" fmla="*/ 1147378 w 1193687"/>
                <a:gd name="connsiteY451" fmla="*/ 79951 h 93972"/>
                <a:gd name="connsiteX452" fmla="*/ 1161824 w 1193687"/>
                <a:gd name="connsiteY452" fmla="*/ 82894 h 93972"/>
                <a:gd name="connsiteX453" fmla="*/ 1176606 w 1193687"/>
                <a:gd name="connsiteY453" fmla="*/ 78613 h 93972"/>
                <a:gd name="connsiteX454" fmla="*/ 1181888 w 1193687"/>
                <a:gd name="connsiteY454" fmla="*/ 67377 h 93972"/>
                <a:gd name="connsiteX455" fmla="*/ 1180952 w 1193687"/>
                <a:gd name="connsiteY455" fmla="*/ 62027 h 93972"/>
                <a:gd name="connsiteX456" fmla="*/ 1177810 w 1193687"/>
                <a:gd name="connsiteY456" fmla="*/ 57746 h 93972"/>
                <a:gd name="connsiteX457" fmla="*/ 1171990 w 1193687"/>
                <a:gd name="connsiteY457" fmla="*/ 54536 h 93972"/>
                <a:gd name="connsiteX458" fmla="*/ 1162894 w 1193687"/>
                <a:gd name="connsiteY458" fmla="*/ 52530 h 93972"/>
                <a:gd name="connsiteX459" fmla="*/ 1158346 w 1193687"/>
                <a:gd name="connsiteY459" fmla="*/ 51861 h 93972"/>
                <a:gd name="connsiteX460" fmla="*/ 1131594 w 1193687"/>
                <a:gd name="connsiteY460" fmla="*/ 26714 h 93972"/>
                <a:gd name="connsiteX461" fmla="*/ 1133675 w 1193687"/>
                <a:gd name="connsiteY461" fmla="*/ 15745 h 93972"/>
                <a:gd name="connsiteX462" fmla="*/ 1139620 w 1193687"/>
                <a:gd name="connsiteY462" fmla="*/ 7318 h 93972"/>
                <a:gd name="connsiteX463" fmla="*/ 1148983 w 1193687"/>
                <a:gd name="connsiteY463" fmla="*/ 1968 h 93972"/>
                <a:gd name="connsiteX464" fmla="*/ 1161289 w 1193687"/>
                <a:gd name="connsiteY464" fmla="*/ 95 h 93972"/>
                <a:gd name="connsiteX465" fmla="*/ 1176603 w 1193687"/>
                <a:gd name="connsiteY465" fmla="*/ 2435 h 93972"/>
                <a:gd name="connsiteX466" fmla="*/ 1188978 w 1193687"/>
                <a:gd name="connsiteY466" fmla="*/ 8522 h 93972"/>
                <a:gd name="connsiteX467" fmla="*/ 1189435 w 1193687"/>
                <a:gd name="connsiteY467" fmla="*/ 10140 h 93972"/>
                <a:gd name="connsiteX468" fmla="*/ 1189245 w 1193687"/>
                <a:gd name="connsiteY468" fmla="*/ 10395 h 93972"/>
                <a:gd name="connsiteX469" fmla="*/ 1184697 w 1193687"/>
                <a:gd name="connsiteY469" fmla="*/ 17752 h 93972"/>
                <a:gd name="connsiteX470" fmla="*/ 1182881 w 1193687"/>
                <a:gd name="connsiteY470" fmla="*/ 18063 h 93972"/>
                <a:gd name="connsiteX471" fmla="*/ 1182825 w 1193687"/>
                <a:gd name="connsiteY471" fmla="*/ 18019 h 93972"/>
                <a:gd name="connsiteX472" fmla="*/ 1171990 w 1193687"/>
                <a:gd name="connsiteY472" fmla="*/ 12862 h 93972"/>
                <a:gd name="connsiteX473" fmla="*/ 1160888 w 1193687"/>
                <a:gd name="connsiteY473" fmla="*/ 11197 h 93972"/>
                <a:gd name="connsiteX474" fmla="*/ 1148047 w 1193687"/>
                <a:gd name="connsiteY474" fmla="*/ 15276 h 93972"/>
                <a:gd name="connsiteX475" fmla="*/ 1143647 w 1193687"/>
                <a:gd name="connsiteY475" fmla="*/ 25911 h 93972"/>
                <a:gd name="connsiteX476" fmla="*/ 1147928 w 1193687"/>
                <a:gd name="connsiteY476" fmla="*/ 35340 h 93972"/>
                <a:gd name="connsiteX477" fmla="*/ 1162760 w 1193687"/>
                <a:gd name="connsiteY477" fmla="*/ 40506 h 93972"/>
                <a:gd name="connsiteX478" fmla="*/ 1167174 w 1193687"/>
                <a:gd name="connsiteY478" fmla="*/ 41175 h 93972"/>
                <a:gd name="connsiteX479" fmla="*/ 1187239 w 1193687"/>
                <a:gd name="connsiteY479" fmla="*/ 49201 h 93972"/>
                <a:gd name="connsiteX480" fmla="*/ 1193927 w 1193687"/>
                <a:gd name="connsiteY480" fmla="*/ 66590 h 93972"/>
                <a:gd name="connsiteX481" fmla="*/ 1191846 w 1193687"/>
                <a:gd name="connsiteY481" fmla="*/ 77623 h 93972"/>
                <a:gd name="connsiteX482" fmla="*/ 1185559 w 1193687"/>
                <a:gd name="connsiteY482" fmla="*/ 86244 h 93972"/>
                <a:gd name="connsiteX483" fmla="*/ 1175126 w 1193687"/>
                <a:gd name="connsiteY483" fmla="*/ 91930 h 93972"/>
                <a:gd name="connsiteX484" fmla="*/ 1160754 w 1193687"/>
                <a:gd name="connsiteY484" fmla="*/ 93996 h 93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Lst>
              <a:rect l="l" t="t" r="r" b="b"/>
              <a:pathLst>
                <a:path w="1193687" h="93972">
                  <a:moveTo>
                    <a:pt x="31941" y="2904"/>
                  </a:moveTo>
                  <a:cubicBezTo>
                    <a:pt x="32072" y="2123"/>
                    <a:pt x="32754" y="1556"/>
                    <a:pt x="33546" y="1567"/>
                  </a:cubicBezTo>
                  <a:lnTo>
                    <a:pt x="42240" y="1567"/>
                  </a:lnTo>
                  <a:cubicBezTo>
                    <a:pt x="43071" y="1520"/>
                    <a:pt x="43811" y="2089"/>
                    <a:pt x="43979" y="2904"/>
                  </a:cubicBezTo>
                  <a:lnTo>
                    <a:pt x="75145" y="91187"/>
                  </a:lnTo>
                  <a:cubicBezTo>
                    <a:pt x="75413" y="92079"/>
                    <a:pt x="75101" y="92524"/>
                    <a:pt x="74209" y="92524"/>
                  </a:cubicBezTo>
                  <a:lnTo>
                    <a:pt x="64846" y="92524"/>
                  </a:lnTo>
                  <a:cubicBezTo>
                    <a:pt x="64015" y="92571"/>
                    <a:pt x="63275" y="92002"/>
                    <a:pt x="63107" y="91187"/>
                  </a:cubicBezTo>
                  <a:lnTo>
                    <a:pt x="56151" y="71390"/>
                  </a:lnTo>
                  <a:lnTo>
                    <a:pt x="19367" y="71390"/>
                  </a:lnTo>
                  <a:lnTo>
                    <a:pt x="12411" y="91187"/>
                  </a:lnTo>
                  <a:cubicBezTo>
                    <a:pt x="12197" y="91972"/>
                    <a:pt x="11486" y="92518"/>
                    <a:pt x="10672" y="92524"/>
                  </a:cubicBezTo>
                  <a:lnTo>
                    <a:pt x="1309" y="92524"/>
                  </a:lnTo>
                  <a:cubicBezTo>
                    <a:pt x="417" y="92524"/>
                    <a:pt x="105" y="92079"/>
                    <a:pt x="373" y="91187"/>
                  </a:cubicBezTo>
                  <a:close/>
                  <a:moveTo>
                    <a:pt x="52272" y="60422"/>
                  </a:moveTo>
                  <a:lnTo>
                    <a:pt x="37960" y="19089"/>
                  </a:lnTo>
                  <a:lnTo>
                    <a:pt x="37692" y="19089"/>
                  </a:lnTo>
                  <a:lnTo>
                    <a:pt x="23246" y="60422"/>
                  </a:lnTo>
                  <a:close/>
                  <a:moveTo>
                    <a:pt x="105911" y="92524"/>
                  </a:moveTo>
                  <a:cubicBezTo>
                    <a:pt x="105119" y="92535"/>
                    <a:pt x="104437" y="91968"/>
                    <a:pt x="104305" y="91187"/>
                  </a:cubicBezTo>
                  <a:lnTo>
                    <a:pt x="74878" y="3172"/>
                  </a:lnTo>
                  <a:cubicBezTo>
                    <a:pt x="74695" y="2791"/>
                    <a:pt x="74695" y="2348"/>
                    <a:pt x="74878" y="1968"/>
                  </a:cubicBezTo>
                  <a:cubicBezTo>
                    <a:pt x="75099" y="1680"/>
                    <a:pt x="75453" y="1528"/>
                    <a:pt x="75814" y="1567"/>
                  </a:cubicBezTo>
                  <a:lnTo>
                    <a:pt x="84910" y="1567"/>
                  </a:lnTo>
                  <a:cubicBezTo>
                    <a:pt x="85780" y="1487"/>
                    <a:pt x="86576" y="2056"/>
                    <a:pt x="86783" y="2904"/>
                  </a:cubicBezTo>
                  <a:lnTo>
                    <a:pt x="110057" y="73129"/>
                  </a:lnTo>
                  <a:lnTo>
                    <a:pt x="110325" y="73129"/>
                  </a:lnTo>
                  <a:lnTo>
                    <a:pt x="132797" y="2904"/>
                  </a:lnTo>
                  <a:cubicBezTo>
                    <a:pt x="132965" y="2089"/>
                    <a:pt x="133704" y="1520"/>
                    <a:pt x="134536" y="1567"/>
                  </a:cubicBezTo>
                  <a:lnTo>
                    <a:pt x="143750" y="1567"/>
                  </a:lnTo>
                  <a:cubicBezTo>
                    <a:pt x="144741" y="1567"/>
                    <a:pt x="145053" y="2102"/>
                    <a:pt x="144687" y="3172"/>
                  </a:cubicBezTo>
                  <a:lnTo>
                    <a:pt x="115408" y="91187"/>
                  </a:lnTo>
                  <a:cubicBezTo>
                    <a:pt x="115276" y="91968"/>
                    <a:pt x="114594" y="92535"/>
                    <a:pt x="113803" y="92524"/>
                  </a:cubicBezTo>
                  <a:close/>
                  <a:moveTo>
                    <a:pt x="158613" y="2904"/>
                  </a:moveTo>
                  <a:cubicBezTo>
                    <a:pt x="158525" y="2253"/>
                    <a:pt x="158981" y="1655"/>
                    <a:pt x="159632" y="1567"/>
                  </a:cubicBezTo>
                  <a:cubicBezTo>
                    <a:pt x="159737" y="1552"/>
                    <a:pt x="159844" y="1552"/>
                    <a:pt x="159950" y="1567"/>
                  </a:cubicBezTo>
                  <a:lnTo>
                    <a:pt x="169165" y="1567"/>
                  </a:lnTo>
                  <a:cubicBezTo>
                    <a:pt x="169816" y="1479"/>
                    <a:pt x="170415" y="1935"/>
                    <a:pt x="170503" y="2586"/>
                  </a:cubicBezTo>
                  <a:cubicBezTo>
                    <a:pt x="170517" y="2691"/>
                    <a:pt x="170517" y="2798"/>
                    <a:pt x="170503" y="2904"/>
                  </a:cubicBezTo>
                  <a:lnTo>
                    <a:pt x="170503" y="91187"/>
                  </a:lnTo>
                  <a:cubicBezTo>
                    <a:pt x="170591" y="91837"/>
                    <a:pt x="170134" y="92436"/>
                    <a:pt x="169484" y="92524"/>
                  </a:cubicBezTo>
                  <a:cubicBezTo>
                    <a:pt x="169378" y="92539"/>
                    <a:pt x="169271" y="92539"/>
                    <a:pt x="169165" y="92524"/>
                  </a:cubicBezTo>
                  <a:lnTo>
                    <a:pt x="159950" y="92524"/>
                  </a:lnTo>
                  <a:cubicBezTo>
                    <a:pt x="159300" y="92612"/>
                    <a:pt x="158701" y="92156"/>
                    <a:pt x="158613" y="91505"/>
                  </a:cubicBezTo>
                  <a:cubicBezTo>
                    <a:pt x="158598" y="91400"/>
                    <a:pt x="158598" y="91293"/>
                    <a:pt x="158613" y="91187"/>
                  </a:cubicBezTo>
                  <a:close/>
                  <a:moveTo>
                    <a:pt x="216531" y="2904"/>
                  </a:moveTo>
                  <a:cubicBezTo>
                    <a:pt x="216663" y="2123"/>
                    <a:pt x="217345" y="1556"/>
                    <a:pt x="218137" y="1567"/>
                  </a:cubicBezTo>
                  <a:lnTo>
                    <a:pt x="226831" y="1567"/>
                  </a:lnTo>
                  <a:cubicBezTo>
                    <a:pt x="227662" y="1520"/>
                    <a:pt x="228402" y="2089"/>
                    <a:pt x="228570" y="2904"/>
                  </a:cubicBezTo>
                  <a:lnTo>
                    <a:pt x="259736" y="91187"/>
                  </a:lnTo>
                  <a:cubicBezTo>
                    <a:pt x="260004" y="92079"/>
                    <a:pt x="259692" y="92524"/>
                    <a:pt x="258800" y="92524"/>
                  </a:cubicBezTo>
                  <a:lnTo>
                    <a:pt x="249437" y="92524"/>
                  </a:lnTo>
                  <a:cubicBezTo>
                    <a:pt x="248606" y="92571"/>
                    <a:pt x="247866" y="92002"/>
                    <a:pt x="247698" y="91187"/>
                  </a:cubicBezTo>
                  <a:lnTo>
                    <a:pt x="240742" y="71390"/>
                  </a:lnTo>
                  <a:lnTo>
                    <a:pt x="203958" y="71390"/>
                  </a:lnTo>
                  <a:lnTo>
                    <a:pt x="197002" y="91187"/>
                  </a:lnTo>
                  <a:cubicBezTo>
                    <a:pt x="196788" y="91972"/>
                    <a:pt x="196077" y="92518"/>
                    <a:pt x="195263" y="92524"/>
                  </a:cubicBezTo>
                  <a:lnTo>
                    <a:pt x="185900" y="92524"/>
                  </a:lnTo>
                  <a:cubicBezTo>
                    <a:pt x="185008" y="92524"/>
                    <a:pt x="184696" y="92079"/>
                    <a:pt x="184964" y="91187"/>
                  </a:cubicBezTo>
                  <a:close/>
                  <a:moveTo>
                    <a:pt x="236863" y="60422"/>
                  </a:moveTo>
                  <a:lnTo>
                    <a:pt x="222551" y="19089"/>
                  </a:lnTo>
                  <a:lnTo>
                    <a:pt x="222283" y="19089"/>
                  </a:lnTo>
                  <a:lnTo>
                    <a:pt x="207837" y="60422"/>
                  </a:lnTo>
                  <a:close/>
                  <a:moveTo>
                    <a:pt x="284616" y="92524"/>
                  </a:moveTo>
                  <a:cubicBezTo>
                    <a:pt x="283965" y="92612"/>
                    <a:pt x="283366" y="92156"/>
                    <a:pt x="283278" y="91505"/>
                  </a:cubicBezTo>
                  <a:cubicBezTo>
                    <a:pt x="283264" y="91400"/>
                    <a:pt x="283264" y="91293"/>
                    <a:pt x="283278" y="91187"/>
                  </a:cubicBezTo>
                  <a:lnTo>
                    <a:pt x="283278" y="13457"/>
                  </a:lnTo>
                  <a:cubicBezTo>
                    <a:pt x="283333" y="13068"/>
                    <a:pt x="283063" y="12709"/>
                    <a:pt x="282674" y="12654"/>
                  </a:cubicBezTo>
                  <a:cubicBezTo>
                    <a:pt x="282608" y="12645"/>
                    <a:pt x="282542" y="12645"/>
                    <a:pt x="282476" y="12654"/>
                  </a:cubicBezTo>
                  <a:lnTo>
                    <a:pt x="257596" y="12654"/>
                  </a:lnTo>
                  <a:cubicBezTo>
                    <a:pt x="256946" y="12742"/>
                    <a:pt x="256347" y="12286"/>
                    <a:pt x="256259" y="11635"/>
                  </a:cubicBezTo>
                  <a:cubicBezTo>
                    <a:pt x="256244" y="11529"/>
                    <a:pt x="256244" y="11422"/>
                    <a:pt x="256259" y="11316"/>
                  </a:cubicBezTo>
                  <a:lnTo>
                    <a:pt x="256259" y="2904"/>
                  </a:lnTo>
                  <a:cubicBezTo>
                    <a:pt x="256171" y="2253"/>
                    <a:pt x="256627" y="1655"/>
                    <a:pt x="257278" y="1567"/>
                  </a:cubicBezTo>
                  <a:cubicBezTo>
                    <a:pt x="257383" y="1552"/>
                    <a:pt x="257490" y="1552"/>
                    <a:pt x="257596" y="1567"/>
                  </a:cubicBezTo>
                  <a:lnTo>
                    <a:pt x="320865" y="1567"/>
                  </a:lnTo>
                  <a:cubicBezTo>
                    <a:pt x="321516" y="1479"/>
                    <a:pt x="322114" y="1935"/>
                    <a:pt x="322203" y="2586"/>
                  </a:cubicBezTo>
                  <a:cubicBezTo>
                    <a:pt x="322218" y="2691"/>
                    <a:pt x="322218" y="2798"/>
                    <a:pt x="322203" y="2904"/>
                  </a:cubicBezTo>
                  <a:lnTo>
                    <a:pt x="322203" y="11331"/>
                  </a:lnTo>
                  <a:cubicBezTo>
                    <a:pt x="322292" y="11982"/>
                    <a:pt x="321834" y="12581"/>
                    <a:pt x="321183" y="12669"/>
                  </a:cubicBezTo>
                  <a:cubicBezTo>
                    <a:pt x="321079" y="12683"/>
                    <a:pt x="320972" y="12683"/>
                    <a:pt x="320865" y="12669"/>
                  </a:cubicBezTo>
                  <a:lnTo>
                    <a:pt x="295986" y="12669"/>
                  </a:lnTo>
                  <a:cubicBezTo>
                    <a:pt x="295596" y="12614"/>
                    <a:pt x="295237" y="12885"/>
                    <a:pt x="295183" y="13273"/>
                  </a:cubicBezTo>
                  <a:cubicBezTo>
                    <a:pt x="295174" y="13339"/>
                    <a:pt x="295174" y="13406"/>
                    <a:pt x="295183" y="13471"/>
                  </a:cubicBezTo>
                  <a:lnTo>
                    <a:pt x="295183" y="91187"/>
                  </a:lnTo>
                  <a:cubicBezTo>
                    <a:pt x="295272" y="91837"/>
                    <a:pt x="294815" y="92436"/>
                    <a:pt x="294164" y="92524"/>
                  </a:cubicBezTo>
                  <a:cubicBezTo>
                    <a:pt x="294058" y="92539"/>
                    <a:pt x="293951" y="92539"/>
                    <a:pt x="293846" y="92524"/>
                  </a:cubicBezTo>
                  <a:close/>
                  <a:moveTo>
                    <a:pt x="336382" y="2904"/>
                  </a:moveTo>
                  <a:cubicBezTo>
                    <a:pt x="336293" y="2253"/>
                    <a:pt x="336750" y="1655"/>
                    <a:pt x="337401" y="1567"/>
                  </a:cubicBezTo>
                  <a:cubicBezTo>
                    <a:pt x="337505" y="1552"/>
                    <a:pt x="337612" y="1552"/>
                    <a:pt x="337719" y="1567"/>
                  </a:cubicBezTo>
                  <a:lnTo>
                    <a:pt x="346934" y="1567"/>
                  </a:lnTo>
                  <a:cubicBezTo>
                    <a:pt x="347585" y="1479"/>
                    <a:pt x="348182" y="1935"/>
                    <a:pt x="348272" y="2586"/>
                  </a:cubicBezTo>
                  <a:cubicBezTo>
                    <a:pt x="348286" y="2691"/>
                    <a:pt x="348286" y="2798"/>
                    <a:pt x="348272" y="2904"/>
                  </a:cubicBezTo>
                  <a:lnTo>
                    <a:pt x="348272" y="91187"/>
                  </a:lnTo>
                  <a:cubicBezTo>
                    <a:pt x="348361" y="91837"/>
                    <a:pt x="347903" y="92436"/>
                    <a:pt x="347252" y="92524"/>
                  </a:cubicBezTo>
                  <a:cubicBezTo>
                    <a:pt x="347148" y="92539"/>
                    <a:pt x="347041" y="92539"/>
                    <a:pt x="346934" y="92524"/>
                  </a:cubicBezTo>
                  <a:lnTo>
                    <a:pt x="337719" y="92524"/>
                  </a:lnTo>
                  <a:cubicBezTo>
                    <a:pt x="337068" y="92612"/>
                    <a:pt x="336471" y="92156"/>
                    <a:pt x="336382" y="91505"/>
                  </a:cubicBezTo>
                  <a:cubicBezTo>
                    <a:pt x="336367" y="91400"/>
                    <a:pt x="336367" y="91293"/>
                    <a:pt x="336382" y="91187"/>
                  </a:cubicBezTo>
                  <a:close/>
                  <a:moveTo>
                    <a:pt x="400855" y="93996"/>
                  </a:moveTo>
                  <a:cubicBezTo>
                    <a:pt x="393976" y="94218"/>
                    <a:pt x="387190" y="92353"/>
                    <a:pt x="381391" y="88645"/>
                  </a:cubicBezTo>
                  <a:cubicBezTo>
                    <a:pt x="375877" y="84796"/>
                    <a:pt x="371843" y="79181"/>
                    <a:pt x="369956" y="72728"/>
                  </a:cubicBezTo>
                  <a:cubicBezTo>
                    <a:pt x="369504" y="71362"/>
                    <a:pt x="369124" y="69973"/>
                    <a:pt x="368820" y="68566"/>
                  </a:cubicBezTo>
                  <a:cubicBezTo>
                    <a:pt x="368473" y="66911"/>
                    <a:pt x="368229" y="65236"/>
                    <a:pt x="368083" y="63552"/>
                  </a:cubicBezTo>
                  <a:cubicBezTo>
                    <a:pt x="367905" y="61635"/>
                    <a:pt x="367771" y="59339"/>
                    <a:pt x="367682" y="56661"/>
                  </a:cubicBezTo>
                  <a:cubicBezTo>
                    <a:pt x="367593" y="53984"/>
                    <a:pt x="367542" y="50779"/>
                    <a:pt x="367533" y="47046"/>
                  </a:cubicBezTo>
                  <a:cubicBezTo>
                    <a:pt x="367533" y="43300"/>
                    <a:pt x="367578" y="40090"/>
                    <a:pt x="367667" y="37415"/>
                  </a:cubicBezTo>
                  <a:cubicBezTo>
                    <a:pt x="367756" y="34739"/>
                    <a:pt x="367890" y="32444"/>
                    <a:pt x="368068" y="30527"/>
                  </a:cubicBezTo>
                  <a:cubicBezTo>
                    <a:pt x="368214" y="28843"/>
                    <a:pt x="368458" y="27168"/>
                    <a:pt x="368805" y="25513"/>
                  </a:cubicBezTo>
                  <a:cubicBezTo>
                    <a:pt x="369109" y="24107"/>
                    <a:pt x="369489" y="22717"/>
                    <a:pt x="369941" y="21351"/>
                  </a:cubicBezTo>
                  <a:cubicBezTo>
                    <a:pt x="371831" y="14895"/>
                    <a:pt x="375871" y="9279"/>
                    <a:pt x="381391" y="5431"/>
                  </a:cubicBezTo>
                  <a:cubicBezTo>
                    <a:pt x="393432" y="-1703"/>
                    <a:pt x="408408" y="-1703"/>
                    <a:pt x="420449" y="5431"/>
                  </a:cubicBezTo>
                  <a:cubicBezTo>
                    <a:pt x="425963" y="9280"/>
                    <a:pt x="429997" y="14895"/>
                    <a:pt x="431887" y="21348"/>
                  </a:cubicBezTo>
                  <a:cubicBezTo>
                    <a:pt x="432339" y="22714"/>
                    <a:pt x="432720" y="24104"/>
                    <a:pt x="433023" y="25510"/>
                  </a:cubicBezTo>
                  <a:cubicBezTo>
                    <a:pt x="433371" y="27166"/>
                    <a:pt x="433614" y="28841"/>
                    <a:pt x="433760" y="30527"/>
                  </a:cubicBezTo>
                  <a:cubicBezTo>
                    <a:pt x="433938" y="32446"/>
                    <a:pt x="434072" y="34742"/>
                    <a:pt x="434161" y="37415"/>
                  </a:cubicBezTo>
                  <a:cubicBezTo>
                    <a:pt x="434251" y="40088"/>
                    <a:pt x="434295" y="43298"/>
                    <a:pt x="434295" y="47046"/>
                  </a:cubicBezTo>
                  <a:cubicBezTo>
                    <a:pt x="434295" y="50791"/>
                    <a:pt x="434251" y="54001"/>
                    <a:pt x="434161" y="56676"/>
                  </a:cubicBezTo>
                  <a:cubicBezTo>
                    <a:pt x="434072" y="59352"/>
                    <a:pt x="433938" y="61648"/>
                    <a:pt x="433760" y="63567"/>
                  </a:cubicBezTo>
                  <a:cubicBezTo>
                    <a:pt x="433614" y="65253"/>
                    <a:pt x="433371" y="66928"/>
                    <a:pt x="433023" y="68584"/>
                  </a:cubicBezTo>
                  <a:cubicBezTo>
                    <a:pt x="432720" y="69990"/>
                    <a:pt x="432339" y="71380"/>
                    <a:pt x="431887" y="72746"/>
                  </a:cubicBezTo>
                  <a:cubicBezTo>
                    <a:pt x="429997" y="79199"/>
                    <a:pt x="425963" y="84814"/>
                    <a:pt x="420449" y="88663"/>
                  </a:cubicBezTo>
                  <a:cubicBezTo>
                    <a:pt x="414605" y="92376"/>
                    <a:pt x="407775" y="94235"/>
                    <a:pt x="400855" y="93996"/>
                  </a:cubicBezTo>
                  <a:close/>
                  <a:moveTo>
                    <a:pt x="400855" y="82894"/>
                  </a:moveTo>
                  <a:cubicBezTo>
                    <a:pt x="405266" y="83088"/>
                    <a:pt x="409624" y="81870"/>
                    <a:pt x="413295" y="79416"/>
                  </a:cubicBezTo>
                  <a:cubicBezTo>
                    <a:pt x="416636" y="76911"/>
                    <a:pt x="419076" y="73391"/>
                    <a:pt x="420250" y="69384"/>
                  </a:cubicBezTo>
                  <a:cubicBezTo>
                    <a:pt x="420562" y="68398"/>
                    <a:pt x="420809" y="67392"/>
                    <a:pt x="420987" y="66373"/>
                  </a:cubicBezTo>
                  <a:cubicBezTo>
                    <a:pt x="421210" y="65168"/>
                    <a:pt x="421433" y="63674"/>
                    <a:pt x="421656" y="61893"/>
                  </a:cubicBezTo>
                  <a:cubicBezTo>
                    <a:pt x="421879" y="60112"/>
                    <a:pt x="422037" y="58016"/>
                    <a:pt x="422126" y="55606"/>
                  </a:cubicBezTo>
                  <a:cubicBezTo>
                    <a:pt x="422215" y="53199"/>
                    <a:pt x="422260" y="50345"/>
                    <a:pt x="422260" y="47046"/>
                  </a:cubicBezTo>
                  <a:cubicBezTo>
                    <a:pt x="422260" y="43746"/>
                    <a:pt x="422215" y="40892"/>
                    <a:pt x="422126" y="38485"/>
                  </a:cubicBezTo>
                  <a:cubicBezTo>
                    <a:pt x="422037" y="36077"/>
                    <a:pt x="421879" y="33981"/>
                    <a:pt x="421656" y="32198"/>
                  </a:cubicBezTo>
                  <a:cubicBezTo>
                    <a:pt x="421433" y="30415"/>
                    <a:pt x="421210" y="28921"/>
                    <a:pt x="420987" y="27718"/>
                  </a:cubicBezTo>
                  <a:cubicBezTo>
                    <a:pt x="420809" y="26699"/>
                    <a:pt x="420562" y="25693"/>
                    <a:pt x="420250" y="24707"/>
                  </a:cubicBezTo>
                  <a:cubicBezTo>
                    <a:pt x="419076" y="20699"/>
                    <a:pt x="416636" y="17180"/>
                    <a:pt x="413295" y="14675"/>
                  </a:cubicBezTo>
                  <a:cubicBezTo>
                    <a:pt x="409624" y="12221"/>
                    <a:pt x="405266" y="11003"/>
                    <a:pt x="400855" y="11197"/>
                  </a:cubicBezTo>
                  <a:cubicBezTo>
                    <a:pt x="396464" y="10996"/>
                    <a:pt x="392125" y="12215"/>
                    <a:pt x="388480" y="14675"/>
                  </a:cubicBezTo>
                  <a:cubicBezTo>
                    <a:pt x="385172" y="17198"/>
                    <a:pt x="382758" y="20714"/>
                    <a:pt x="381593" y="24707"/>
                  </a:cubicBezTo>
                  <a:cubicBezTo>
                    <a:pt x="381281" y="25693"/>
                    <a:pt x="381034" y="26699"/>
                    <a:pt x="380859" y="27718"/>
                  </a:cubicBezTo>
                  <a:cubicBezTo>
                    <a:pt x="380636" y="28921"/>
                    <a:pt x="380413" y="30415"/>
                    <a:pt x="380190" y="32198"/>
                  </a:cubicBezTo>
                  <a:cubicBezTo>
                    <a:pt x="379967" y="33981"/>
                    <a:pt x="379810" y="36077"/>
                    <a:pt x="379720" y="38485"/>
                  </a:cubicBezTo>
                  <a:cubicBezTo>
                    <a:pt x="379631" y="40892"/>
                    <a:pt x="379587" y="43746"/>
                    <a:pt x="379587" y="47046"/>
                  </a:cubicBezTo>
                  <a:cubicBezTo>
                    <a:pt x="379587" y="50345"/>
                    <a:pt x="379631" y="53199"/>
                    <a:pt x="379720" y="55606"/>
                  </a:cubicBezTo>
                  <a:cubicBezTo>
                    <a:pt x="379810" y="58014"/>
                    <a:pt x="379967" y="60110"/>
                    <a:pt x="380190" y="61893"/>
                  </a:cubicBezTo>
                  <a:cubicBezTo>
                    <a:pt x="380413" y="63677"/>
                    <a:pt x="380636" y="65170"/>
                    <a:pt x="380859" y="66373"/>
                  </a:cubicBezTo>
                  <a:cubicBezTo>
                    <a:pt x="381034" y="67392"/>
                    <a:pt x="381281" y="68398"/>
                    <a:pt x="381593" y="69384"/>
                  </a:cubicBezTo>
                  <a:cubicBezTo>
                    <a:pt x="382758" y="73377"/>
                    <a:pt x="385172" y="76893"/>
                    <a:pt x="388480" y="79416"/>
                  </a:cubicBezTo>
                  <a:cubicBezTo>
                    <a:pt x="392125" y="81876"/>
                    <a:pt x="396464" y="83095"/>
                    <a:pt x="400855" y="82894"/>
                  </a:cubicBezTo>
                  <a:close/>
                  <a:moveTo>
                    <a:pt x="453557" y="2904"/>
                  </a:moveTo>
                  <a:cubicBezTo>
                    <a:pt x="453468" y="2253"/>
                    <a:pt x="453925" y="1655"/>
                    <a:pt x="454576" y="1567"/>
                  </a:cubicBezTo>
                  <a:cubicBezTo>
                    <a:pt x="454680" y="1552"/>
                    <a:pt x="454787" y="1552"/>
                    <a:pt x="454894" y="1567"/>
                  </a:cubicBezTo>
                  <a:lnTo>
                    <a:pt x="463455" y="1567"/>
                  </a:lnTo>
                  <a:cubicBezTo>
                    <a:pt x="464415" y="1502"/>
                    <a:pt x="465319" y="2033"/>
                    <a:pt x="465729" y="2904"/>
                  </a:cubicBezTo>
                  <a:lnTo>
                    <a:pt x="506928" y="71123"/>
                  </a:lnTo>
                  <a:lnTo>
                    <a:pt x="507463" y="71123"/>
                  </a:lnTo>
                  <a:lnTo>
                    <a:pt x="507463" y="2904"/>
                  </a:lnTo>
                  <a:cubicBezTo>
                    <a:pt x="507373" y="2253"/>
                    <a:pt x="507831" y="1655"/>
                    <a:pt x="508482" y="1567"/>
                  </a:cubicBezTo>
                  <a:cubicBezTo>
                    <a:pt x="508586" y="1552"/>
                    <a:pt x="508693" y="1552"/>
                    <a:pt x="508800" y="1567"/>
                  </a:cubicBezTo>
                  <a:lnTo>
                    <a:pt x="517227" y="1567"/>
                  </a:lnTo>
                  <a:cubicBezTo>
                    <a:pt x="517878" y="1479"/>
                    <a:pt x="518476" y="1935"/>
                    <a:pt x="518565" y="2586"/>
                  </a:cubicBezTo>
                  <a:cubicBezTo>
                    <a:pt x="518580" y="2691"/>
                    <a:pt x="518580" y="2798"/>
                    <a:pt x="518565" y="2904"/>
                  </a:cubicBezTo>
                  <a:lnTo>
                    <a:pt x="518565" y="91187"/>
                  </a:lnTo>
                  <a:cubicBezTo>
                    <a:pt x="518654" y="91837"/>
                    <a:pt x="518196" y="92436"/>
                    <a:pt x="517545" y="92524"/>
                  </a:cubicBezTo>
                  <a:cubicBezTo>
                    <a:pt x="517441" y="92539"/>
                    <a:pt x="517334" y="92539"/>
                    <a:pt x="517227" y="92524"/>
                  </a:cubicBezTo>
                  <a:lnTo>
                    <a:pt x="508667" y="92524"/>
                  </a:lnTo>
                  <a:cubicBezTo>
                    <a:pt x="507706" y="92589"/>
                    <a:pt x="506803" y="92058"/>
                    <a:pt x="506393" y="91187"/>
                  </a:cubicBezTo>
                  <a:lnTo>
                    <a:pt x="465060" y="23236"/>
                  </a:lnTo>
                  <a:lnTo>
                    <a:pt x="464659" y="23236"/>
                  </a:lnTo>
                  <a:lnTo>
                    <a:pt x="464659" y="91187"/>
                  </a:lnTo>
                  <a:cubicBezTo>
                    <a:pt x="464748" y="91837"/>
                    <a:pt x="464290" y="92436"/>
                    <a:pt x="463639" y="92524"/>
                  </a:cubicBezTo>
                  <a:cubicBezTo>
                    <a:pt x="463535" y="92539"/>
                    <a:pt x="463428" y="92539"/>
                    <a:pt x="463321" y="92524"/>
                  </a:cubicBezTo>
                  <a:lnTo>
                    <a:pt x="454894" y="92524"/>
                  </a:lnTo>
                  <a:cubicBezTo>
                    <a:pt x="454243" y="92612"/>
                    <a:pt x="453646" y="92156"/>
                    <a:pt x="453557" y="91505"/>
                  </a:cubicBezTo>
                  <a:cubicBezTo>
                    <a:pt x="453542" y="91400"/>
                    <a:pt x="453542" y="91293"/>
                    <a:pt x="453557" y="91187"/>
                  </a:cubicBezTo>
                  <a:close/>
                  <a:moveTo>
                    <a:pt x="539164" y="79683"/>
                  </a:moveTo>
                  <a:cubicBezTo>
                    <a:pt x="539075" y="79033"/>
                    <a:pt x="539533" y="78434"/>
                    <a:pt x="540184" y="78346"/>
                  </a:cubicBezTo>
                  <a:cubicBezTo>
                    <a:pt x="540288" y="78331"/>
                    <a:pt x="540395" y="78331"/>
                    <a:pt x="540502" y="78346"/>
                  </a:cubicBezTo>
                  <a:lnTo>
                    <a:pt x="550668" y="78346"/>
                  </a:lnTo>
                  <a:cubicBezTo>
                    <a:pt x="551319" y="78258"/>
                    <a:pt x="551916" y="78714"/>
                    <a:pt x="552005" y="79365"/>
                  </a:cubicBezTo>
                  <a:cubicBezTo>
                    <a:pt x="552020" y="79470"/>
                    <a:pt x="552020" y="79577"/>
                    <a:pt x="552005" y="79683"/>
                  </a:cubicBezTo>
                  <a:lnTo>
                    <a:pt x="552005" y="91187"/>
                  </a:lnTo>
                  <a:cubicBezTo>
                    <a:pt x="552094" y="91837"/>
                    <a:pt x="551637" y="92436"/>
                    <a:pt x="550986" y="92524"/>
                  </a:cubicBezTo>
                  <a:cubicBezTo>
                    <a:pt x="550882" y="92539"/>
                    <a:pt x="550775" y="92539"/>
                    <a:pt x="550668" y="92524"/>
                  </a:cubicBezTo>
                  <a:lnTo>
                    <a:pt x="540502" y="92524"/>
                  </a:lnTo>
                  <a:cubicBezTo>
                    <a:pt x="539851" y="92612"/>
                    <a:pt x="539253" y="92156"/>
                    <a:pt x="539164" y="91505"/>
                  </a:cubicBezTo>
                  <a:cubicBezTo>
                    <a:pt x="539149" y="91400"/>
                    <a:pt x="539149" y="91293"/>
                    <a:pt x="539164" y="91187"/>
                  </a:cubicBezTo>
                  <a:close/>
                  <a:moveTo>
                    <a:pt x="601883" y="2904"/>
                  </a:moveTo>
                  <a:cubicBezTo>
                    <a:pt x="601794" y="2253"/>
                    <a:pt x="602252" y="1655"/>
                    <a:pt x="602903" y="1567"/>
                  </a:cubicBezTo>
                  <a:cubicBezTo>
                    <a:pt x="603007" y="1552"/>
                    <a:pt x="603114" y="1552"/>
                    <a:pt x="603221" y="1567"/>
                  </a:cubicBezTo>
                  <a:lnTo>
                    <a:pt x="612465" y="1567"/>
                  </a:lnTo>
                  <a:cubicBezTo>
                    <a:pt x="613116" y="1479"/>
                    <a:pt x="613714" y="1935"/>
                    <a:pt x="613803" y="2586"/>
                  </a:cubicBezTo>
                  <a:cubicBezTo>
                    <a:pt x="613818" y="2691"/>
                    <a:pt x="613818" y="2798"/>
                    <a:pt x="613803" y="2904"/>
                  </a:cubicBezTo>
                  <a:lnTo>
                    <a:pt x="613803" y="80620"/>
                  </a:lnTo>
                  <a:cubicBezTo>
                    <a:pt x="613750" y="81008"/>
                    <a:pt x="614020" y="81368"/>
                    <a:pt x="614406" y="81422"/>
                  </a:cubicBezTo>
                  <a:cubicBezTo>
                    <a:pt x="614472" y="81431"/>
                    <a:pt x="614540" y="81431"/>
                    <a:pt x="614606" y="81422"/>
                  </a:cubicBezTo>
                  <a:lnTo>
                    <a:pt x="657944" y="81422"/>
                  </a:lnTo>
                  <a:cubicBezTo>
                    <a:pt x="658595" y="81334"/>
                    <a:pt x="659193" y="81791"/>
                    <a:pt x="659282" y="82441"/>
                  </a:cubicBezTo>
                  <a:cubicBezTo>
                    <a:pt x="659297" y="82547"/>
                    <a:pt x="659297" y="82654"/>
                    <a:pt x="659282" y="82760"/>
                  </a:cubicBezTo>
                  <a:lnTo>
                    <a:pt x="659282" y="91187"/>
                  </a:lnTo>
                  <a:cubicBezTo>
                    <a:pt x="659371" y="91837"/>
                    <a:pt x="658913" y="92436"/>
                    <a:pt x="658262" y="92524"/>
                  </a:cubicBezTo>
                  <a:cubicBezTo>
                    <a:pt x="658158" y="92539"/>
                    <a:pt x="658051" y="92539"/>
                    <a:pt x="657944" y="92524"/>
                  </a:cubicBezTo>
                  <a:lnTo>
                    <a:pt x="603251" y="92524"/>
                  </a:lnTo>
                  <a:cubicBezTo>
                    <a:pt x="602600" y="92612"/>
                    <a:pt x="602002" y="92156"/>
                    <a:pt x="601913" y="91505"/>
                  </a:cubicBezTo>
                  <a:cubicBezTo>
                    <a:pt x="601898" y="91400"/>
                    <a:pt x="601898" y="91293"/>
                    <a:pt x="601913" y="91187"/>
                  </a:cubicBezTo>
                  <a:close/>
                  <a:moveTo>
                    <a:pt x="703958" y="93996"/>
                  </a:moveTo>
                  <a:cubicBezTo>
                    <a:pt x="697080" y="94218"/>
                    <a:pt x="690294" y="92353"/>
                    <a:pt x="684495" y="88645"/>
                  </a:cubicBezTo>
                  <a:cubicBezTo>
                    <a:pt x="678981" y="84796"/>
                    <a:pt x="674947" y="79181"/>
                    <a:pt x="673056" y="72728"/>
                  </a:cubicBezTo>
                  <a:cubicBezTo>
                    <a:pt x="672605" y="71362"/>
                    <a:pt x="672224" y="69973"/>
                    <a:pt x="671921" y="68566"/>
                  </a:cubicBezTo>
                  <a:cubicBezTo>
                    <a:pt x="671576" y="66911"/>
                    <a:pt x="671329" y="65236"/>
                    <a:pt x="671187" y="63552"/>
                  </a:cubicBezTo>
                  <a:cubicBezTo>
                    <a:pt x="671008" y="61635"/>
                    <a:pt x="670875" y="59339"/>
                    <a:pt x="670785" y="56661"/>
                  </a:cubicBezTo>
                  <a:cubicBezTo>
                    <a:pt x="670696" y="53984"/>
                    <a:pt x="670652" y="50774"/>
                    <a:pt x="670652" y="47031"/>
                  </a:cubicBezTo>
                  <a:cubicBezTo>
                    <a:pt x="670652" y="43285"/>
                    <a:pt x="670696" y="40075"/>
                    <a:pt x="670785" y="37400"/>
                  </a:cubicBezTo>
                  <a:cubicBezTo>
                    <a:pt x="670875" y="34725"/>
                    <a:pt x="671008" y="32429"/>
                    <a:pt x="671187" y="30513"/>
                  </a:cubicBezTo>
                  <a:cubicBezTo>
                    <a:pt x="671329" y="28832"/>
                    <a:pt x="671573" y="27161"/>
                    <a:pt x="671915" y="25510"/>
                  </a:cubicBezTo>
                  <a:cubicBezTo>
                    <a:pt x="672218" y="24104"/>
                    <a:pt x="672599" y="22714"/>
                    <a:pt x="673051" y="21348"/>
                  </a:cubicBezTo>
                  <a:cubicBezTo>
                    <a:pt x="674941" y="14894"/>
                    <a:pt x="678978" y="9279"/>
                    <a:pt x="684495" y="5431"/>
                  </a:cubicBezTo>
                  <a:cubicBezTo>
                    <a:pt x="696536" y="-1703"/>
                    <a:pt x="711511" y="-1703"/>
                    <a:pt x="723553" y="5431"/>
                  </a:cubicBezTo>
                  <a:cubicBezTo>
                    <a:pt x="729067" y="9280"/>
                    <a:pt x="733100" y="14895"/>
                    <a:pt x="734991" y="21348"/>
                  </a:cubicBezTo>
                  <a:cubicBezTo>
                    <a:pt x="735443" y="22714"/>
                    <a:pt x="735823" y="24104"/>
                    <a:pt x="736126" y="25510"/>
                  </a:cubicBezTo>
                  <a:cubicBezTo>
                    <a:pt x="736474" y="27166"/>
                    <a:pt x="736718" y="28841"/>
                    <a:pt x="736864" y="30527"/>
                  </a:cubicBezTo>
                  <a:cubicBezTo>
                    <a:pt x="737042" y="32446"/>
                    <a:pt x="737176" y="34742"/>
                    <a:pt x="737265" y="37415"/>
                  </a:cubicBezTo>
                  <a:cubicBezTo>
                    <a:pt x="737354" y="40088"/>
                    <a:pt x="737399" y="43298"/>
                    <a:pt x="737399" y="47046"/>
                  </a:cubicBezTo>
                  <a:cubicBezTo>
                    <a:pt x="737399" y="50791"/>
                    <a:pt x="737354" y="54001"/>
                    <a:pt x="737265" y="56676"/>
                  </a:cubicBezTo>
                  <a:cubicBezTo>
                    <a:pt x="737176" y="59352"/>
                    <a:pt x="737042" y="61648"/>
                    <a:pt x="736864" y="63567"/>
                  </a:cubicBezTo>
                  <a:cubicBezTo>
                    <a:pt x="736718" y="65253"/>
                    <a:pt x="736474" y="66928"/>
                    <a:pt x="736126" y="68584"/>
                  </a:cubicBezTo>
                  <a:cubicBezTo>
                    <a:pt x="735823" y="69990"/>
                    <a:pt x="735443" y="71380"/>
                    <a:pt x="734991" y="72746"/>
                  </a:cubicBezTo>
                  <a:cubicBezTo>
                    <a:pt x="733100" y="79199"/>
                    <a:pt x="729067" y="84814"/>
                    <a:pt x="723553" y="88663"/>
                  </a:cubicBezTo>
                  <a:cubicBezTo>
                    <a:pt x="717709" y="92376"/>
                    <a:pt x="710878" y="94235"/>
                    <a:pt x="703958" y="93996"/>
                  </a:cubicBezTo>
                  <a:close/>
                  <a:moveTo>
                    <a:pt x="703958" y="82894"/>
                  </a:moveTo>
                  <a:cubicBezTo>
                    <a:pt x="708369" y="83088"/>
                    <a:pt x="712727" y="81870"/>
                    <a:pt x="716398" y="79416"/>
                  </a:cubicBezTo>
                  <a:cubicBezTo>
                    <a:pt x="719739" y="76911"/>
                    <a:pt x="722180" y="73391"/>
                    <a:pt x="723354" y="69384"/>
                  </a:cubicBezTo>
                  <a:cubicBezTo>
                    <a:pt x="723666" y="68398"/>
                    <a:pt x="723913" y="67392"/>
                    <a:pt x="724091" y="66373"/>
                  </a:cubicBezTo>
                  <a:cubicBezTo>
                    <a:pt x="724314" y="65168"/>
                    <a:pt x="724537" y="63674"/>
                    <a:pt x="724760" y="61893"/>
                  </a:cubicBezTo>
                  <a:cubicBezTo>
                    <a:pt x="724983" y="60112"/>
                    <a:pt x="725140" y="58016"/>
                    <a:pt x="725229" y="55606"/>
                  </a:cubicBezTo>
                  <a:cubicBezTo>
                    <a:pt x="725319" y="53199"/>
                    <a:pt x="725363" y="50345"/>
                    <a:pt x="725363" y="47046"/>
                  </a:cubicBezTo>
                  <a:cubicBezTo>
                    <a:pt x="725363" y="43746"/>
                    <a:pt x="725319" y="40892"/>
                    <a:pt x="725229" y="38485"/>
                  </a:cubicBezTo>
                  <a:cubicBezTo>
                    <a:pt x="725140" y="36077"/>
                    <a:pt x="724983" y="33981"/>
                    <a:pt x="724760" y="32198"/>
                  </a:cubicBezTo>
                  <a:cubicBezTo>
                    <a:pt x="724537" y="30415"/>
                    <a:pt x="724314" y="28921"/>
                    <a:pt x="724091" y="27718"/>
                  </a:cubicBezTo>
                  <a:cubicBezTo>
                    <a:pt x="723913" y="26699"/>
                    <a:pt x="723666" y="25693"/>
                    <a:pt x="723354" y="24707"/>
                  </a:cubicBezTo>
                  <a:cubicBezTo>
                    <a:pt x="722180" y="20699"/>
                    <a:pt x="719739" y="17180"/>
                    <a:pt x="716398" y="14675"/>
                  </a:cubicBezTo>
                  <a:cubicBezTo>
                    <a:pt x="712727" y="12221"/>
                    <a:pt x="708369" y="11003"/>
                    <a:pt x="703958" y="11197"/>
                  </a:cubicBezTo>
                  <a:cubicBezTo>
                    <a:pt x="699568" y="10996"/>
                    <a:pt x="695228" y="12215"/>
                    <a:pt x="691584" y="14675"/>
                  </a:cubicBezTo>
                  <a:cubicBezTo>
                    <a:pt x="688276" y="17198"/>
                    <a:pt x="685862" y="20714"/>
                    <a:pt x="684697" y="24707"/>
                  </a:cubicBezTo>
                  <a:cubicBezTo>
                    <a:pt x="684385" y="25693"/>
                    <a:pt x="684138" y="26699"/>
                    <a:pt x="683962" y="27718"/>
                  </a:cubicBezTo>
                  <a:cubicBezTo>
                    <a:pt x="683740" y="28921"/>
                    <a:pt x="683517" y="30415"/>
                    <a:pt x="683294" y="32198"/>
                  </a:cubicBezTo>
                  <a:cubicBezTo>
                    <a:pt x="683071" y="33981"/>
                    <a:pt x="682913" y="36077"/>
                    <a:pt x="682824" y="38485"/>
                  </a:cubicBezTo>
                  <a:cubicBezTo>
                    <a:pt x="682735" y="40892"/>
                    <a:pt x="682690" y="43746"/>
                    <a:pt x="682690" y="47046"/>
                  </a:cubicBezTo>
                  <a:cubicBezTo>
                    <a:pt x="682690" y="50345"/>
                    <a:pt x="682735" y="53199"/>
                    <a:pt x="682824" y="55606"/>
                  </a:cubicBezTo>
                  <a:cubicBezTo>
                    <a:pt x="682913" y="58014"/>
                    <a:pt x="683071" y="60110"/>
                    <a:pt x="683294" y="61893"/>
                  </a:cubicBezTo>
                  <a:cubicBezTo>
                    <a:pt x="683517" y="63677"/>
                    <a:pt x="683740" y="65170"/>
                    <a:pt x="683962" y="66373"/>
                  </a:cubicBezTo>
                  <a:cubicBezTo>
                    <a:pt x="684138" y="67392"/>
                    <a:pt x="684385" y="68398"/>
                    <a:pt x="684697" y="69384"/>
                  </a:cubicBezTo>
                  <a:cubicBezTo>
                    <a:pt x="685862" y="73377"/>
                    <a:pt x="688276" y="76893"/>
                    <a:pt x="691584" y="79416"/>
                  </a:cubicBezTo>
                  <a:cubicBezTo>
                    <a:pt x="695228" y="81876"/>
                    <a:pt x="699568" y="83095"/>
                    <a:pt x="703958" y="82894"/>
                  </a:cubicBezTo>
                  <a:close/>
                  <a:moveTo>
                    <a:pt x="755858" y="72728"/>
                  </a:moveTo>
                  <a:cubicBezTo>
                    <a:pt x="755406" y="71367"/>
                    <a:pt x="755049" y="69976"/>
                    <a:pt x="754788" y="68566"/>
                  </a:cubicBezTo>
                  <a:cubicBezTo>
                    <a:pt x="754520" y="67139"/>
                    <a:pt x="754276" y="65468"/>
                    <a:pt x="754053" y="63552"/>
                  </a:cubicBezTo>
                  <a:cubicBezTo>
                    <a:pt x="753831" y="61635"/>
                    <a:pt x="753676" y="59339"/>
                    <a:pt x="753584" y="56661"/>
                  </a:cubicBezTo>
                  <a:cubicBezTo>
                    <a:pt x="753495" y="53986"/>
                    <a:pt x="753450" y="50776"/>
                    <a:pt x="753450" y="47031"/>
                  </a:cubicBezTo>
                  <a:cubicBezTo>
                    <a:pt x="753450" y="43285"/>
                    <a:pt x="753495" y="40075"/>
                    <a:pt x="753584" y="37400"/>
                  </a:cubicBezTo>
                  <a:cubicBezTo>
                    <a:pt x="753673" y="34725"/>
                    <a:pt x="753831" y="32429"/>
                    <a:pt x="754053" y="30513"/>
                  </a:cubicBezTo>
                  <a:cubicBezTo>
                    <a:pt x="754276" y="28596"/>
                    <a:pt x="754523" y="26925"/>
                    <a:pt x="754788" y="25498"/>
                  </a:cubicBezTo>
                  <a:cubicBezTo>
                    <a:pt x="755049" y="24088"/>
                    <a:pt x="755406" y="22698"/>
                    <a:pt x="755858" y="21337"/>
                  </a:cubicBezTo>
                  <a:cubicBezTo>
                    <a:pt x="757757" y="14874"/>
                    <a:pt x="761818" y="9259"/>
                    <a:pt x="767361" y="5431"/>
                  </a:cubicBezTo>
                  <a:cubicBezTo>
                    <a:pt x="773232" y="1717"/>
                    <a:pt x="780081" y="-147"/>
                    <a:pt x="787024" y="80"/>
                  </a:cubicBezTo>
                  <a:cubicBezTo>
                    <a:pt x="790683" y="33"/>
                    <a:pt x="794331" y="505"/>
                    <a:pt x="797859" y="1483"/>
                  </a:cubicBezTo>
                  <a:cubicBezTo>
                    <a:pt x="800891" y="2339"/>
                    <a:pt x="803777" y="3646"/>
                    <a:pt x="806420" y="5362"/>
                  </a:cubicBezTo>
                  <a:cubicBezTo>
                    <a:pt x="808839" y="6943"/>
                    <a:pt x="811003" y="8882"/>
                    <a:pt x="812840" y="11114"/>
                  </a:cubicBezTo>
                  <a:cubicBezTo>
                    <a:pt x="814600" y="13260"/>
                    <a:pt x="816083" y="15619"/>
                    <a:pt x="817254" y="18135"/>
                  </a:cubicBezTo>
                  <a:cubicBezTo>
                    <a:pt x="817682" y="18669"/>
                    <a:pt x="817593" y="19447"/>
                    <a:pt x="817061" y="19873"/>
                  </a:cubicBezTo>
                  <a:cubicBezTo>
                    <a:pt x="816996" y="19925"/>
                    <a:pt x="816927" y="19970"/>
                    <a:pt x="816853" y="20008"/>
                  </a:cubicBezTo>
                  <a:lnTo>
                    <a:pt x="808827" y="23872"/>
                  </a:lnTo>
                  <a:cubicBezTo>
                    <a:pt x="808034" y="24318"/>
                    <a:pt x="807409" y="24095"/>
                    <a:pt x="806955" y="23203"/>
                  </a:cubicBezTo>
                  <a:cubicBezTo>
                    <a:pt x="805109" y="19530"/>
                    <a:pt x="802344" y="16396"/>
                    <a:pt x="798929" y="14107"/>
                  </a:cubicBezTo>
                  <a:cubicBezTo>
                    <a:pt x="795323" y="12022"/>
                    <a:pt x="791201" y="11001"/>
                    <a:pt x="787039" y="11165"/>
                  </a:cubicBezTo>
                  <a:cubicBezTo>
                    <a:pt x="782566" y="10966"/>
                    <a:pt x="778139" y="12183"/>
                    <a:pt x="774397" y="14643"/>
                  </a:cubicBezTo>
                  <a:cubicBezTo>
                    <a:pt x="771020" y="17129"/>
                    <a:pt x="768553" y="20653"/>
                    <a:pt x="767373" y="24675"/>
                  </a:cubicBezTo>
                  <a:cubicBezTo>
                    <a:pt x="767106" y="25477"/>
                    <a:pt x="766838" y="26458"/>
                    <a:pt x="766571" y="27617"/>
                  </a:cubicBezTo>
                  <a:cubicBezTo>
                    <a:pt x="766270" y="29028"/>
                    <a:pt x="766071" y="30458"/>
                    <a:pt x="765976" y="31898"/>
                  </a:cubicBezTo>
                  <a:cubicBezTo>
                    <a:pt x="765842" y="33592"/>
                    <a:pt x="765732" y="35665"/>
                    <a:pt x="765643" y="38116"/>
                  </a:cubicBezTo>
                  <a:cubicBezTo>
                    <a:pt x="765554" y="40568"/>
                    <a:pt x="765503" y="43544"/>
                    <a:pt x="765489" y="47046"/>
                  </a:cubicBezTo>
                  <a:cubicBezTo>
                    <a:pt x="765489" y="50523"/>
                    <a:pt x="765533" y="53489"/>
                    <a:pt x="765622" y="55942"/>
                  </a:cubicBezTo>
                  <a:cubicBezTo>
                    <a:pt x="765712" y="58395"/>
                    <a:pt x="765822" y="60468"/>
                    <a:pt x="765955" y="62161"/>
                  </a:cubicBezTo>
                  <a:cubicBezTo>
                    <a:pt x="766050" y="63600"/>
                    <a:pt x="766250" y="65030"/>
                    <a:pt x="766550" y="66441"/>
                  </a:cubicBezTo>
                  <a:cubicBezTo>
                    <a:pt x="766817" y="67600"/>
                    <a:pt x="767085" y="68581"/>
                    <a:pt x="767352" y="69384"/>
                  </a:cubicBezTo>
                  <a:cubicBezTo>
                    <a:pt x="768532" y="73406"/>
                    <a:pt x="771003" y="76930"/>
                    <a:pt x="774376" y="79416"/>
                  </a:cubicBezTo>
                  <a:cubicBezTo>
                    <a:pt x="778119" y="81876"/>
                    <a:pt x="782545" y="83093"/>
                    <a:pt x="787018" y="82894"/>
                  </a:cubicBezTo>
                  <a:cubicBezTo>
                    <a:pt x="791319" y="82991"/>
                    <a:pt x="795555" y="81829"/>
                    <a:pt x="799205" y="79550"/>
                  </a:cubicBezTo>
                  <a:cubicBezTo>
                    <a:pt x="802728" y="77261"/>
                    <a:pt x="805335" y="73803"/>
                    <a:pt x="806562" y="69785"/>
                  </a:cubicBezTo>
                  <a:cubicBezTo>
                    <a:pt x="807082" y="67895"/>
                    <a:pt x="807481" y="65974"/>
                    <a:pt x="807751" y="64033"/>
                  </a:cubicBezTo>
                  <a:cubicBezTo>
                    <a:pt x="808141" y="61197"/>
                    <a:pt x="808322" y="58335"/>
                    <a:pt x="808286" y="55472"/>
                  </a:cubicBezTo>
                  <a:cubicBezTo>
                    <a:pt x="808340" y="55084"/>
                    <a:pt x="808069" y="54725"/>
                    <a:pt x="807683" y="54670"/>
                  </a:cubicBezTo>
                  <a:cubicBezTo>
                    <a:pt x="807618" y="54661"/>
                    <a:pt x="807549" y="54661"/>
                    <a:pt x="807484" y="54670"/>
                  </a:cubicBezTo>
                  <a:lnTo>
                    <a:pt x="789827" y="54670"/>
                  </a:lnTo>
                  <a:cubicBezTo>
                    <a:pt x="789176" y="54758"/>
                    <a:pt x="788579" y="54302"/>
                    <a:pt x="788490" y="53651"/>
                  </a:cubicBezTo>
                  <a:cubicBezTo>
                    <a:pt x="788475" y="53545"/>
                    <a:pt x="788475" y="53438"/>
                    <a:pt x="788490" y="53332"/>
                  </a:cubicBezTo>
                  <a:lnTo>
                    <a:pt x="788490" y="45559"/>
                  </a:lnTo>
                  <a:cubicBezTo>
                    <a:pt x="788400" y="44909"/>
                    <a:pt x="788858" y="44310"/>
                    <a:pt x="789509" y="44222"/>
                  </a:cubicBezTo>
                  <a:cubicBezTo>
                    <a:pt x="789613" y="44207"/>
                    <a:pt x="789720" y="44207"/>
                    <a:pt x="789827" y="44222"/>
                  </a:cubicBezTo>
                  <a:lnTo>
                    <a:pt x="818854" y="44222"/>
                  </a:lnTo>
                  <a:cubicBezTo>
                    <a:pt x="819504" y="44134"/>
                    <a:pt x="820102" y="44590"/>
                    <a:pt x="820191" y="45241"/>
                  </a:cubicBezTo>
                  <a:cubicBezTo>
                    <a:pt x="820206" y="45346"/>
                    <a:pt x="820206" y="45453"/>
                    <a:pt x="820191" y="45559"/>
                  </a:cubicBezTo>
                  <a:lnTo>
                    <a:pt x="820191" y="52396"/>
                  </a:lnTo>
                  <a:cubicBezTo>
                    <a:pt x="820209" y="56216"/>
                    <a:pt x="820010" y="60034"/>
                    <a:pt x="819597" y="63831"/>
                  </a:cubicBezTo>
                  <a:cubicBezTo>
                    <a:pt x="819314" y="66751"/>
                    <a:pt x="818755" y="69638"/>
                    <a:pt x="817926" y="72451"/>
                  </a:cubicBezTo>
                  <a:cubicBezTo>
                    <a:pt x="816042" y="78925"/>
                    <a:pt x="812008" y="84563"/>
                    <a:pt x="806488" y="88434"/>
                  </a:cubicBezTo>
                  <a:cubicBezTo>
                    <a:pt x="800727" y="92243"/>
                    <a:pt x="793932" y="94182"/>
                    <a:pt x="787027" y="93987"/>
                  </a:cubicBezTo>
                  <a:cubicBezTo>
                    <a:pt x="780084" y="94214"/>
                    <a:pt x="773235" y="92350"/>
                    <a:pt x="767364" y="88636"/>
                  </a:cubicBezTo>
                  <a:cubicBezTo>
                    <a:pt x="761821" y="84808"/>
                    <a:pt x="757757" y="79192"/>
                    <a:pt x="755858" y="72728"/>
                  </a:cubicBezTo>
                  <a:close/>
                  <a:moveTo>
                    <a:pt x="839459" y="2904"/>
                  </a:moveTo>
                  <a:cubicBezTo>
                    <a:pt x="839370" y="2253"/>
                    <a:pt x="839827" y="1655"/>
                    <a:pt x="840478" y="1567"/>
                  </a:cubicBezTo>
                  <a:cubicBezTo>
                    <a:pt x="840582" y="1552"/>
                    <a:pt x="840689" y="1552"/>
                    <a:pt x="840796" y="1567"/>
                  </a:cubicBezTo>
                  <a:lnTo>
                    <a:pt x="850011" y="1567"/>
                  </a:lnTo>
                  <a:cubicBezTo>
                    <a:pt x="850662" y="1479"/>
                    <a:pt x="851259" y="1935"/>
                    <a:pt x="851349" y="2586"/>
                  </a:cubicBezTo>
                  <a:cubicBezTo>
                    <a:pt x="851363" y="2691"/>
                    <a:pt x="851363" y="2798"/>
                    <a:pt x="851349" y="2904"/>
                  </a:cubicBezTo>
                  <a:lnTo>
                    <a:pt x="851349" y="91187"/>
                  </a:lnTo>
                  <a:cubicBezTo>
                    <a:pt x="851438" y="91837"/>
                    <a:pt x="850980" y="92436"/>
                    <a:pt x="850329" y="92524"/>
                  </a:cubicBezTo>
                  <a:cubicBezTo>
                    <a:pt x="850225" y="92539"/>
                    <a:pt x="850118" y="92539"/>
                    <a:pt x="850011" y="92524"/>
                  </a:cubicBezTo>
                  <a:lnTo>
                    <a:pt x="840796" y="92524"/>
                  </a:lnTo>
                  <a:cubicBezTo>
                    <a:pt x="840145" y="92612"/>
                    <a:pt x="839548" y="92156"/>
                    <a:pt x="839459" y="91505"/>
                  </a:cubicBezTo>
                  <a:cubicBezTo>
                    <a:pt x="839444" y="91400"/>
                    <a:pt x="839444" y="91293"/>
                    <a:pt x="839459" y="91187"/>
                  </a:cubicBezTo>
                  <a:close/>
                  <a:moveTo>
                    <a:pt x="901390" y="93996"/>
                  </a:moveTo>
                  <a:cubicBezTo>
                    <a:pt x="898201" y="93998"/>
                    <a:pt x="895020" y="93684"/>
                    <a:pt x="891893" y="93059"/>
                  </a:cubicBezTo>
                  <a:cubicBezTo>
                    <a:pt x="888891" y="92468"/>
                    <a:pt x="885939" y="91640"/>
                    <a:pt x="883065" y="90583"/>
                  </a:cubicBezTo>
                  <a:cubicBezTo>
                    <a:pt x="880419" y="89614"/>
                    <a:pt x="877866" y="88405"/>
                    <a:pt x="875441" y="86972"/>
                  </a:cubicBezTo>
                  <a:cubicBezTo>
                    <a:pt x="873300" y="85719"/>
                    <a:pt x="871285" y="84264"/>
                    <a:pt x="869421" y="82626"/>
                  </a:cubicBezTo>
                  <a:cubicBezTo>
                    <a:pt x="868833" y="82145"/>
                    <a:pt x="868747" y="81278"/>
                    <a:pt x="869225" y="80689"/>
                  </a:cubicBezTo>
                  <a:cubicBezTo>
                    <a:pt x="869246" y="80665"/>
                    <a:pt x="869267" y="80642"/>
                    <a:pt x="869288" y="80620"/>
                  </a:cubicBezTo>
                  <a:lnTo>
                    <a:pt x="875173" y="73664"/>
                  </a:lnTo>
                  <a:cubicBezTo>
                    <a:pt x="875568" y="73116"/>
                    <a:pt x="876335" y="72993"/>
                    <a:pt x="876882" y="73389"/>
                  </a:cubicBezTo>
                  <a:cubicBezTo>
                    <a:pt x="876942" y="73431"/>
                    <a:pt x="876995" y="73479"/>
                    <a:pt x="877046" y="73530"/>
                  </a:cubicBezTo>
                  <a:cubicBezTo>
                    <a:pt x="880428" y="76108"/>
                    <a:pt x="884111" y="78264"/>
                    <a:pt x="888014" y="79951"/>
                  </a:cubicBezTo>
                  <a:cubicBezTo>
                    <a:pt x="892565" y="81950"/>
                    <a:pt x="897490" y="82953"/>
                    <a:pt x="902460" y="82894"/>
                  </a:cubicBezTo>
                  <a:cubicBezTo>
                    <a:pt x="907734" y="83216"/>
                    <a:pt x="912956" y="81703"/>
                    <a:pt x="917242" y="78613"/>
                  </a:cubicBezTo>
                  <a:cubicBezTo>
                    <a:pt x="920688" y="75920"/>
                    <a:pt x="922649" y="71749"/>
                    <a:pt x="922525" y="67377"/>
                  </a:cubicBezTo>
                  <a:cubicBezTo>
                    <a:pt x="922548" y="65551"/>
                    <a:pt x="922230" y="63736"/>
                    <a:pt x="921588" y="62027"/>
                  </a:cubicBezTo>
                  <a:cubicBezTo>
                    <a:pt x="920919" y="60358"/>
                    <a:pt x="919838" y="58886"/>
                    <a:pt x="918446" y="57746"/>
                  </a:cubicBezTo>
                  <a:cubicBezTo>
                    <a:pt x="916707" y="56348"/>
                    <a:pt x="914737" y="55261"/>
                    <a:pt x="912626" y="54536"/>
                  </a:cubicBezTo>
                  <a:cubicBezTo>
                    <a:pt x="909681" y="53523"/>
                    <a:pt x="906628" y="52850"/>
                    <a:pt x="903531" y="52530"/>
                  </a:cubicBezTo>
                  <a:lnTo>
                    <a:pt x="898983" y="51861"/>
                  </a:lnTo>
                  <a:cubicBezTo>
                    <a:pt x="881148" y="49453"/>
                    <a:pt x="872230" y="41071"/>
                    <a:pt x="872230" y="26714"/>
                  </a:cubicBezTo>
                  <a:cubicBezTo>
                    <a:pt x="872183" y="22955"/>
                    <a:pt x="872890" y="19226"/>
                    <a:pt x="874311" y="15745"/>
                  </a:cubicBezTo>
                  <a:cubicBezTo>
                    <a:pt x="875634" y="12526"/>
                    <a:pt x="877667" y="9645"/>
                    <a:pt x="880256" y="7318"/>
                  </a:cubicBezTo>
                  <a:cubicBezTo>
                    <a:pt x="882982" y="4919"/>
                    <a:pt x="886168" y="3099"/>
                    <a:pt x="889619" y="1968"/>
                  </a:cubicBezTo>
                  <a:cubicBezTo>
                    <a:pt x="893590" y="670"/>
                    <a:pt x="897749" y="38"/>
                    <a:pt x="901925" y="95"/>
                  </a:cubicBezTo>
                  <a:cubicBezTo>
                    <a:pt x="907121" y="71"/>
                    <a:pt x="912287" y="861"/>
                    <a:pt x="917240" y="2435"/>
                  </a:cubicBezTo>
                  <a:cubicBezTo>
                    <a:pt x="921672" y="3779"/>
                    <a:pt x="925857" y="5835"/>
                    <a:pt x="929629" y="8522"/>
                  </a:cubicBezTo>
                  <a:cubicBezTo>
                    <a:pt x="930203" y="8842"/>
                    <a:pt x="930408" y="9566"/>
                    <a:pt x="930087" y="10140"/>
                  </a:cubicBezTo>
                  <a:cubicBezTo>
                    <a:pt x="930036" y="10233"/>
                    <a:pt x="929971" y="10319"/>
                    <a:pt x="929896" y="10395"/>
                  </a:cubicBezTo>
                  <a:lnTo>
                    <a:pt x="925348" y="17752"/>
                  </a:lnTo>
                  <a:cubicBezTo>
                    <a:pt x="924932" y="18339"/>
                    <a:pt x="924121" y="18478"/>
                    <a:pt x="923532" y="18063"/>
                  </a:cubicBezTo>
                  <a:cubicBezTo>
                    <a:pt x="923514" y="18049"/>
                    <a:pt x="923494" y="18034"/>
                    <a:pt x="923476" y="18019"/>
                  </a:cubicBezTo>
                  <a:cubicBezTo>
                    <a:pt x="920081" y="15865"/>
                    <a:pt x="916440" y="14133"/>
                    <a:pt x="912626" y="12862"/>
                  </a:cubicBezTo>
                  <a:cubicBezTo>
                    <a:pt x="909036" y="11731"/>
                    <a:pt x="905290" y="11167"/>
                    <a:pt x="901524" y="11191"/>
                  </a:cubicBezTo>
                  <a:cubicBezTo>
                    <a:pt x="896881" y="10866"/>
                    <a:pt x="892289" y="12324"/>
                    <a:pt x="888683" y="15270"/>
                  </a:cubicBezTo>
                  <a:cubicBezTo>
                    <a:pt x="885734" y="18002"/>
                    <a:pt x="884123" y="21885"/>
                    <a:pt x="884269" y="25902"/>
                  </a:cubicBezTo>
                  <a:cubicBezTo>
                    <a:pt x="884177" y="29535"/>
                    <a:pt x="885755" y="33009"/>
                    <a:pt x="888549" y="35331"/>
                  </a:cubicBezTo>
                  <a:cubicBezTo>
                    <a:pt x="892943" y="38358"/>
                    <a:pt x="898073" y="40139"/>
                    <a:pt x="903397" y="40482"/>
                  </a:cubicBezTo>
                  <a:lnTo>
                    <a:pt x="907811" y="41151"/>
                  </a:lnTo>
                  <a:cubicBezTo>
                    <a:pt x="915156" y="41744"/>
                    <a:pt x="922147" y="44541"/>
                    <a:pt x="927875" y="49177"/>
                  </a:cubicBezTo>
                  <a:cubicBezTo>
                    <a:pt x="932518" y="53730"/>
                    <a:pt x="934959" y="60074"/>
                    <a:pt x="934563" y="66566"/>
                  </a:cubicBezTo>
                  <a:cubicBezTo>
                    <a:pt x="934605" y="70345"/>
                    <a:pt x="933897" y="74095"/>
                    <a:pt x="932482" y="77600"/>
                  </a:cubicBezTo>
                  <a:cubicBezTo>
                    <a:pt x="931106" y="80934"/>
                    <a:pt x="928948" y="83890"/>
                    <a:pt x="926196" y="86220"/>
                  </a:cubicBezTo>
                  <a:cubicBezTo>
                    <a:pt x="923119" y="88775"/>
                    <a:pt x="919576" y="90706"/>
                    <a:pt x="915762" y="91906"/>
                  </a:cubicBezTo>
                  <a:cubicBezTo>
                    <a:pt x="911113" y="93368"/>
                    <a:pt x="906262" y="94074"/>
                    <a:pt x="901390" y="93996"/>
                  </a:cubicBezTo>
                  <a:close/>
                  <a:moveTo>
                    <a:pt x="971348" y="92524"/>
                  </a:moveTo>
                  <a:cubicBezTo>
                    <a:pt x="970697" y="92612"/>
                    <a:pt x="970099" y="92156"/>
                    <a:pt x="970010" y="91505"/>
                  </a:cubicBezTo>
                  <a:cubicBezTo>
                    <a:pt x="969995" y="91400"/>
                    <a:pt x="969995" y="91293"/>
                    <a:pt x="970010" y="91187"/>
                  </a:cubicBezTo>
                  <a:lnTo>
                    <a:pt x="970010" y="13457"/>
                  </a:lnTo>
                  <a:cubicBezTo>
                    <a:pt x="970063" y="13068"/>
                    <a:pt x="969793" y="12709"/>
                    <a:pt x="969407" y="12654"/>
                  </a:cubicBezTo>
                  <a:cubicBezTo>
                    <a:pt x="969341" y="12645"/>
                    <a:pt x="969273" y="12645"/>
                    <a:pt x="969207" y="12654"/>
                  </a:cubicBezTo>
                  <a:lnTo>
                    <a:pt x="944328" y="12654"/>
                  </a:lnTo>
                  <a:cubicBezTo>
                    <a:pt x="943677" y="12742"/>
                    <a:pt x="943079" y="12286"/>
                    <a:pt x="942990" y="11635"/>
                  </a:cubicBezTo>
                  <a:cubicBezTo>
                    <a:pt x="942975" y="11529"/>
                    <a:pt x="942975" y="11422"/>
                    <a:pt x="942990" y="11316"/>
                  </a:cubicBezTo>
                  <a:lnTo>
                    <a:pt x="942990" y="2904"/>
                  </a:lnTo>
                  <a:cubicBezTo>
                    <a:pt x="942901" y="2253"/>
                    <a:pt x="943359" y="1655"/>
                    <a:pt x="944010" y="1567"/>
                  </a:cubicBezTo>
                  <a:cubicBezTo>
                    <a:pt x="944114" y="1552"/>
                    <a:pt x="944221" y="1552"/>
                    <a:pt x="944328" y="1567"/>
                  </a:cubicBezTo>
                  <a:lnTo>
                    <a:pt x="1007597" y="1567"/>
                  </a:lnTo>
                  <a:cubicBezTo>
                    <a:pt x="1008248" y="1479"/>
                    <a:pt x="1008845" y="1935"/>
                    <a:pt x="1008935" y="2586"/>
                  </a:cubicBezTo>
                  <a:cubicBezTo>
                    <a:pt x="1008949" y="2691"/>
                    <a:pt x="1008949" y="2798"/>
                    <a:pt x="1008935" y="2904"/>
                  </a:cubicBezTo>
                  <a:lnTo>
                    <a:pt x="1008935" y="11331"/>
                  </a:lnTo>
                  <a:cubicBezTo>
                    <a:pt x="1009024" y="11982"/>
                    <a:pt x="1008566" y="12581"/>
                    <a:pt x="1007915" y="12669"/>
                  </a:cubicBezTo>
                  <a:cubicBezTo>
                    <a:pt x="1007811" y="12683"/>
                    <a:pt x="1007704" y="12683"/>
                    <a:pt x="1007597" y="12669"/>
                  </a:cubicBezTo>
                  <a:lnTo>
                    <a:pt x="982717" y="12669"/>
                  </a:lnTo>
                  <a:cubicBezTo>
                    <a:pt x="982328" y="12614"/>
                    <a:pt x="981968" y="12885"/>
                    <a:pt x="981915" y="13273"/>
                  </a:cubicBezTo>
                  <a:cubicBezTo>
                    <a:pt x="981906" y="13339"/>
                    <a:pt x="981906" y="13406"/>
                    <a:pt x="981915" y="13471"/>
                  </a:cubicBezTo>
                  <a:lnTo>
                    <a:pt x="981915" y="91187"/>
                  </a:lnTo>
                  <a:cubicBezTo>
                    <a:pt x="982004" y="91837"/>
                    <a:pt x="981546" y="92436"/>
                    <a:pt x="980895" y="92524"/>
                  </a:cubicBezTo>
                  <a:cubicBezTo>
                    <a:pt x="980791" y="92539"/>
                    <a:pt x="980684" y="92539"/>
                    <a:pt x="980577" y="92524"/>
                  </a:cubicBezTo>
                  <a:close/>
                  <a:moveTo>
                    <a:pt x="1023113" y="2904"/>
                  </a:moveTo>
                  <a:cubicBezTo>
                    <a:pt x="1023024" y="2253"/>
                    <a:pt x="1023482" y="1655"/>
                    <a:pt x="1024133" y="1567"/>
                  </a:cubicBezTo>
                  <a:cubicBezTo>
                    <a:pt x="1024237" y="1552"/>
                    <a:pt x="1024344" y="1552"/>
                    <a:pt x="1024451" y="1567"/>
                  </a:cubicBezTo>
                  <a:lnTo>
                    <a:pt x="1033666" y="1567"/>
                  </a:lnTo>
                  <a:cubicBezTo>
                    <a:pt x="1034317" y="1479"/>
                    <a:pt x="1034914" y="1935"/>
                    <a:pt x="1035003" y="2586"/>
                  </a:cubicBezTo>
                  <a:cubicBezTo>
                    <a:pt x="1035018" y="2691"/>
                    <a:pt x="1035018" y="2798"/>
                    <a:pt x="1035003" y="2904"/>
                  </a:cubicBezTo>
                  <a:lnTo>
                    <a:pt x="1035003" y="91187"/>
                  </a:lnTo>
                  <a:cubicBezTo>
                    <a:pt x="1035092" y="91837"/>
                    <a:pt x="1034635" y="92436"/>
                    <a:pt x="1033984" y="92524"/>
                  </a:cubicBezTo>
                  <a:cubicBezTo>
                    <a:pt x="1033880" y="92539"/>
                    <a:pt x="1033773" y="92539"/>
                    <a:pt x="1033666" y="92524"/>
                  </a:cubicBezTo>
                  <a:lnTo>
                    <a:pt x="1024451" y="92524"/>
                  </a:lnTo>
                  <a:cubicBezTo>
                    <a:pt x="1023800" y="92612"/>
                    <a:pt x="1023202" y="92156"/>
                    <a:pt x="1023113" y="91505"/>
                  </a:cubicBezTo>
                  <a:cubicBezTo>
                    <a:pt x="1023098" y="91400"/>
                    <a:pt x="1023098" y="91293"/>
                    <a:pt x="1023113" y="91187"/>
                  </a:cubicBezTo>
                  <a:close/>
                  <a:moveTo>
                    <a:pt x="1056702" y="72594"/>
                  </a:moveTo>
                  <a:cubicBezTo>
                    <a:pt x="1056256" y="71256"/>
                    <a:pt x="1055876" y="69897"/>
                    <a:pt x="1055564" y="68516"/>
                  </a:cubicBezTo>
                  <a:cubicBezTo>
                    <a:pt x="1055213" y="66883"/>
                    <a:pt x="1054969" y="65230"/>
                    <a:pt x="1054830" y="63567"/>
                  </a:cubicBezTo>
                  <a:cubicBezTo>
                    <a:pt x="1054651" y="61650"/>
                    <a:pt x="1054518" y="59354"/>
                    <a:pt x="1054428" y="56676"/>
                  </a:cubicBezTo>
                  <a:cubicBezTo>
                    <a:pt x="1054339" y="53999"/>
                    <a:pt x="1054295" y="50789"/>
                    <a:pt x="1054295" y="47046"/>
                  </a:cubicBezTo>
                  <a:cubicBezTo>
                    <a:pt x="1054295" y="43300"/>
                    <a:pt x="1054339" y="40090"/>
                    <a:pt x="1054428" y="37415"/>
                  </a:cubicBezTo>
                  <a:cubicBezTo>
                    <a:pt x="1054518" y="34739"/>
                    <a:pt x="1054651" y="32444"/>
                    <a:pt x="1054830" y="30527"/>
                  </a:cubicBezTo>
                  <a:cubicBezTo>
                    <a:pt x="1054969" y="28864"/>
                    <a:pt x="1055213" y="27211"/>
                    <a:pt x="1055564" y="25578"/>
                  </a:cubicBezTo>
                  <a:cubicBezTo>
                    <a:pt x="1055876" y="24191"/>
                    <a:pt x="1056256" y="22832"/>
                    <a:pt x="1056702" y="21500"/>
                  </a:cubicBezTo>
                  <a:cubicBezTo>
                    <a:pt x="1058507" y="15006"/>
                    <a:pt x="1062469" y="9321"/>
                    <a:pt x="1067938" y="5383"/>
                  </a:cubicBezTo>
                  <a:cubicBezTo>
                    <a:pt x="1073583" y="1724"/>
                    <a:pt x="1080209" y="-120"/>
                    <a:pt x="1086932" y="98"/>
                  </a:cubicBezTo>
                  <a:cubicBezTo>
                    <a:pt x="1093175" y="-45"/>
                    <a:pt x="1099325" y="1605"/>
                    <a:pt x="1104654" y="4854"/>
                  </a:cubicBezTo>
                  <a:cubicBezTo>
                    <a:pt x="1109764" y="8104"/>
                    <a:pt x="1113756" y="12842"/>
                    <a:pt x="1116092" y="18429"/>
                  </a:cubicBezTo>
                  <a:cubicBezTo>
                    <a:pt x="1116416" y="19058"/>
                    <a:pt x="1116179" y="19830"/>
                    <a:pt x="1115557" y="20168"/>
                  </a:cubicBezTo>
                  <a:lnTo>
                    <a:pt x="1107532" y="24047"/>
                  </a:lnTo>
                  <a:cubicBezTo>
                    <a:pt x="1107008" y="24443"/>
                    <a:pt x="1106262" y="24340"/>
                    <a:pt x="1105867" y="23816"/>
                  </a:cubicBezTo>
                  <a:cubicBezTo>
                    <a:pt x="1105769" y="23686"/>
                    <a:pt x="1105698" y="23537"/>
                    <a:pt x="1105659" y="23379"/>
                  </a:cubicBezTo>
                  <a:cubicBezTo>
                    <a:pt x="1103994" y="19957"/>
                    <a:pt x="1101569" y="16961"/>
                    <a:pt x="1098570" y="14619"/>
                  </a:cubicBezTo>
                  <a:cubicBezTo>
                    <a:pt x="1095184" y="12208"/>
                    <a:pt x="1091085" y="11007"/>
                    <a:pt x="1086932" y="11209"/>
                  </a:cubicBezTo>
                  <a:cubicBezTo>
                    <a:pt x="1082643" y="10998"/>
                    <a:pt x="1078407" y="12221"/>
                    <a:pt x="1074894" y="14687"/>
                  </a:cubicBezTo>
                  <a:cubicBezTo>
                    <a:pt x="1071690" y="17241"/>
                    <a:pt x="1069311" y="20685"/>
                    <a:pt x="1068057" y="24585"/>
                  </a:cubicBezTo>
                  <a:cubicBezTo>
                    <a:pt x="1067790" y="25576"/>
                    <a:pt x="1067546" y="26625"/>
                    <a:pt x="1067323" y="27730"/>
                  </a:cubicBezTo>
                  <a:cubicBezTo>
                    <a:pt x="1067064" y="29106"/>
                    <a:pt x="1066886" y="30496"/>
                    <a:pt x="1066788" y="31892"/>
                  </a:cubicBezTo>
                  <a:cubicBezTo>
                    <a:pt x="1066654" y="33541"/>
                    <a:pt x="1066541" y="35592"/>
                    <a:pt x="1066455" y="38045"/>
                  </a:cubicBezTo>
                  <a:cubicBezTo>
                    <a:pt x="1066369" y="40498"/>
                    <a:pt x="1066324" y="43508"/>
                    <a:pt x="1066321" y="47075"/>
                  </a:cubicBezTo>
                  <a:cubicBezTo>
                    <a:pt x="1066321" y="50642"/>
                    <a:pt x="1066366" y="53651"/>
                    <a:pt x="1066455" y="56103"/>
                  </a:cubicBezTo>
                  <a:cubicBezTo>
                    <a:pt x="1066544" y="58554"/>
                    <a:pt x="1066654" y="60605"/>
                    <a:pt x="1066788" y="62256"/>
                  </a:cubicBezTo>
                  <a:cubicBezTo>
                    <a:pt x="1066892" y="63669"/>
                    <a:pt x="1067070" y="65076"/>
                    <a:pt x="1067323" y="66471"/>
                  </a:cubicBezTo>
                  <a:cubicBezTo>
                    <a:pt x="1067516" y="67508"/>
                    <a:pt x="1067760" y="68535"/>
                    <a:pt x="1068057" y="69547"/>
                  </a:cubicBezTo>
                  <a:cubicBezTo>
                    <a:pt x="1069311" y="73448"/>
                    <a:pt x="1071690" y="76891"/>
                    <a:pt x="1074894" y="79446"/>
                  </a:cubicBezTo>
                  <a:cubicBezTo>
                    <a:pt x="1078407" y="81911"/>
                    <a:pt x="1082643" y="83135"/>
                    <a:pt x="1086932" y="82923"/>
                  </a:cubicBezTo>
                  <a:cubicBezTo>
                    <a:pt x="1091085" y="83125"/>
                    <a:pt x="1095184" y="81922"/>
                    <a:pt x="1098570" y="79511"/>
                  </a:cubicBezTo>
                  <a:cubicBezTo>
                    <a:pt x="1101569" y="77168"/>
                    <a:pt x="1103994" y="74172"/>
                    <a:pt x="1105659" y="70751"/>
                  </a:cubicBezTo>
                  <a:cubicBezTo>
                    <a:pt x="1105814" y="70113"/>
                    <a:pt x="1106456" y="69720"/>
                    <a:pt x="1107095" y="69875"/>
                  </a:cubicBezTo>
                  <a:cubicBezTo>
                    <a:pt x="1107252" y="69913"/>
                    <a:pt x="1107401" y="69984"/>
                    <a:pt x="1107532" y="70082"/>
                  </a:cubicBezTo>
                  <a:lnTo>
                    <a:pt x="1115557" y="73946"/>
                  </a:lnTo>
                  <a:cubicBezTo>
                    <a:pt x="1116179" y="74285"/>
                    <a:pt x="1116416" y="75057"/>
                    <a:pt x="1116092" y="75685"/>
                  </a:cubicBezTo>
                  <a:cubicBezTo>
                    <a:pt x="1113756" y="81273"/>
                    <a:pt x="1109764" y="86011"/>
                    <a:pt x="1104654" y="89261"/>
                  </a:cubicBezTo>
                  <a:cubicBezTo>
                    <a:pt x="1099325" y="92510"/>
                    <a:pt x="1093175" y="94160"/>
                    <a:pt x="1086932" y="94017"/>
                  </a:cubicBezTo>
                  <a:cubicBezTo>
                    <a:pt x="1080209" y="94235"/>
                    <a:pt x="1073583" y="92391"/>
                    <a:pt x="1067938" y="88732"/>
                  </a:cubicBezTo>
                  <a:cubicBezTo>
                    <a:pt x="1062463" y="84794"/>
                    <a:pt x="1058492" y="79107"/>
                    <a:pt x="1056687" y="72609"/>
                  </a:cubicBezTo>
                  <a:close/>
                  <a:moveTo>
                    <a:pt x="1160769" y="93996"/>
                  </a:moveTo>
                  <a:cubicBezTo>
                    <a:pt x="1157579" y="93998"/>
                    <a:pt x="1154399" y="93684"/>
                    <a:pt x="1151272" y="93059"/>
                  </a:cubicBezTo>
                  <a:cubicBezTo>
                    <a:pt x="1148269" y="92468"/>
                    <a:pt x="1145318" y="91640"/>
                    <a:pt x="1142443" y="90583"/>
                  </a:cubicBezTo>
                  <a:cubicBezTo>
                    <a:pt x="1139798" y="89614"/>
                    <a:pt x="1137245" y="88405"/>
                    <a:pt x="1134819" y="86972"/>
                  </a:cubicBezTo>
                  <a:cubicBezTo>
                    <a:pt x="1132673" y="85720"/>
                    <a:pt x="1130652" y="84264"/>
                    <a:pt x="1128785" y="82626"/>
                  </a:cubicBezTo>
                  <a:cubicBezTo>
                    <a:pt x="1128196" y="82145"/>
                    <a:pt x="1128110" y="81278"/>
                    <a:pt x="1128589" y="80689"/>
                  </a:cubicBezTo>
                  <a:cubicBezTo>
                    <a:pt x="1128609" y="80665"/>
                    <a:pt x="1128630" y="80642"/>
                    <a:pt x="1128651" y="80620"/>
                  </a:cubicBezTo>
                  <a:lnTo>
                    <a:pt x="1134537" y="73664"/>
                  </a:lnTo>
                  <a:cubicBezTo>
                    <a:pt x="1134932" y="73116"/>
                    <a:pt x="1135699" y="72993"/>
                    <a:pt x="1136246" y="73389"/>
                  </a:cubicBezTo>
                  <a:cubicBezTo>
                    <a:pt x="1136305" y="73431"/>
                    <a:pt x="1136359" y="73479"/>
                    <a:pt x="1136409" y="73530"/>
                  </a:cubicBezTo>
                  <a:cubicBezTo>
                    <a:pt x="1139792" y="76108"/>
                    <a:pt x="1143475" y="78264"/>
                    <a:pt x="1147378" y="79951"/>
                  </a:cubicBezTo>
                  <a:cubicBezTo>
                    <a:pt x="1151929" y="81950"/>
                    <a:pt x="1156854" y="82953"/>
                    <a:pt x="1161824" y="82894"/>
                  </a:cubicBezTo>
                  <a:cubicBezTo>
                    <a:pt x="1167097" y="83216"/>
                    <a:pt x="1172320" y="81703"/>
                    <a:pt x="1176606" y="78613"/>
                  </a:cubicBezTo>
                  <a:cubicBezTo>
                    <a:pt x="1180051" y="75920"/>
                    <a:pt x="1182013" y="71749"/>
                    <a:pt x="1181888" y="67377"/>
                  </a:cubicBezTo>
                  <a:cubicBezTo>
                    <a:pt x="1181912" y="65551"/>
                    <a:pt x="1181594" y="63736"/>
                    <a:pt x="1180952" y="62027"/>
                  </a:cubicBezTo>
                  <a:cubicBezTo>
                    <a:pt x="1180283" y="60358"/>
                    <a:pt x="1179201" y="58886"/>
                    <a:pt x="1177810" y="57746"/>
                  </a:cubicBezTo>
                  <a:cubicBezTo>
                    <a:pt x="1176071" y="56348"/>
                    <a:pt x="1174100" y="55261"/>
                    <a:pt x="1171990" y="54536"/>
                  </a:cubicBezTo>
                  <a:cubicBezTo>
                    <a:pt x="1169044" y="53523"/>
                    <a:pt x="1165991" y="52850"/>
                    <a:pt x="1162894" y="52530"/>
                  </a:cubicBezTo>
                  <a:lnTo>
                    <a:pt x="1158346" y="51861"/>
                  </a:lnTo>
                  <a:cubicBezTo>
                    <a:pt x="1140511" y="49453"/>
                    <a:pt x="1131594" y="41071"/>
                    <a:pt x="1131594" y="26714"/>
                  </a:cubicBezTo>
                  <a:cubicBezTo>
                    <a:pt x="1131546" y="22955"/>
                    <a:pt x="1132254" y="19226"/>
                    <a:pt x="1133675" y="15745"/>
                  </a:cubicBezTo>
                  <a:cubicBezTo>
                    <a:pt x="1134997" y="12526"/>
                    <a:pt x="1137031" y="9645"/>
                    <a:pt x="1139620" y="7318"/>
                  </a:cubicBezTo>
                  <a:cubicBezTo>
                    <a:pt x="1142345" y="4919"/>
                    <a:pt x="1145532" y="3099"/>
                    <a:pt x="1148983" y="1968"/>
                  </a:cubicBezTo>
                  <a:cubicBezTo>
                    <a:pt x="1152954" y="670"/>
                    <a:pt x="1157113" y="38"/>
                    <a:pt x="1161289" y="95"/>
                  </a:cubicBezTo>
                  <a:cubicBezTo>
                    <a:pt x="1166485" y="71"/>
                    <a:pt x="1171651" y="861"/>
                    <a:pt x="1176603" y="2435"/>
                  </a:cubicBezTo>
                  <a:cubicBezTo>
                    <a:pt x="1181029" y="3780"/>
                    <a:pt x="1185208" y="5836"/>
                    <a:pt x="1188978" y="8522"/>
                  </a:cubicBezTo>
                  <a:cubicBezTo>
                    <a:pt x="1189551" y="8842"/>
                    <a:pt x="1189756" y="9566"/>
                    <a:pt x="1189435" y="10140"/>
                  </a:cubicBezTo>
                  <a:cubicBezTo>
                    <a:pt x="1189385" y="10233"/>
                    <a:pt x="1189319" y="10319"/>
                    <a:pt x="1189245" y="10395"/>
                  </a:cubicBezTo>
                  <a:lnTo>
                    <a:pt x="1184697" y="17752"/>
                  </a:lnTo>
                  <a:cubicBezTo>
                    <a:pt x="1184281" y="18339"/>
                    <a:pt x="1183470" y="18478"/>
                    <a:pt x="1182881" y="18063"/>
                  </a:cubicBezTo>
                  <a:cubicBezTo>
                    <a:pt x="1182863" y="18049"/>
                    <a:pt x="1182842" y="18034"/>
                    <a:pt x="1182825" y="18019"/>
                  </a:cubicBezTo>
                  <a:cubicBezTo>
                    <a:pt x="1179436" y="15866"/>
                    <a:pt x="1175798" y="14134"/>
                    <a:pt x="1171990" y="12862"/>
                  </a:cubicBezTo>
                  <a:cubicBezTo>
                    <a:pt x="1168399" y="11733"/>
                    <a:pt x="1164654" y="11171"/>
                    <a:pt x="1160888" y="11197"/>
                  </a:cubicBezTo>
                  <a:cubicBezTo>
                    <a:pt x="1156245" y="10871"/>
                    <a:pt x="1151652" y="12330"/>
                    <a:pt x="1148047" y="15276"/>
                  </a:cubicBezTo>
                  <a:cubicBezTo>
                    <a:pt x="1145104" y="18012"/>
                    <a:pt x="1143496" y="21895"/>
                    <a:pt x="1143647" y="25911"/>
                  </a:cubicBezTo>
                  <a:cubicBezTo>
                    <a:pt x="1143555" y="29544"/>
                    <a:pt x="1145134" y="33018"/>
                    <a:pt x="1147928" y="35340"/>
                  </a:cubicBezTo>
                  <a:cubicBezTo>
                    <a:pt x="1152315" y="38370"/>
                    <a:pt x="1157440" y="40155"/>
                    <a:pt x="1162760" y="40506"/>
                  </a:cubicBezTo>
                  <a:lnTo>
                    <a:pt x="1167174" y="41175"/>
                  </a:lnTo>
                  <a:cubicBezTo>
                    <a:pt x="1174519" y="41767"/>
                    <a:pt x="1181511" y="44565"/>
                    <a:pt x="1187239" y="49201"/>
                  </a:cubicBezTo>
                  <a:cubicBezTo>
                    <a:pt x="1191882" y="53754"/>
                    <a:pt x="1194322" y="60098"/>
                    <a:pt x="1193927" y="66590"/>
                  </a:cubicBezTo>
                  <a:cubicBezTo>
                    <a:pt x="1193968" y="70369"/>
                    <a:pt x="1193261" y="74119"/>
                    <a:pt x="1191846" y="77623"/>
                  </a:cubicBezTo>
                  <a:cubicBezTo>
                    <a:pt x="1190470" y="80958"/>
                    <a:pt x="1188312" y="83913"/>
                    <a:pt x="1185559" y="86244"/>
                  </a:cubicBezTo>
                  <a:cubicBezTo>
                    <a:pt x="1182483" y="88799"/>
                    <a:pt x="1178939" y="90730"/>
                    <a:pt x="1175126" y="91930"/>
                  </a:cubicBezTo>
                  <a:cubicBezTo>
                    <a:pt x="1170477" y="93384"/>
                    <a:pt x="1165623" y="94081"/>
                    <a:pt x="1160754" y="93996"/>
                  </a:cubicBezTo>
                  <a:close/>
                </a:path>
              </a:pathLst>
            </a:custGeom>
            <a:solidFill>
              <a:schemeClr val="bg2"/>
            </a:solidFill>
            <a:ln w="2965" cap="flat">
              <a:noFill/>
              <a:prstDash val="solid"/>
              <a:miter/>
            </a:ln>
          </p:spPr>
          <p:txBody>
            <a:bodyPr rtlCol="0" anchor="ctr"/>
            <a:lstStyle/>
            <a:p>
              <a:endParaRPr lang="de-DE"/>
            </a:p>
          </p:txBody>
        </p:sp>
      </p:grpSp>
      <p:sp>
        <p:nvSpPr>
          <p:cNvPr id="2" name="Title 1"/>
          <p:cNvSpPr>
            <a:spLocks noGrp="1"/>
          </p:cNvSpPr>
          <p:nvPr>
            <p:ph type="title"/>
          </p:nvPr>
        </p:nvSpPr>
        <p:spPr/>
        <p:txBody>
          <a:bodyPr/>
          <a:lstStyle/>
          <a:p>
            <a:r>
              <a:rPr lang="de-DE"/>
              <a:t>Mastertitelformat bearbeiten</a:t>
            </a:r>
            <a:endParaRPr lang="en-US"/>
          </a:p>
        </p:txBody>
      </p:sp>
      <p:sp>
        <p:nvSpPr>
          <p:cNvPr id="3" name="Date Placeholder 2">
            <a:extLst>
              <a:ext uri="{FF2B5EF4-FFF2-40B4-BE49-F238E27FC236}">
                <a16:creationId xmlns:a16="http://schemas.microsoft.com/office/drawing/2014/main" id="{536DEA22-CB40-462D-A0AE-1A1311D48285}"/>
              </a:ext>
            </a:extLst>
          </p:cNvPr>
          <p:cNvSpPr>
            <a:spLocks noGrp="1"/>
          </p:cNvSpPr>
          <p:nvPr>
            <p:ph type="dt" sz="half" idx="10"/>
          </p:nvPr>
        </p:nvSpPr>
        <p:spPr/>
        <p:txBody>
          <a:bodyPr/>
          <a:lstStyle/>
          <a:p>
            <a:fld id="{93E80D52-475D-408E-A1EA-0E78017C3903}" type="datetime1">
              <a:rPr lang="de-DE"/>
              <a:pPr/>
              <a:t>04.05.2026</a:t>
            </a:fld>
            <a:endParaRPr lang="de-DE"/>
          </a:p>
        </p:txBody>
      </p:sp>
      <p:sp>
        <p:nvSpPr>
          <p:cNvPr id="7" name="Footer Placeholder 6">
            <a:extLst>
              <a:ext uri="{FF2B5EF4-FFF2-40B4-BE49-F238E27FC236}">
                <a16:creationId xmlns:a16="http://schemas.microsoft.com/office/drawing/2014/main" id="{8B93FBFC-B301-4A98-82D5-9783AC98C1A2}"/>
              </a:ext>
            </a:extLst>
          </p:cNvPr>
          <p:cNvSpPr>
            <a:spLocks noGrp="1"/>
          </p:cNvSpPr>
          <p:nvPr>
            <p:ph type="ftr" sz="quarter" idx="11"/>
          </p:nvPr>
        </p:nvSpPr>
        <p:spPr/>
        <p:txBody>
          <a:bodyPr/>
          <a:lstStyle/>
          <a:p>
            <a:endParaRPr lang="de-DE"/>
          </a:p>
        </p:txBody>
      </p:sp>
      <p:sp>
        <p:nvSpPr>
          <p:cNvPr id="8" name="Slide Number Placeholder 7">
            <a:extLst>
              <a:ext uri="{FF2B5EF4-FFF2-40B4-BE49-F238E27FC236}">
                <a16:creationId xmlns:a16="http://schemas.microsoft.com/office/drawing/2014/main" id="{08487C35-1929-449B-AADD-5D61992AEF65}"/>
              </a:ext>
            </a:extLst>
          </p:cNvPr>
          <p:cNvSpPr>
            <a:spLocks noGrp="1"/>
          </p:cNvSpPr>
          <p:nvPr>
            <p:ph type="sldNum" sz="quarter" idx="12"/>
          </p:nvPr>
        </p:nvSpPr>
        <p:spPr/>
        <p:txBody>
          <a:bodyPr/>
          <a:lstStyle/>
          <a:p>
            <a:fld id="{EFDB17C1-FF3A-45DC-94C1-44444C959F3B}" type="slidenum">
              <a:rPr lang="de-DE"/>
              <a:pPr/>
              <a:t>‹Nr.›</a:t>
            </a:fld>
            <a:endParaRPr lang="de-DE"/>
          </a:p>
        </p:txBody>
      </p:sp>
      <p:cxnSp>
        <p:nvCxnSpPr>
          <p:cNvPr id="15" name="Gerade Verbindung 13">
            <a:extLst>
              <a:ext uri="{FF2B5EF4-FFF2-40B4-BE49-F238E27FC236}">
                <a16:creationId xmlns:a16="http://schemas.microsoft.com/office/drawing/2014/main" id="{5918254C-B164-41CC-8E13-32E421F2BE01}"/>
              </a:ext>
            </a:extLst>
          </p:cNvPr>
          <p:cNvCxnSpPr>
            <a:cxnSpLocks/>
          </p:cNvCxnSpPr>
          <p:nvPr userDrawn="1"/>
        </p:nvCxnSpPr>
        <p:spPr>
          <a:xfrm flipV="1">
            <a:off x="1143495" y="6403913"/>
            <a:ext cx="0" cy="27000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9" name="enable layout protection" hidden="1">
            <a:extLst>
              <a:ext uri="{FF2B5EF4-FFF2-40B4-BE49-F238E27FC236}">
                <a16:creationId xmlns:a16="http://schemas.microsoft.com/office/drawing/2014/main" id="{C66D521B-7162-4BAD-9BA7-6B4351972EC1}"/>
              </a:ext>
            </a:extLst>
          </p:cNvPr>
          <p:cNvSpPr>
            <a:spLocks/>
          </p:cNvSpPr>
          <p:nvPr userDrawn="1">
            <p:custDataLst>
              <p:tags r:id="rId1"/>
            </p:custDataLst>
          </p:nvPr>
        </p:nvSpPr>
        <p:spPr>
          <a:xfrm>
            <a:off x="410152" y="1574799"/>
            <a:ext cx="11367906" cy="4608001"/>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nvGrpSpPr>
          <p:cNvPr id="4" name="Grafik 11">
            <a:extLst>
              <a:ext uri="{FF2B5EF4-FFF2-40B4-BE49-F238E27FC236}">
                <a16:creationId xmlns:a16="http://schemas.microsoft.com/office/drawing/2014/main" id="{C414D375-9D7C-49F8-9345-CC7D0D7680CB}"/>
              </a:ext>
            </a:extLst>
          </p:cNvPr>
          <p:cNvGrpSpPr/>
          <p:nvPr/>
        </p:nvGrpSpPr>
        <p:grpSpPr>
          <a:xfrm>
            <a:off x="9990772" y="481832"/>
            <a:ext cx="1787285" cy="596782"/>
            <a:chOff x="9990772" y="481832"/>
            <a:chExt cx="1787285" cy="596782"/>
          </a:xfrm>
          <a:solidFill>
            <a:schemeClr val="bg2"/>
          </a:solidFill>
        </p:grpSpPr>
        <p:sp>
          <p:nvSpPr>
            <p:cNvPr id="5" name="Freeform: Shape 4">
              <a:extLst>
                <a:ext uri="{FF2B5EF4-FFF2-40B4-BE49-F238E27FC236}">
                  <a16:creationId xmlns:a16="http://schemas.microsoft.com/office/drawing/2014/main" id="{007C9726-FE32-4EDB-9A56-4AEC46517F01}"/>
                </a:ext>
              </a:extLst>
            </p:cNvPr>
            <p:cNvSpPr/>
            <p:nvPr/>
          </p:nvSpPr>
          <p:spPr>
            <a:xfrm>
              <a:off x="9990772" y="544329"/>
              <a:ext cx="147751" cy="475361"/>
            </a:xfrm>
            <a:custGeom>
              <a:avLst/>
              <a:gdLst>
                <a:gd name="connsiteX0" fmla="*/ 53103 w 147751"/>
                <a:gd name="connsiteY0" fmla="*/ 235887 h 475361"/>
                <a:gd name="connsiteX1" fmla="*/ 144346 w 147751"/>
                <a:gd name="connsiteY1" fmla="*/ 45533 h 475361"/>
                <a:gd name="connsiteX2" fmla="*/ 117058 w 147751"/>
                <a:gd name="connsiteY2" fmla="*/ 0 h 475361"/>
                <a:gd name="connsiteX3" fmla="*/ 0 w 147751"/>
                <a:gd name="connsiteY3" fmla="*/ 235887 h 475361"/>
                <a:gd name="connsiteX4" fmla="*/ 121870 w 147751"/>
                <a:gd name="connsiteY4" fmla="*/ 475362 h 475361"/>
                <a:gd name="connsiteX5" fmla="*/ 147752 w 147751"/>
                <a:gd name="connsiteY5" fmla="*/ 428779 h 475361"/>
                <a:gd name="connsiteX6" fmla="*/ 53103 w 147751"/>
                <a:gd name="connsiteY6" fmla="*/ 235887 h 475361"/>
                <a:gd name="connsiteX7" fmla="*/ 53103 w 147751"/>
                <a:gd name="connsiteY7" fmla="*/ 235887 h 47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751" h="475361">
                  <a:moveTo>
                    <a:pt x="53103" y="235887"/>
                  </a:moveTo>
                  <a:cubicBezTo>
                    <a:pt x="53103" y="159167"/>
                    <a:pt x="88721" y="90608"/>
                    <a:pt x="144346" y="45533"/>
                  </a:cubicBezTo>
                  <a:lnTo>
                    <a:pt x="117058" y="0"/>
                  </a:lnTo>
                  <a:cubicBezTo>
                    <a:pt x="46014" y="54619"/>
                    <a:pt x="0" y="139913"/>
                    <a:pt x="0" y="235887"/>
                  </a:cubicBezTo>
                  <a:cubicBezTo>
                    <a:pt x="0" y="334006"/>
                    <a:pt x="48106" y="420940"/>
                    <a:pt x="121870" y="475362"/>
                  </a:cubicBezTo>
                  <a:lnTo>
                    <a:pt x="147752" y="428779"/>
                  </a:lnTo>
                  <a:cubicBezTo>
                    <a:pt x="90233" y="383770"/>
                    <a:pt x="53103" y="314122"/>
                    <a:pt x="53103" y="235887"/>
                  </a:cubicBezTo>
                  <a:lnTo>
                    <a:pt x="53103" y="235887"/>
                  </a:lnTo>
                  <a:close/>
                </a:path>
              </a:pathLst>
            </a:custGeom>
            <a:solidFill>
              <a:schemeClr val="bg2"/>
            </a:solidFill>
            <a:ln w="7" cap="flat">
              <a:noFill/>
              <a:prstDash val="solid"/>
              <a:miter/>
            </a:ln>
          </p:spPr>
          <p:txBody>
            <a:bodyPr rtlCol="0" anchor="ctr"/>
            <a:lstStyle/>
            <a:p>
              <a:endParaRPr lang="de-DE"/>
            </a:p>
          </p:txBody>
        </p:sp>
        <p:sp>
          <p:nvSpPr>
            <p:cNvPr id="6" name="Freeform: Shape 5">
              <a:extLst>
                <a:ext uri="{FF2B5EF4-FFF2-40B4-BE49-F238E27FC236}">
                  <a16:creationId xmlns:a16="http://schemas.microsoft.com/office/drawing/2014/main" id="{88C8A6D9-B7D1-4057-B5CE-C5CF25D657FE}"/>
                </a:ext>
              </a:extLst>
            </p:cNvPr>
            <p:cNvSpPr/>
            <p:nvPr/>
          </p:nvSpPr>
          <p:spPr>
            <a:xfrm>
              <a:off x="10176504" y="815161"/>
              <a:ext cx="412502" cy="263452"/>
            </a:xfrm>
            <a:custGeom>
              <a:avLst/>
              <a:gdLst>
                <a:gd name="connsiteX0" fmla="*/ 114510 w 412502"/>
                <a:gd name="connsiteY0" fmla="*/ 210676 h 263452"/>
                <a:gd name="connsiteX1" fmla="*/ 25948 w 412502"/>
                <a:gd name="connsiteY1" fmla="*/ 194086 h 263452"/>
                <a:gd name="connsiteX2" fmla="*/ 0 w 412502"/>
                <a:gd name="connsiteY2" fmla="*/ 240787 h 263452"/>
                <a:gd name="connsiteX3" fmla="*/ 114510 w 412502"/>
                <a:gd name="connsiteY3" fmla="*/ 263452 h 263452"/>
                <a:gd name="connsiteX4" fmla="*/ 412502 w 412502"/>
                <a:gd name="connsiteY4" fmla="*/ 0 h 263452"/>
                <a:gd name="connsiteX5" fmla="*/ 358838 w 412502"/>
                <a:gd name="connsiteY5" fmla="*/ 0 h 263452"/>
                <a:gd name="connsiteX6" fmla="*/ 114510 w 412502"/>
                <a:gd name="connsiteY6" fmla="*/ 210676 h 263452"/>
                <a:gd name="connsiteX7" fmla="*/ 114510 w 412502"/>
                <a:gd name="connsiteY7" fmla="*/ 210676 h 26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502" h="263452">
                  <a:moveTo>
                    <a:pt x="114510" y="210676"/>
                  </a:moveTo>
                  <a:cubicBezTo>
                    <a:pt x="83269" y="210676"/>
                    <a:pt x="53486" y="204654"/>
                    <a:pt x="25948" y="194086"/>
                  </a:cubicBezTo>
                  <a:lnTo>
                    <a:pt x="0" y="240787"/>
                  </a:lnTo>
                  <a:cubicBezTo>
                    <a:pt x="35314" y="255331"/>
                    <a:pt x="73962" y="263452"/>
                    <a:pt x="114510" y="263452"/>
                  </a:cubicBezTo>
                  <a:cubicBezTo>
                    <a:pt x="268150" y="263452"/>
                    <a:pt x="395010" y="148113"/>
                    <a:pt x="412502" y="0"/>
                  </a:cubicBezTo>
                  <a:lnTo>
                    <a:pt x="358838" y="0"/>
                  </a:lnTo>
                  <a:cubicBezTo>
                    <a:pt x="341676" y="118895"/>
                    <a:pt x="238816" y="210676"/>
                    <a:pt x="114510" y="210676"/>
                  </a:cubicBezTo>
                  <a:lnTo>
                    <a:pt x="114510" y="210676"/>
                  </a:lnTo>
                  <a:close/>
                </a:path>
              </a:pathLst>
            </a:custGeom>
            <a:solidFill>
              <a:schemeClr val="bg2"/>
            </a:solidFill>
            <a:ln w="7" cap="flat">
              <a:noFill/>
              <a:prstDash val="solid"/>
              <a:miter/>
            </a:ln>
          </p:spPr>
          <p:txBody>
            <a:bodyPr rtlCol="0" anchor="ctr"/>
            <a:lstStyle/>
            <a:p>
              <a:endParaRPr lang="de-DE"/>
            </a:p>
          </p:txBody>
        </p:sp>
        <p:sp>
          <p:nvSpPr>
            <p:cNvPr id="10" name="Freeform: Shape 9">
              <a:extLst>
                <a:ext uri="{FF2B5EF4-FFF2-40B4-BE49-F238E27FC236}">
                  <a16:creationId xmlns:a16="http://schemas.microsoft.com/office/drawing/2014/main" id="{A6807244-7FF1-4851-9994-FD3E9C09F07E}"/>
                </a:ext>
              </a:extLst>
            </p:cNvPr>
            <p:cNvSpPr/>
            <p:nvPr/>
          </p:nvSpPr>
          <p:spPr>
            <a:xfrm>
              <a:off x="10170999" y="481832"/>
              <a:ext cx="417512" cy="260237"/>
            </a:xfrm>
            <a:custGeom>
              <a:avLst/>
              <a:gdLst>
                <a:gd name="connsiteX0" fmla="*/ 120015 w 417512"/>
                <a:gd name="connsiteY0" fmla="*/ 52782 h 260237"/>
                <a:gd name="connsiteX1" fmla="*/ 363848 w 417512"/>
                <a:gd name="connsiteY1" fmla="*/ 260238 h 260237"/>
                <a:gd name="connsiteX2" fmla="*/ 417512 w 417512"/>
                <a:gd name="connsiteY2" fmla="*/ 260238 h 260237"/>
                <a:gd name="connsiteX3" fmla="*/ 120405 w 417512"/>
                <a:gd name="connsiteY3" fmla="*/ 0 h 260237"/>
                <a:gd name="connsiteX4" fmla="*/ 118616 w 417512"/>
                <a:gd name="connsiteY4" fmla="*/ 0 h 260237"/>
                <a:gd name="connsiteX5" fmla="*/ 0 w 417512"/>
                <a:gd name="connsiteY5" fmla="*/ 25046 h 260237"/>
                <a:gd name="connsiteX6" fmla="*/ 27433 w 417512"/>
                <a:gd name="connsiteY6" fmla="*/ 70829 h 260237"/>
                <a:gd name="connsiteX7" fmla="*/ 120015 w 417512"/>
                <a:gd name="connsiteY7" fmla="*/ 52782 h 260237"/>
                <a:gd name="connsiteX8" fmla="*/ 120015 w 417512"/>
                <a:gd name="connsiteY8" fmla="*/ 52782 h 26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512" h="260237">
                  <a:moveTo>
                    <a:pt x="120015" y="52782"/>
                  </a:moveTo>
                  <a:cubicBezTo>
                    <a:pt x="243192" y="52782"/>
                    <a:pt x="345313" y="142911"/>
                    <a:pt x="363848" y="260238"/>
                  </a:cubicBezTo>
                  <a:lnTo>
                    <a:pt x="417512" y="260238"/>
                  </a:lnTo>
                  <a:cubicBezTo>
                    <a:pt x="398581" y="113824"/>
                    <a:pt x="272751" y="197"/>
                    <a:pt x="120405" y="0"/>
                  </a:cubicBezTo>
                  <a:lnTo>
                    <a:pt x="118616" y="0"/>
                  </a:lnTo>
                  <a:cubicBezTo>
                    <a:pt x="76450" y="197"/>
                    <a:pt x="36403" y="9204"/>
                    <a:pt x="0" y="25046"/>
                  </a:cubicBezTo>
                  <a:lnTo>
                    <a:pt x="27433" y="70829"/>
                  </a:lnTo>
                  <a:cubicBezTo>
                    <a:pt x="56067" y="59283"/>
                    <a:pt x="87262" y="52782"/>
                    <a:pt x="120015" y="52782"/>
                  </a:cubicBezTo>
                  <a:lnTo>
                    <a:pt x="120015" y="52782"/>
                  </a:lnTo>
                  <a:close/>
                </a:path>
              </a:pathLst>
            </a:custGeom>
            <a:solidFill>
              <a:schemeClr val="bg2"/>
            </a:solidFill>
            <a:ln w="7" cap="flat">
              <a:noFill/>
              <a:prstDash val="solid"/>
              <a:miter/>
            </a:ln>
          </p:spPr>
          <p:txBody>
            <a:bodyPr rtlCol="0" anchor="ctr"/>
            <a:lstStyle/>
            <a:p>
              <a:endParaRPr lang="de-DE"/>
            </a:p>
          </p:txBody>
        </p:sp>
        <p:sp>
          <p:nvSpPr>
            <p:cNvPr id="11" name="Freeform: Shape 10">
              <a:extLst>
                <a:ext uri="{FF2B5EF4-FFF2-40B4-BE49-F238E27FC236}">
                  <a16:creationId xmlns:a16="http://schemas.microsoft.com/office/drawing/2014/main" id="{CECE7CA2-0181-407C-B134-20E22A3DE5E9}"/>
                </a:ext>
              </a:extLst>
            </p:cNvPr>
            <p:cNvSpPr/>
            <p:nvPr/>
          </p:nvSpPr>
          <p:spPr>
            <a:xfrm>
              <a:off x="10716638" y="509266"/>
              <a:ext cx="108306" cy="130604"/>
            </a:xfrm>
            <a:custGeom>
              <a:avLst/>
              <a:gdLst>
                <a:gd name="connsiteX0" fmla="*/ 45744 w 108306"/>
                <a:gd name="connsiteY0" fmla="*/ 1909 h 130604"/>
                <a:gd name="connsiteX1" fmla="*/ 48054 w 108306"/>
                <a:gd name="connsiteY1" fmla="*/ 0 h 130604"/>
                <a:gd name="connsiteX2" fmla="*/ 60629 w 108306"/>
                <a:gd name="connsiteY2" fmla="*/ 0 h 130604"/>
                <a:gd name="connsiteX3" fmla="*/ 63137 w 108306"/>
                <a:gd name="connsiteY3" fmla="*/ 1909 h 130604"/>
                <a:gd name="connsiteX4" fmla="*/ 108174 w 108306"/>
                <a:gd name="connsiteY4" fmla="*/ 128682 h 130604"/>
                <a:gd name="connsiteX5" fmla="*/ 106821 w 108306"/>
                <a:gd name="connsiteY5" fmla="*/ 130604 h 130604"/>
                <a:gd name="connsiteX6" fmla="*/ 93296 w 108306"/>
                <a:gd name="connsiteY6" fmla="*/ 130604 h 130604"/>
                <a:gd name="connsiteX7" fmla="*/ 90781 w 108306"/>
                <a:gd name="connsiteY7" fmla="*/ 128682 h 130604"/>
                <a:gd name="connsiteX8" fmla="*/ 80722 w 108306"/>
                <a:gd name="connsiteY8" fmla="*/ 100257 h 130604"/>
                <a:gd name="connsiteX9" fmla="*/ 27566 w 108306"/>
                <a:gd name="connsiteY9" fmla="*/ 100257 h 130604"/>
                <a:gd name="connsiteX10" fmla="*/ 17532 w 108306"/>
                <a:gd name="connsiteY10" fmla="*/ 128682 h 130604"/>
                <a:gd name="connsiteX11" fmla="*/ 15018 w 108306"/>
                <a:gd name="connsiteY11" fmla="*/ 130604 h 130604"/>
                <a:gd name="connsiteX12" fmla="*/ 1473 w 108306"/>
                <a:gd name="connsiteY12" fmla="*/ 130604 h 130604"/>
                <a:gd name="connsiteX13" fmla="*/ 139 w 108306"/>
                <a:gd name="connsiteY13" fmla="*/ 128682 h 130604"/>
                <a:gd name="connsiteX14" fmla="*/ 45744 w 108306"/>
                <a:gd name="connsiteY14" fmla="*/ 1909 h 130604"/>
                <a:gd name="connsiteX15" fmla="*/ 75118 w 108306"/>
                <a:gd name="connsiteY15" fmla="*/ 84513 h 130604"/>
                <a:gd name="connsiteX16" fmla="*/ 54431 w 108306"/>
                <a:gd name="connsiteY16" fmla="*/ 25158 h 130604"/>
                <a:gd name="connsiteX17" fmla="*/ 54048 w 108306"/>
                <a:gd name="connsiteY17" fmla="*/ 25158 h 130604"/>
                <a:gd name="connsiteX18" fmla="*/ 33176 w 108306"/>
                <a:gd name="connsiteY18" fmla="*/ 84513 h 130604"/>
                <a:gd name="connsiteX19" fmla="*/ 75118 w 108306"/>
                <a:gd name="connsiteY19" fmla="*/ 84513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306" h="130604">
                  <a:moveTo>
                    <a:pt x="45744" y="1909"/>
                  </a:moveTo>
                  <a:cubicBezTo>
                    <a:pt x="46120" y="636"/>
                    <a:pt x="46899" y="0"/>
                    <a:pt x="48054" y="0"/>
                  </a:cubicBezTo>
                  <a:lnTo>
                    <a:pt x="60629" y="0"/>
                  </a:lnTo>
                  <a:cubicBezTo>
                    <a:pt x="61903" y="0"/>
                    <a:pt x="62754" y="636"/>
                    <a:pt x="63137" y="1909"/>
                  </a:cubicBezTo>
                  <a:lnTo>
                    <a:pt x="108174" y="128682"/>
                  </a:lnTo>
                  <a:cubicBezTo>
                    <a:pt x="108557" y="129961"/>
                    <a:pt x="108108" y="130604"/>
                    <a:pt x="106821" y="130604"/>
                  </a:cubicBezTo>
                  <a:lnTo>
                    <a:pt x="93296" y="130604"/>
                  </a:lnTo>
                  <a:cubicBezTo>
                    <a:pt x="92002" y="130604"/>
                    <a:pt x="91171" y="129961"/>
                    <a:pt x="90781" y="128682"/>
                  </a:cubicBezTo>
                  <a:lnTo>
                    <a:pt x="80722" y="100257"/>
                  </a:lnTo>
                  <a:lnTo>
                    <a:pt x="27566" y="100257"/>
                  </a:lnTo>
                  <a:lnTo>
                    <a:pt x="17532" y="128682"/>
                  </a:lnTo>
                  <a:cubicBezTo>
                    <a:pt x="17011" y="129961"/>
                    <a:pt x="16179" y="130604"/>
                    <a:pt x="15018" y="130604"/>
                  </a:cubicBezTo>
                  <a:lnTo>
                    <a:pt x="1473" y="130604"/>
                  </a:lnTo>
                  <a:cubicBezTo>
                    <a:pt x="192" y="130604"/>
                    <a:pt x="-257" y="129961"/>
                    <a:pt x="139" y="128682"/>
                  </a:cubicBezTo>
                  <a:lnTo>
                    <a:pt x="45744" y="1909"/>
                  </a:lnTo>
                  <a:close/>
                  <a:moveTo>
                    <a:pt x="75118" y="84513"/>
                  </a:moveTo>
                  <a:lnTo>
                    <a:pt x="54431" y="25158"/>
                  </a:lnTo>
                  <a:lnTo>
                    <a:pt x="54048" y="25158"/>
                  </a:lnTo>
                  <a:lnTo>
                    <a:pt x="33176" y="84513"/>
                  </a:lnTo>
                  <a:lnTo>
                    <a:pt x="75118" y="84513"/>
                  </a:lnTo>
                  <a:close/>
                </a:path>
              </a:pathLst>
            </a:custGeom>
            <a:solidFill>
              <a:schemeClr val="bg2"/>
            </a:solidFill>
            <a:ln w="7" cap="flat">
              <a:noFill/>
              <a:prstDash val="solid"/>
              <a:miter/>
            </a:ln>
          </p:spPr>
          <p:txBody>
            <a:bodyPr rtlCol="0" anchor="ctr"/>
            <a:lstStyle/>
            <a:p>
              <a:endParaRPr lang="de-DE"/>
            </a:p>
          </p:txBody>
        </p:sp>
        <p:sp>
          <p:nvSpPr>
            <p:cNvPr id="12" name="Freeform: Shape 11">
              <a:extLst>
                <a:ext uri="{FF2B5EF4-FFF2-40B4-BE49-F238E27FC236}">
                  <a16:creationId xmlns:a16="http://schemas.microsoft.com/office/drawing/2014/main" id="{F88AD759-E015-40B1-83F3-EDB9006F6CB3}"/>
                </a:ext>
              </a:extLst>
            </p:cNvPr>
            <p:cNvSpPr/>
            <p:nvPr/>
          </p:nvSpPr>
          <p:spPr>
            <a:xfrm>
              <a:off x="10847618" y="509259"/>
              <a:ext cx="93313" cy="130610"/>
            </a:xfrm>
            <a:custGeom>
              <a:avLst/>
              <a:gdLst>
                <a:gd name="connsiteX0" fmla="*/ 76186 w 93313"/>
                <a:gd name="connsiteY0" fmla="*/ 130611 h 130610"/>
                <a:gd name="connsiteX1" fmla="*/ 73645 w 93313"/>
                <a:gd name="connsiteY1" fmla="*/ 128682 h 130610"/>
                <a:gd name="connsiteX2" fmla="*/ 47446 w 93313"/>
                <a:gd name="connsiteY2" fmla="*/ 75296 h 130610"/>
                <a:gd name="connsiteX3" fmla="*/ 18555 w 93313"/>
                <a:gd name="connsiteY3" fmla="*/ 75296 h 130610"/>
                <a:gd name="connsiteX4" fmla="*/ 17393 w 93313"/>
                <a:gd name="connsiteY4" fmla="*/ 76444 h 130610"/>
                <a:gd name="connsiteX5" fmla="*/ 17393 w 93313"/>
                <a:gd name="connsiteY5" fmla="*/ 128682 h 130610"/>
                <a:gd name="connsiteX6" fmla="*/ 15446 w 93313"/>
                <a:gd name="connsiteY6" fmla="*/ 130611 h 130610"/>
                <a:gd name="connsiteX7" fmla="*/ 1954 w 93313"/>
                <a:gd name="connsiteY7" fmla="*/ 130611 h 130610"/>
                <a:gd name="connsiteX8" fmla="*/ 0 w 93313"/>
                <a:gd name="connsiteY8" fmla="*/ 128682 h 130610"/>
                <a:gd name="connsiteX9" fmla="*/ 0 w 93313"/>
                <a:gd name="connsiteY9" fmla="*/ 1922 h 130610"/>
                <a:gd name="connsiteX10" fmla="*/ 1934 w 93313"/>
                <a:gd name="connsiteY10" fmla="*/ 0 h 130610"/>
                <a:gd name="connsiteX11" fmla="*/ 49592 w 93313"/>
                <a:gd name="connsiteY11" fmla="*/ 0 h 130610"/>
                <a:gd name="connsiteX12" fmla="*/ 66430 w 93313"/>
                <a:gd name="connsiteY12" fmla="*/ 2690 h 130610"/>
                <a:gd name="connsiteX13" fmla="*/ 79414 w 93313"/>
                <a:gd name="connsiteY13" fmla="*/ 10273 h 130610"/>
                <a:gd name="connsiteX14" fmla="*/ 87837 w 93313"/>
                <a:gd name="connsiteY14" fmla="*/ 22186 h 130610"/>
                <a:gd name="connsiteX15" fmla="*/ 90846 w 93313"/>
                <a:gd name="connsiteY15" fmla="*/ 37642 h 130610"/>
                <a:gd name="connsiteX16" fmla="*/ 83876 w 93313"/>
                <a:gd name="connsiteY16" fmla="*/ 60123 h 130610"/>
                <a:gd name="connsiteX17" fmla="*/ 64945 w 93313"/>
                <a:gd name="connsiteY17" fmla="*/ 73184 h 130610"/>
                <a:gd name="connsiteX18" fmla="*/ 92972 w 93313"/>
                <a:gd name="connsiteY18" fmla="*/ 128308 h 130610"/>
                <a:gd name="connsiteX19" fmla="*/ 93157 w 93313"/>
                <a:gd name="connsiteY19" fmla="*/ 129935 h 130610"/>
                <a:gd name="connsiteX20" fmla="*/ 91810 w 93313"/>
                <a:gd name="connsiteY20" fmla="*/ 130611 h 130610"/>
                <a:gd name="connsiteX21" fmla="*/ 76186 w 93313"/>
                <a:gd name="connsiteY21" fmla="*/ 130611 h 130610"/>
                <a:gd name="connsiteX22" fmla="*/ 49176 w 93313"/>
                <a:gd name="connsiteY22" fmla="*/ 59355 h 130610"/>
                <a:gd name="connsiteX23" fmla="*/ 67097 w 93313"/>
                <a:gd name="connsiteY23" fmla="*/ 53681 h 130610"/>
                <a:gd name="connsiteX24" fmla="*/ 73447 w 93313"/>
                <a:gd name="connsiteY24" fmla="*/ 37642 h 130610"/>
                <a:gd name="connsiteX25" fmla="*/ 67097 w 93313"/>
                <a:gd name="connsiteY25" fmla="*/ 21615 h 130610"/>
                <a:gd name="connsiteX26" fmla="*/ 49176 w 93313"/>
                <a:gd name="connsiteY26" fmla="*/ 15948 h 130610"/>
                <a:gd name="connsiteX27" fmla="*/ 18555 w 93313"/>
                <a:gd name="connsiteY27" fmla="*/ 15948 h 130610"/>
                <a:gd name="connsiteX28" fmla="*/ 17393 w 93313"/>
                <a:gd name="connsiteY28" fmla="*/ 17102 h 130610"/>
                <a:gd name="connsiteX29" fmla="*/ 17393 w 93313"/>
                <a:gd name="connsiteY29" fmla="*/ 58194 h 130610"/>
                <a:gd name="connsiteX30" fmla="*/ 18555 w 93313"/>
                <a:gd name="connsiteY30" fmla="*/ 59355 h 130610"/>
                <a:gd name="connsiteX31" fmla="*/ 49176 w 93313"/>
                <a:gd name="connsiteY31" fmla="*/ 59355 h 13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3313" h="130610">
                  <a:moveTo>
                    <a:pt x="76186" y="130611"/>
                  </a:moveTo>
                  <a:cubicBezTo>
                    <a:pt x="75018" y="130611"/>
                    <a:pt x="74160" y="129968"/>
                    <a:pt x="73645" y="128682"/>
                  </a:cubicBezTo>
                  <a:lnTo>
                    <a:pt x="47446" y="75296"/>
                  </a:lnTo>
                  <a:lnTo>
                    <a:pt x="18555" y="75296"/>
                  </a:lnTo>
                  <a:cubicBezTo>
                    <a:pt x="17776" y="75296"/>
                    <a:pt x="17393" y="75690"/>
                    <a:pt x="17393" y="76444"/>
                  </a:cubicBezTo>
                  <a:lnTo>
                    <a:pt x="17393" y="128682"/>
                  </a:lnTo>
                  <a:cubicBezTo>
                    <a:pt x="17393" y="129968"/>
                    <a:pt x="16740" y="130611"/>
                    <a:pt x="15446" y="130611"/>
                  </a:cubicBezTo>
                  <a:lnTo>
                    <a:pt x="1954" y="130611"/>
                  </a:lnTo>
                  <a:cubicBezTo>
                    <a:pt x="653" y="130611"/>
                    <a:pt x="0" y="129968"/>
                    <a:pt x="0" y="128682"/>
                  </a:cubicBezTo>
                  <a:lnTo>
                    <a:pt x="0" y="1922"/>
                  </a:lnTo>
                  <a:cubicBezTo>
                    <a:pt x="0" y="643"/>
                    <a:pt x="640" y="0"/>
                    <a:pt x="1934" y="0"/>
                  </a:cubicBezTo>
                  <a:lnTo>
                    <a:pt x="49592" y="0"/>
                  </a:lnTo>
                  <a:cubicBezTo>
                    <a:pt x="55777" y="0"/>
                    <a:pt x="61394" y="905"/>
                    <a:pt x="66430" y="2690"/>
                  </a:cubicBezTo>
                  <a:cubicBezTo>
                    <a:pt x="71473" y="4481"/>
                    <a:pt x="75797" y="7013"/>
                    <a:pt x="79414" y="10273"/>
                  </a:cubicBezTo>
                  <a:cubicBezTo>
                    <a:pt x="83025" y="13547"/>
                    <a:pt x="85843" y="17515"/>
                    <a:pt x="87837" y="22186"/>
                  </a:cubicBezTo>
                  <a:cubicBezTo>
                    <a:pt x="89843" y="26863"/>
                    <a:pt x="90846" y="32013"/>
                    <a:pt x="90846" y="37642"/>
                  </a:cubicBezTo>
                  <a:cubicBezTo>
                    <a:pt x="90846" y="46478"/>
                    <a:pt x="88516" y="53970"/>
                    <a:pt x="83876" y="60123"/>
                  </a:cubicBezTo>
                  <a:cubicBezTo>
                    <a:pt x="79242" y="66263"/>
                    <a:pt x="72939" y="70619"/>
                    <a:pt x="64945" y="73184"/>
                  </a:cubicBezTo>
                  <a:lnTo>
                    <a:pt x="92972" y="128308"/>
                  </a:lnTo>
                  <a:cubicBezTo>
                    <a:pt x="93355" y="128951"/>
                    <a:pt x="93414" y="129496"/>
                    <a:pt x="93157" y="129935"/>
                  </a:cubicBezTo>
                  <a:cubicBezTo>
                    <a:pt x="92893" y="130394"/>
                    <a:pt x="92457" y="130611"/>
                    <a:pt x="91810" y="130611"/>
                  </a:cubicBezTo>
                  <a:lnTo>
                    <a:pt x="76186" y="130611"/>
                  </a:lnTo>
                  <a:close/>
                  <a:moveTo>
                    <a:pt x="49176" y="59355"/>
                  </a:moveTo>
                  <a:cubicBezTo>
                    <a:pt x="56879" y="59355"/>
                    <a:pt x="62846" y="57460"/>
                    <a:pt x="67097" y="53681"/>
                  </a:cubicBezTo>
                  <a:cubicBezTo>
                    <a:pt x="71328" y="49909"/>
                    <a:pt x="73447" y="44563"/>
                    <a:pt x="73447" y="37642"/>
                  </a:cubicBezTo>
                  <a:cubicBezTo>
                    <a:pt x="73447" y="30727"/>
                    <a:pt x="71328" y="25374"/>
                    <a:pt x="67097" y="21615"/>
                  </a:cubicBezTo>
                  <a:cubicBezTo>
                    <a:pt x="62846" y="17830"/>
                    <a:pt x="56879" y="15948"/>
                    <a:pt x="49176" y="15948"/>
                  </a:cubicBezTo>
                  <a:lnTo>
                    <a:pt x="18555" y="15948"/>
                  </a:lnTo>
                  <a:cubicBezTo>
                    <a:pt x="17776" y="15948"/>
                    <a:pt x="17393" y="16335"/>
                    <a:pt x="17393" y="17102"/>
                  </a:cubicBezTo>
                  <a:lnTo>
                    <a:pt x="17393" y="58194"/>
                  </a:lnTo>
                  <a:cubicBezTo>
                    <a:pt x="17393" y="58962"/>
                    <a:pt x="17776" y="59355"/>
                    <a:pt x="18555" y="59355"/>
                  </a:cubicBezTo>
                  <a:lnTo>
                    <a:pt x="49176" y="59355"/>
                  </a:lnTo>
                  <a:close/>
                </a:path>
              </a:pathLst>
            </a:custGeom>
            <a:solidFill>
              <a:schemeClr val="bg2"/>
            </a:solidFill>
            <a:ln w="7" cap="flat">
              <a:noFill/>
              <a:prstDash val="solid"/>
              <a:miter/>
            </a:ln>
          </p:spPr>
          <p:txBody>
            <a:bodyPr rtlCol="0" anchor="ctr"/>
            <a:lstStyle/>
            <a:p>
              <a:endParaRPr lang="de-DE"/>
            </a:p>
          </p:txBody>
        </p:sp>
        <p:sp>
          <p:nvSpPr>
            <p:cNvPr id="13" name="Freeform: Shape 12">
              <a:extLst>
                <a:ext uri="{FF2B5EF4-FFF2-40B4-BE49-F238E27FC236}">
                  <a16:creationId xmlns:a16="http://schemas.microsoft.com/office/drawing/2014/main" id="{CF963805-5498-4B37-8D00-3C20C7BB3D96}"/>
                </a:ext>
              </a:extLst>
            </p:cNvPr>
            <p:cNvSpPr/>
            <p:nvPr/>
          </p:nvSpPr>
          <p:spPr>
            <a:xfrm>
              <a:off x="10968788" y="509266"/>
              <a:ext cx="93929" cy="130604"/>
            </a:xfrm>
            <a:custGeom>
              <a:avLst/>
              <a:gdLst>
                <a:gd name="connsiteX0" fmla="*/ 0 w 93929"/>
                <a:gd name="connsiteY0" fmla="*/ 1909 h 130604"/>
                <a:gd name="connsiteX1" fmla="*/ 1941 w 93929"/>
                <a:gd name="connsiteY1" fmla="*/ 0 h 130604"/>
                <a:gd name="connsiteX2" fmla="*/ 14304 w 93929"/>
                <a:gd name="connsiteY2" fmla="*/ 0 h 130604"/>
                <a:gd name="connsiteX3" fmla="*/ 17598 w 93929"/>
                <a:gd name="connsiteY3" fmla="*/ 1909 h 130604"/>
                <a:gd name="connsiteX4" fmla="*/ 77123 w 93929"/>
                <a:gd name="connsiteY4" fmla="*/ 99877 h 130604"/>
                <a:gd name="connsiteX5" fmla="*/ 77896 w 93929"/>
                <a:gd name="connsiteY5" fmla="*/ 99877 h 130604"/>
                <a:gd name="connsiteX6" fmla="*/ 77896 w 93929"/>
                <a:gd name="connsiteY6" fmla="*/ 1909 h 130604"/>
                <a:gd name="connsiteX7" fmla="*/ 79823 w 93929"/>
                <a:gd name="connsiteY7" fmla="*/ 0 h 130604"/>
                <a:gd name="connsiteX8" fmla="*/ 92008 w 93929"/>
                <a:gd name="connsiteY8" fmla="*/ 0 h 130604"/>
                <a:gd name="connsiteX9" fmla="*/ 93929 w 93929"/>
                <a:gd name="connsiteY9" fmla="*/ 1909 h 130604"/>
                <a:gd name="connsiteX10" fmla="*/ 93929 w 93929"/>
                <a:gd name="connsiteY10" fmla="*/ 128682 h 130604"/>
                <a:gd name="connsiteX11" fmla="*/ 92008 w 93929"/>
                <a:gd name="connsiteY11" fmla="*/ 130604 h 130604"/>
                <a:gd name="connsiteX12" fmla="*/ 79625 w 93929"/>
                <a:gd name="connsiteY12" fmla="*/ 130604 h 130604"/>
                <a:gd name="connsiteX13" fmla="*/ 76351 w 93929"/>
                <a:gd name="connsiteY13" fmla="*/ 128682 h 130604"/>
                <a:gd name="connsiteX14" fmla="*/ 16634 w 93929"/>
                <a:gd name="connsiteY14" fmla="*/ 31108 h 130604"/>
                <a:gd name="connsiteX15" fmla="*/ 16046 w 93929"/>
                <a:gd name="connsiteY15" fmla="*/ 31108 h 130604"/>
                <a:gd name="connsiteX16" fmla="*/ 16046 w 93929"/>
                <a:gd name="connsiteY16" fmla="*/ 128682 h 130604"/>
                <a:gd name="connsiteX17" fmla="*/ 14112 w 93929"/>
                <a:gd name="connsiteY17" fmla="*/ 130604 h 130604"/>
                <a:gd name="connsiteX18" fmla="*/ 1941 w 93929"/>
                <a:gd name="connsiteY18" fmla="*/ 130604 h 130604"/>
                <a:gd name="connsiteX19" fmla="*/ 0 w 93929"/>
                <a:gd name="connsiteY19" fmla="*/ 128682 h 130604"/>
                <a:gd name="connsiteX20" fmla="*/ 0 w 93929"/>
                <a:gd name="connsiteY20"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29" h="130604">
                  <a:moveTo>
                    <a:pt x="0" y="1909"/>
                  </a:moveTo>
                  <a:cubicBezTo>
                    <a:pt x="0" y="636"/>
                    <a:pt x="647" y="0"/>
                    <a:pt x="1941" y="0"/>
                  </a:cubicBezTo>
                  <a:lnTo>
                    <a:pt x="14304" y="0"/>
                  </a:lnTo>
                  <a:cubicBezTo>
                    <a:pt x="15848" y="0"/>
                    <a:pt x="16951" y="636"/>
                    <a:pt x="17598" y="1909"/>
                  </a:cubicBezTo>
                  <a:lnTo>
                    <a:pt x="77123" y="99877"/>
                  </a:lnTo>
                  <a:lnTo>
                    <a:pt x="77896" y="99877"/>
                  </a:lnTo>
                  <a:lnTo>
                    <a:pt x="77896" y="1909"/>
                  </a:lnTo>
                  <a:cubicBezTo>
                    <a:pt x="77896" y="636"/>
                    <a:pt x="78536" y="0"/>
                    <a:pt x="79823" y="0"/>
                  </a:cubicBezTo>
                  <a:lnTo>
                    <a:pt x="92008" y="0"/>
                  </a:lnTo>
                  <a:cubicBezTo>
                    <a:pt x="93282" y="0"/>
                    <a:pt x="93929" y="636"/>
                    <a:pt x="93929" y="1909"/>
                  </a:cubicBezTo>
                  <a:lnTo>
                    <a:pt x="93929" y="128682"/>
                  </a:lnTo>
                  <a:cubicBezTo>
                    <a:pt x="93929" y="129961"/>
                    <a:pt x="93282" y="130604"/>
                    <a:pt x="92008" y="130604"/>
                  </a:cubicBezTo>
                  <a:lnTo>
                    <a:pt x="79625" y="130604"/>
                  </a:lnTo>
                  <a:cubicBezTo>
                    <a:pt x="78081" y="130604"/>
                    <a:pt x="76985" y="129961"/>
                    <a:pt x="76351" y="128682"/>
                  </a:cubicBezTo>
                  <a:lnTo>
                    <a:pt x="16634" y="31108"/>
                  </a:lnTo>
                  <a:lnTo>
                    <a:pt x="16046" y="31108"/>
                  </a:lnTo>
                  <a:lnTo>
                    <a:pt x="16046" y="128682"/>
                  </a:lnTo>
                  <a:cubicBezTo>
                    <a:pt x="16046" y="129961"/>
                    <a:pt x="15400" y="130604"/>
                    <a:pt x="14112" y="130604"/>
                  </a:cubicBezTo>
                  <a:lnTo>
                    <a:pt x="1941" y="130604"/>
                  </a:lnTo>
                  <a:cubicBezTo>
                    <a:pt x="647" y="130604"/>
                    <a:pt x="0" y="129961"/>
                    <a:pt x="0" y="128682"/>
                  </a:cubicBezTo>
                  <a:lnTo>
                    <a:pt x="0" y="1909"/>
                  </a:lnTo>
                  <a:close/>
                </a:path>
              </a:pathLst>
            </a:custGeom>
            <a:solidFill>
              <a:schemeClr val="bg2"/>
            </a:solidFill>
            <a:ln w="7" cap="flat">
              <a:noFill/>
              <a:prstDash val="solid"/>
              <a:miter/>
            </a:ln>
          </p:spPr>
          <p:txBody>
            <a:bodyPr rtlCol="0" anchor="ctr"/>
            <a:lstStyle/>
            <a:p>
              <a:endParaRPr lang="de-DE"/>
            </a:p>
          </p:txBody>
        </p:sp>
        <p:sp>
          <p:nvSpPr>
            <p:cNvPr id="16" name="Freeform: Shape 15">
              <a:extLst>
                <a:ext uri="{FF2B5EF4-FFF2-40B4-BE49-F238E27FC236}">
                  <a16:creationId xmlns:a16="http://schemas.microsoft.com/office/drawing/2014/main" id="{20537C16-8F55-4773-9EE8-9A4EE7F80B6D}"/>
                </a:ext>
              </a:extLst>
            </p:cNvPr>
            <p:cNvSpPr/>
            <p:nvPr/>
          </p:nvSpPr>
          <p:spPr>
            <a:xfrm>
              <a:off x="11097134" y="509266"/>
              <a:ext cx="83103" cy="130604"/>
            </a:xfrm>
            <a:custGeom>
              <a:avLst/>
              <a:gdLst>
                <a:gd name="connsiteX0" fmla="*/ 0 w 83103"/>
                <a:gd name="connsiteY0" fmla="*/ 1909 h 130604"/>
                <a:gd name="connsiteX1" fmla="*/ 1947 w 83103"/>
                <a:gd name="connsiteY1" fmla="*/ 0 h 130604"/>
                <a:gd name="connsiteX2" fmla="*/ 81183 w 83103"/>
                <a:gd name="connsiteY2" fmla="*/ 0 h 130604"/>
                <a:gd name="connsiteX3" fmla="*/ 83104 w 83103"/>
                <a:gd name="connsiteY3" fmla="*/ 1909 h 130604"/>
                <a:gd name="connsiteX4" fmla="*/ 83104 w 83103"/>
                <a:gd name="connsiteY4" fmla="*/ 14012 h 130604"/>
                <a:gd name="connsiteX5" fmla="*/ 81183 w 83103"/>
                <a:gd name="connsiteY5" fmla="*/ 15941 h 130604"/>
                <a:gd name="connsiteX6" fmla="*/ 18555 w 83103"/>
                <a:gd name="connsiteY6" fmla="*/ 15941 h 130604"/>
                <a:gd name="connsiteX7" fmla="*/ 17406 w 83103"/>
                <a:gd name="connsiteY7" fmla="*/ 17096 h 130604"/>
                <a:gd name="connsiteX8" fmla="*/ 17406 w 83103"/>
                <a:gd name="connsiteY8" fmla="*/ 55505 h 130604"/>
                <a:gd name="connsiteX9" fmla="*/ 18555 w 83103"/>
                <a:gd name="connsiteY9" fmla="*/ 56646 h 130604"/>
                <a:gd name="connsiteX10" fmla="*/ 71698 w 83103"/>
                <a:gd name="connsiteY10" fmla="*/ 56646 h 130604"/>
                <a:gd name="connsiteX11" fmla="*/ 73645 w 83103"/>
                <a:gd name="connsiteY11" fmla="*/ 58575 h 130604"/>
                <a:gd name="connsiteX12" fmla="*/ 73645 w 83103"/>
                <a:gd name="connsiteY12" fmla="*/ 70678 h 130604"/>
                <a:gd name="connsiteX13" fmla="*/ 71698 w 83103"/>
                <a:gd name="connsiteY13" fmla="*/ 72600 h 130604"/>
                <a:gd name="connsiteX14" fmla="*/ 18555 w 83103"/>
                <a:gd name="connsiteY14" fmla="*/ 72600 h 130604"/>
                <a:gd name="connsiteX15" fmla="*/ 17406 w 83103"/>
                <a:gd name="connsiteY15" fmla="*/ 73748 h 130604"/>
                <a:gd name="connsiteX16" fmla="*/ 17406 w 83103"/>
                <a:gd name="connsiteY16" fmla="*/ 113509 h 130604"/>
                <a:gd name="connsiteX17" fmla="*/ 18555 w 83103"/>
                <a:gd name="connsiteY17" fmla="*/ 114670 h 130604"/>
                <a:gd name="connsiteX18" fmla="*/ 81183 w 83103"/>
                <a:gd name="connsiteY18" fmla="*/ 114670 h 130604"/>
                <a:gd name="connsiteX19" fmla="*/ 83104 w 83103"/>
                <a:gd name="connsiteY19" fmla="*/ 116599 h 130604"/>
                <a:gd name="connsiteX20" fmla="*/ 83104 w 83103"/>
                <a:gd name="connsiteY20" fmla="*/ 128682 h 130604"/>
                <a:gd name="connsiteX21" fmla="*/ 81183 w 83103"/>
                <a:gd name="connsiteY21" fmla="*/ 130604 h 130604"/>
                <a:gd name="connsiteX22" fmla="*/ 1947 w 83103"/>
                <a:gd name="connsiteY22" fmla="*/ 130604 h 130604"/>
                <a:gd name="connsiteX23" fmla="*/ 0 w 83103"/>
                <a:gd name="connsiteY23" fmla="*/ 128682 h 130604"/>
                <a:gd name="connsiteX24" fmla="*/ 0 w 83103"/>
                <a:gd name="connsiteY24"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09"/>
                  </a:moveTo>
                  <a:cubicBezTo>
                    <a:pt x="0" y="636"/>
                    <a:pt x="653" y="0"/>
                    <a:pt x="1947" y="0"/>
                  </a:cubicBezTo>
                  <a:lnTo>
                    <a:pt x="81183" y="0"/>
                  </a:lnTo>
                  <a:cubicBezTo>
                    <a:pt x="82463" y="0"/>
                    <a:pt x="83104" y="636"/>
                    <a:pt x="83104" y="1909"/>
                  </a:cubicBezTo>
                  <a:lnTo>
                    <a:pt x="83104" y="14012"/>
                  </a:lnTo>
                  <a:cubicBezTo>
                    <a:pt x="83104" y="15298"/>
                    <a:pt x="82463" y="15941"/>
                    <a:pt x="81183" y="15941"/>
                  </a:cubicBezTo>
                  <a:lnTo>
                    <a:pt x="18555" y="15941"/>
                  </a:lnTo>
                  <a:cubicBezTo>
                    <a:pt x="17782" y="15941"/>
                    <a:pt x="17406" y="16328"/>
                    <a:pt x="17406" y="17096"/>
                  </a:cubicBezTo>
                  <a:lnTo>
                    <a:pt x="17406" y="55505"/>
                  </a:lnTo>
                  <a:cubicBezTo>
                    <a:pt x="17406" y="56272"/>
                    <a:pt x="17782" y="56646"/>
                    <a:pt x="18555" y="56646"/>
                  </a:cubicBezTo>
                  <a:lnTo>
                    <a:pt x="71698" y="56646"/>
                  </a:lnTo>
                  <a:cubicBezTo>
                    <a:pt x="72991" y="56646"/>
                    <a:pt x="73645" y="57289"/>
                    <a:pt x="73645" y="58575"/>
                  </a:cubicBezTo>
                  <a:lnTo>
                    <a:pt x="73645" y="70678"/>
                  </a:lnTo>
                  <a:cubicBezTo>
                    <a:pt x="73645" y="71964"/>
                    <a:pt x="72991" y="72600"/>
                    <a:pt x="71698" y="72600"/>
                  </a:cubicBezTo>
                  <a:lnTo>
                    <a:pt x="18555" y="72600"/>
                  </a:lnTo>
                  <a:cubicBezTo>
                    <a:pt x="17782" y="72600"/>
                    <a:pt x="17406" y="72981"/>
                    <a:pt x="17406" y="73748"/>
                  </a:cubicBezTo>
                  <a:lnTo>
                    <a:pt x="17406" y="113509"/>
                  </a:lnTo>
                  <a:cubicBezTo>
                    <a:pt x="17406" y="114283"/>
                    <a:pt x="17782" y="114670"/>
                    <a:pt x="18555" y="114670"/>
                  </a:cubicBezTo>
                  <a:lnTo>
                    <a:pt x="81183" y="114670"/>
                  </a:lnTo>
                  <a:cubicBezTo>
                    <a:pt x="82463" y="114670"/>
                    <a:pt x="83104" y="115313"/>
                    <a:pt x="83104" y="116599"/>
                  </a:cubicBezTo>
                  <a:lnTo>
                    <a:pt x="83104" y="128682"/>
                  </a:lnTo>
                  <a:cubicBezTo>
                    <a:pt x="83104" y="129961"/>
                    <a:pt x="82463" y="130604"/>
                    <a:pt x="81183" y="130604"/>
                  </a:cubicBezTo>
                  <a:lnTo>
                    <a:pt x="1947" y="130604"/>
                  </a:lnTo>
                  <a:cubicBezTo>
                    <a:pt x="653" y="130604"/>
                    <a:pt x="0" y="129961"/>
                    <a:pt x="0" y="128682"/>
                  </a:cubicBezTo>
                  <a:lnTo>
                    <a:pt x="0" y="1909"/>
                  </a:lnTo>
                  <a:close/>
                </a:path>
              </a:pathLst>
            </a:custGeom>
            <a:solidFill>
              <a:schemeClr val="bg2"/>
            </a:solidFill>
            <a:ln w="7" cap="flat">
              <a:noFill/>
              <a:prstDash val="solid"/>
              <a:miter/>
            </a:ln>
          </p:spPr>
          <p:txBody>
            <a:bodyPr rtlCol="0" anchor="ctr"/>
            <a:lstStyle/>
            <a:p>
              <a:endParaRPr lang="de-DE"/>
            </a:p>
          </p:txBody>
        </p:sp>
        <p:sp>
          <p:nvSpPr>
            <p:cNvPr id="18" name="Freeform: Shape 17">
              <a:extLst>
                <a:ext uri="{FF2B5EF4-FFF2-40B4-BE49-F238E27FC236}">
                  <a16:creationId xmlns:a16="http://schemas.microsoft.com/office/drawing/2014/main" id="{AA59F1C1-CF0C-4DEA-AD98-A1E743AF4617}"/>
                </a:ext>
              </a:extLst>
            </p:cNvPr>
            <p:cNvSpPr/>
            <p:nvPr/>
          </p:nvSpPr>
          <p:spPr>
            <a:xfrm>
              <a:off x="11203241" y="507147"/>
              <a:ext cx="89457" cy="134835"/>
            </a:xfrm>
            <a:custGeom>
              <a:avLst/>
              <a:gdLst>
                <a:gd name="connsiteX0" fmla="*/ 3485 w 89457"/>
                <a:gd name="connsiteY0" fmla="*/ 104102 h 134835"/>
                <a:gd name="connsiteX1" fmla="*/ 1835 w 89457"/>
                <a:gd name="connsiteY1" fmla="*/ 98250 h 134835"/>
                <a:gd name="connsiteX2" fmla="*/ 779 w 89457"/>
                <a:gd name="connsiteY2" fmla="*/ 91146 h 134835"/>
                <a:gd name="connsiteX3" fmla="*/ 178 w 89457"/>
                <a:gd name="connsiteY3" fmla="*/ 81246 h 134835"/>
                <a:gd name="connsiteX4" fmla="*/ 0 w 89457"/>
                <a:gd name="connsiteY4" fmla="*/ 67424 h 134835"/>
                <a:gd name="connsiteX5" fmla="*/ 178 w 89457"/>
                <a:gd name="connsiteY5" fmla="*/ 53589 h 134835"/>
                <a:gd name="connsiteX6" fmla="*/ 779 w 89457"/>
                <a:gd name="connsiteY6" fmla="*/ 43690 h 134835"/>
                <a:gd name="connsiteX7" fmla="*/ 1835 w 89457"/>
                <a:gd name="connsiteY7" fmla="*/ 36579 h 134835"/>
                <a:gd name="connsiteX8" fmla="*/ 3485 w 89457"/>
                <a:gd name="connsiteY8" fmla="*/ 30734 h 134835"/>
                <a:gd name="connsiteX9" fmla="*/ 19717 w 89457"/>
                <a:gd name="connsiteY9" fmla="*/ 7583 h 134835"/>
                <a:gd name="connsiteX10" fmla="*/ 47143 w 89457"/>
                <a:gd name="connsiteY10" fmla="*/ 0 h 134835"/>
                <a:gd name="connsiteX11" fmla="*/ 72760 w 89457"/>
                <a:gd name="connsiteY11" fmla="*/ 6829 h 134835"/>
                <a:gd name="connsiteX12" fmla="*/ 89289 w 89457"/>
                <a:gd name="connsiteY12" fmla="*/ 26306 h 134835"/>
                <a:gd name="connsiteX13" fmla="*/ 88516 w 89457"/>
                <a:gd name="connsiteY13" fmla="*/ 28805 h 134835"/>
                <a:gd name="connsiteX14" fmla="*/ 76912 w 89457"/>
                <a:gd name="connsiteY14" fmla="*/ 34381 h 134835"/>
                <a:gd name="connsiteX15" fmla="*/ 74206 w 89457"/>
                <a:gd name="connsiteY15" fmla="*/ 33410 h 134835"/>
                <a:gd name="connsiteX16" fmla="*/ 63988 w 89457"/>
                <a:gd name="connsiteY16" fmla="*/ 20841 h 134835"/>
                <a:gd name="connsiteX17" fmla="*/ 47143 w 89457"/>
                <a:gd name="connsiteY17" fmla="*/ 15948 h 134835"/>
                <a:gd name="connsiteX18" fmla="*/ 29769 w 89457"/>
                <a:gd name="connsiteY18" fmla="*/ 20946 h 134835"/>
                <a:gd name="connsiteX19" fmla="*/ 19915 w 89457"/>
                <a:gd name="connsiteY19" fmla="*/ 35142 h 134835"/>
                <a:gd name="connsiteX20" fmla="*/ 18852 w 89457"/>
                <a:gd name="connsiteY20" fmla="*/ 39662 h 134835"/>
                <a:gd name="connsiteX21" fmla="*/ 18066 w 89457"/>
                <a:gd name="connsiteY21" fmla="*/ 45619 h 134835"/>
                <a:gd name="connsiteX22" fmla="*/ 17591 w 89457"/>
                <a:gd name="connsiteY22" fmla="*/ 54455 h 134835"/>
                <a:gd name="connsiteX23" fmla="*/ 17400 w 89457"/>
                <a:gd name="connsiteY23" fmla="*/ 67424 h 134835"/>
                <a:gd name="connsiteX24" fmla="*/ 17591 w 89457"/>
                <a:gd name="connsiteY24" fmla="*/ 80380 h 134835"/>
                <a:gd name="connsiteX25" fmla="*/ 18066 w 89457"/>
                <a:gd name="connsiteY25" fmla="*/ 89217 h 134835"/>
                <a:gd name="connsiteX26" fmla="*/ 18852 w 89457"/>
                <a:gd name="connsiteY26" fmla="*/ 95272 h 134835"/>
                <a:gd name="connsiteX27" fmla="*/ 19915 w 89457"/>
                <a:gd name="connsiteY27" fmla="*/ 99693 h 134835"/>
                <a:gd name="connsiteX28" fmla="*/ 29769 w 89457"/>
                <a:gd name="connsiteY28" fmla="*/ 113902 h 134835"/>
                <a:gd name="connsiteX29" fmla="*/ 47143 w 89457"/>
                <a:gd name="connsiteY29" fmla="*/ 118901 h 134835"/>
                <a:gd name="connsiteX30" fmla="*/ 63988 w 89457"/>
                <a:gd name="connsiteY30" fmla="*/ 114001 h 134835"/>
                <a:gd name="connsiteX31" fmla="*/ 74206 w 89457"/>
                <a:gd name="connsiteY31" fmla="*/ 101412 h 134835"/>
                <a:gd name="connsiteX32" fmla="*/ 76912 w 89457"/>
                <a:gd name="connsiteY32" fmla="*/ 100461 h 134835"/>
                <a:gd name="connsiteX33" fmla="*/ 88516 w 89457"/>
                <a:gd name="connsiteY33" fmla="*/ 106030 h 134835"/>
                <a:gd name="connsiteX34" fmla="*/ 89289 w 89457"/>
                <a:gd name="connsiteY34" fmla="*/ 108530 h 134835"/>
                <a:gd name="connsiteX35" fmla="*/ 72760 w 89457"/>
                <a:gd name="connsiteY35" fmla="*/ 128013 h 134835"/>
                <a:gd name="connsiteX36" fmla="*/ 47143 w 89457"/>
                <a:gd name="connsiteY36" fmla="*/ 134836 h 134835"/>
                <a:gd name="connsiteX37" fmla="*/ 19717 w 89457"/>
                <a:gd name="connsiteY37" fmla="*/ 127246 h 134835"/>
                <a:gd name="connsiteX38" fmla="*/ 3485 w 89457"/>
                <a:gd name="connsiteY38" fmla="*/ 104102 h 134835"/>
                <a:gd name="connsiteX39" fmla="*/ 3485 w 89457"/>
                <a:gd name="connsiteY39" fmla="*/ 104102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9457" h="134835">
                  <a:moveTo>
                    <a:pt x="3485" y="104102"/>
                  </a:moveTo>
                  <a:cubicBezTo>
                    <a:pt x="2825" y="102180"/>
                    <a:pt x="2284" y="100238"/>
                    <a:pt x="1835" y="98250"/>
                  </a:cubicBezTo>
                  <a:cubicBezTo>
                    <a:pt x="1373" y="96275"/>
                    <a:pt x="1036" y="93894"/>
                    <a:pt x="779" y="91146"/>
                  </a:cubicBezTo>
                  <a:cubicBezTo>
                    <a:pt x="521" y="88390"/>
                    <a:pt x="323" y="85091"/>
                    <a:pt x="178" y="81246"/>
                  </a:cubicBezTo>
                  <a:cubicBezTo>
                    <a:pt x="59" y="77415"/>
                    <a:pt x="0" y="72804"/>
                    <a:pt x="0" y="67424"/>
                  </a:cubicBezTo>
                  <a:cubicBezTo>
                    <a:pt x="0" y="62039"/>
                    <a:pt x="59" y="57427"/>
                    <a:pt x="178" y="53589"/>
                  </a:cubicBezTo>
                  <a:cubicBezTo>
                    <a:pt x="323" y="49745"/>
                    <a:pt x="515" y="46452"/>
                    <a:pt x="779" y="43690"/>
                  </a:cubicBezTo>
                  <a:cubicBezTo>
                    <a:pt x="1036" y="40941"/>
                    <a:pt x="1373" y="38580"/>
                    <a:pt x="1835" y="36579"/>
                  </a:cubicBezTo>
                  <a:cubicBezTo>
                    <a:pt x="2284" y="34598"/>
                    <a:pt x="2825" y="32643"/>
                    <a:pt x="3485" y="30734"/>
                  </a:cubicBezTo>
                  <a:cubicBezTo>
                    <a:pt x="6819" y="20362"/>
                    <a:pt x="12244" y="12641"/>
                    <a:pt x="19717" y="7583"/>
                  </a:cubicBezTo>
                  <a:cubicBezTo>
                    <a:pt x="27189" y="2532"/>
                    <a:pt x="36344" y="0"/>
                    <a:pt x="47143" y="0"/>
                  </a:cubicBezTo>
                  <a:cubicBezTo>
                    <a:pt x="56945" y="0"/>
                    <a:pt x="65493" y="2270"/>
                    <a:pt x="72760" y="6829"/>
                  </a:cubicBezTo>
                  <a:cubicBezTo>
                    <a:pt x="80054" y="11362"/>
                    <a:pt x="85553" y="17856"/>
                    <a:pt x="89289" y="26306"/>
                  </a:cubicBezTo>
                  <a:cubicBezTo>
                    <a:pt x="89665" y="27460"/>
                    <a:pt x="89414" y="28307"/>
                    <a:pt x="88516" y="28805"/>
                  </a:cubicBezTo>
                  <a:lnTo>
                    <a:pt x="76912" y="34381"/>
                  </a:lnTo>
                  <a:cubicBezTo>
                    <a:pt x="75638" y="35024"/>
                    <a:pt x="74727" y="34696"/>
                    <a:pt x="74206" y="33410"/>
                  </a:cubicBezTo>
                  <a:cubicBezTo>
                    <a:pt x="71625" y="28307"/>
                    <a:pt x="68232" y="24115"/>
                    <a:pt x="63988" y="20841"/>
                  </a:cubicBezTo>
                  <a:cubicBezTo>
                    <a:pt x="59730" y="17574"/>
                    <a:pt x="54120" y="15948"/>
                    <a:pt x="47143" y="15948"/>
                  </a:cubicBezTo>
                  <a:cubicBezTo>
                    <a:pt x="39941" y="15948"/>
                    <a:pt x="34146" y="17607"/>
                    <a:pt x="29769" y="20946"/>
                  </a:cubicBezTo>
                  <a:cubicBezTo>
                    <a:pt x="25380" y="24272"/>
                    <a:pt x="22106" y="29002"/>
                    <a:pt x="19915" y="35142"/>
                  </a:cubicBezTo>
                  <a:cubicBezTo>
                    <a:pt x="19518" y="36553"/>
                    <a:pt x="19169" y="38068"/>
                    <a:pt x="18852" y="39662"/>
                  </a:cubicBezTo>
                  <a:cubicBezTo>
                    <a:pt x="18528" y="41263"/>
                    <a:pt x="18271" y="43250"/>
                    <a:pt x="18066" y="45619"/>
                  </a:cubicBezTo>
                  <a:cubicBezTo>
                    <a:pt x="17895" y="47987"/>
                    <a:pt x="17710" y="50932"/>
                    <a:pt x="17591" y="54455"/>
                  </a:cubicBezTo>
                  <a:cubicBezTo>
                    <a:pt x="17452" y="57978"/>
                    <a:pt x="17400" y="62288"/>
                    <a:pt x="17400" y="67424"/>
                  </a:cubicBezTo>
                  <a:cubicBezTo>
                    <a:pt x="17400" y="72541"/>
                    <a:pt x="17452" y="76864"/>
                    <a:pt x="17591" y="80380"/>
                  </a:cubicBezTo>
                  <a:cubicBezTo>
                    <a:pt x="17710" y="83910"/>
                    <a:pt x="17895" y="86849"/>
                    <a:pt x="18066" y="89217"/>
                  </a:cubicBezTo>
                  <a:cubicBezTo>
                    <a:pt x="18271" y="91585"/>
                    <a:pt x="18528" y="93612"/>
                    <a:pt x="18852" y="95272"/>
                  </a:cubicBezTo>
                  <a:cubicBezTo>
                    <a:pt x="19169" y="96938"/>
                    <a:pt x="19518" y="98408"/>
                    <a:pt x="19915" y="99693"/>
                  </a:cubicBezTo>
                  <a:cubicBezTo>
                    <a:pt x="22106" y="105833"/>
                    <a:pt x="25373" y="110576"/>
                    <a:pt x="29769" y="113902"/>
                  </a:cubicBezTo>
                  <a:cubicBezTo>
                    <a:pt x="34146" y="117241"/>
                    <a:pt x="39941" y="118901"/>
                    <a:pt x="47143" y="118901"/>
                  </a:cubicBezTo>
                  <a:cubicBezTo>
                    <a:pt x="54120" y="118901"/>
                    <a:pt x="59730" y="117268"/>
                    <a:pt x="63988" y="114001"/>
                  </a:cubicBezTo>
                  <a:cubicBezTo>
                    <a:pt x="68232" y="110734"/>
                    <a:pt x="71625" y="106542"/>
                    <a:pt x="74206" y="101412"/>
                  </a:cubicBezTo>
                  <a:cubicBezTo>
                    <a:pt x="74727" y="100146"/>
                    <a:pt x="75638" y="99824"/>
                    <a:pt x="76912" y="100461"/>
                  </a:cubicBezTo>
                  <a:lnTo>
                    <a:pt x="88516" y="106030"/>
                  </a:lnTo>
                  <a:cubicBezTo>
                    <a:pt x="89414" y="106542"/>
                    <a:pt x="89665" y="107369"/>
                    <a:pt x="89289" y="108530"/>
                  </a:cubicBezTo>
                  <a:cubicBezTo>
                    <a:pt x="85553" y="116979"/>
                    <a:pt x="80048" y="123480"/>
                    <a:pt x="72760" y="128013"/>
                  </a:cubicBezTo>
                  <a:cubicBezTo>
                    <a:pt x="65493" y="132566"/>
                    <a:pt x="56945" y="134836"/>
                    <a:pt x="47143" y="134836"/>
                  </a:cubicBezTo>
                  <a:cubicBezTo>
                    <a:pt x="36344" y="134836"/>
                    <a:pt x="27189" y="132303"/>
                    <a:pt x="19717" y="127246"/>
                  </a:cubicBezTo>
                  <a:cubicBezTo>
                    <a:pt x="12244" y="122194"/>
                    <a:pt x="6819" y="114486"/>
                    <a:pt x="3485" y="104102"/>
                  </a:cubicBezTo>
                  <a:lnTo>
                    <a:pt x="3485" y="104102"/>
                  </a:lnTo>
                  <a:close/>
                </a:path>
              </a:pathLst>
            </a:custGeom>
            <a:solidFill>
              <a:schemeClr val="bg2"/>
            </a:solidFill>
            <a:ln w="7" cap="flat">
              <a:noFill/>
              <a:prstDash val="solid"/>
              <a:miter/>
            </a:ln>
          </p:spPr>
          <p:txBody>
            <a:bodyPr rtlCol="0" anchor="ctr"/>
            <a:lstStyle/>
            <a:p>
              <a:endParaRPr lang="de-DE"/>
            </a:p>
          </p:txBody>
        </p:sp>
        <p:sp>
          <p:nvSpPr>
            <p:cNvPr id="19" name="Freeform: Shape 18">
              <a:extLst>
                <a:ext uri="{FF2B5EF4-FFF2-40B4-BE49-F238E27FC236}">
                  <a16:creationId xmlns:a16="http://schemas.microsoft.com/office/drawing/2014/main" id="{1405D853-ABF5-48B1-BDC7-2A6F6DD88832}"/>
                </a:ext>
              </a:extLst>
            </p:cNvPr>
            <p:cNvSpPr/>
            <p:nvPr/>
          </p:nvSpPr>
          <p:spPr>
            <a:xfrm>
              <a:off x="11319197" y="509266"/>
              <a:ext cx="97302" cy="130604"/>
            </a:xfrm>
            <a:custGeom>
              <a:avLst/>
              <a:gdLst>
                <a:gd name="connsiteX0" fmla="*/ 0 w 97302"/>
                <a:gd name="connsiteY0" fmla="*/ 1909 h 130604"/>
                <a:gd name="connsiteX1" fmla="*/ 1947 w 97302"/>
                <a:gd name="connsiteY1" fmla="*/ 0 h 130604"/>
                <a:gd name="connsiteX2" fmla="*/ 15439 w 97302"/>
                <a:gd name="connsiteY2" fmla="*/ 0 h 130604"/>
                <a:gd name="connsiteX3" fmla="*/ 17413 w 97302"/>
                <a:gd name="connsiteY3" fmla="*/ 1909 h 130604"/>
                <a:gd name="connsiteX4" fmla="*/ 17413 w 97302"/>
                <a:gd name="connsiteY4" fmla="*/ 69911 h 130604"/>
                <a:gd name="connsiteX5" fmla="*/ 73051 w 97302"/>
                <a:gd name="connsiteY5" fmla="*/ 1725 h 130604"/>
                <a:gd name="connsiteX6" fmla="*/ 76153 w 97302"/>
                <a:gd name="connsiteY6" fmla="*/ 0 h 130604"/>
                <a:gd name="connsiteX7" fmla="*/ 92002 w 97302"/>
                <a:gd name="connsiteY7" fmla="*/ 0 h 130604"/>
                <a:gd name="connsiteX8" fmla="*/ 93256 w 97302"/>
                <a:gd name="connsiteY8" fmla="*/ 669 h 130604"/>
                <a:gd name="connsiteX9" fmla="*/ 92774 w 97302"/>
                <a:gd name="connsiteY9" fmla="*/ 2296 h 130604"/>
                <a:gd name="connsiteX10" fmla="*/ 51796 w 97302"/>
                <a:gd name="connsiteY10" fmla="*/ 51280 h 130604"/>
                <a:gd name="connsiteX11" fmla="*/ 96833 w 97302"/>
                <a:gd name="connsiteY11" fmla="*/ 128485 h 130604"/>
                <a:gd name="connsiteX12" fmla="*/ 95678 w 97302"/>
                <a:gd name="connsiteY12" fmla="*/ 130604 h 130604"/>
                <a:gd name="connsiteX13" fmla="*/ 80206 w 97302"/>
                <a:gd name="connsiteY13" fmla="*/ 130604 h 130604"/>
                <a:gd name="connsiteX14" fmla="*/ 77500 w 97302"/>
                <a:gd name="connsiteY14" fmla="*/ 128872 h 130604"/>
                <a:gd name="connsiteX15" fmla="*/ 40714 w 97302"/>
                <a:gd name="connsiteY15" fmla="*/ 64531 h 130604"/>
                <a:gd name="connsiteX16" fmla="*/ 17413 w 97302"/>
                <a:gd name="connsiteY16" fmla="*/ 92582 h 130604"/>
                <a:gd name="connsiteX17" fmla="*/ 17413 w 97302"/>
                <a:gd name="connsiteY17" fmla="*/ 128682 h 130604"/>
                <a:gd name="connsiteX18" fmla="*/ 15439 w 97302"/>
                <a:gd name="connsiteY18" fmla="*/ 130604 h 130604"/>
                <a:gd name="connsiteX19" fmla="*/ 1947 w 97302"/>
                <a:gd name="connsiteY19" fmla="*/ 130604 h 130604"/>
                <a:gd name="connsiteX20" fmla="*/ 0 w 97302"/>
                <a:gd name="connsiteY20" fmla="*/ 128682 h 130604"/>
                <a:gd name="connsiteX21" fmla="*/ 0 w 97302"/>
                <a:gd name="connsiteY21"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302" h="130604">
                  <a:moveTo>
                    <a:pt x="0" y="1909"/>
                  </a:moveTo>
                  <a:cubicBezTo>
                    <a:pt x="0" y="636"/>
                    <a:pt x="653" y="0"/>
                    <a:pt x="1947" y="0"/>
                  </a:cubicBezTo>
                  <a:lnTo>
                    <a:pt x="15439" y="0"/>
                  </a:lnTo>
                  <a:cubicBezTo>
                    <a:pt x="16753" y="0"/>
                    <a:pt x="17413" y="636"/>
                    <a:pt x="17413" y="1909"/>
                  </a:cubicBezTo>
                  <a:lnTo>
                    <a:pt x="17413" y="69911"/>
                  </a:lnTo>
                  <a:lnTo>
                    <a:pt x="73051" y="1725"/>
                  </a:lnTo>
                  <a:cubicBezTo>
                    <a:pt x="73823" y="571"/>
                    <a:pt x="74859" y="0"/>
                    <a:pt x="76153" y="0"/>
                  </a:cubicBezTo>
                  <a:lnTo>
                    <a:pt x="92002" y="0"/>
                  </a:lnTo>
                  <a:cubicBezTo>
                    <a:pt x="92642" y="0"/>
                    <a:pt x="93058" y="223"/>
                    <a:pt x="93256" y="669"/>
                  </a:cubicBezTo>
                  <a:cubicBezTo>
                    <a:pt x="93454" y="1122"/>
                    <a:pt x="93276" y="1666"/>
                    <a:pt x="92774" y="2296"/>
                  </a:cubicBezTo>
                  <a:lnTo>
                    <a:pt x="51796" y="51280"/>
                  </a:lnTo>
                  <a:lnTo>
                    <a:pt x="96833" y="128485"/>
                  </a:lnTo>
                  <a:cubicBezTo>
                    <a:pt x="97724" y="129909"/>
                    <a:pt x="97348" y="130604"/>
                    <a:pt x="95678" y="130604"/>
                  </a:cubicBezTo>
                  <a:lnTo>
                    <a:pt x="80206" y="130604"/>
                  </a:lnTo>
                  <a:cubicBezTo>
                    <a:pt x="79057" y="130604"/>
                    <a:pt x="78140" y="130034"/>
                    <a:pt x="77500" y="128872"/>
                  </a:cubicBezTo>
                  <a:lnTo>
                    <a:pt x="40714" y="64531"/>
                  </a:lnTo>
                  <a:lnTo>
                    <a:pt x="17413" y="92582"/>
                  </a:lnTo>
                  <a:lnTo>
                    <a:pt x="17413" y="128682"/>
                  </a:lnTo>
                  <a:cubicBezTo>
                    <a:pt x="17413" y="129961"/>
                    <a:pt x="16753" y="130604"/>
                    <a:pt x="15439" y="130604"/>
                  </a:cubicBezTo>
                  <a:lnTo>
                    <a:pt x="1947" y="130604"/>
                  </a:lnTo>
                  <a:cubicBezTo>
                    <a:pt x="653" y="130604"/>
                    <a:pt x="0" y="129961"/>
                    <a:pt x="0" y="128682"/>
                  </a:cubicBezTo>
                  <a:lnTo>
                    <a:pt x="0" y="1909"/>
                  </a:lnTo>
                  <a:close/>
                </a:path>
              </a:pathLst>
            </a:custGeom>
            <a:solidFill>
              <a:schemeClr val="bg2"/>
            </a:solidFill>
            <a:ln w="7" cap="flat">
              <a:noFill/>
              <a:prstDash val="solid"/>
              <a:miter/>
            </a:ln>
          </p:spPr>
          <p:txBody>
            <a:bodyPr rtlCol="0" anchor="ctr"/>
            <a:lstStyle/>
            <a:p>
              <a:endParaRPr lang="de-DE"/>
            </a:p>
          </p:txBody>
        </p:sp>
        <p:sp>
          <p:nvSpPr>
            <p:cNvPr id="20" name="Freeform: Shape 19">
              <a:extLst>
                <a:ext uri="{FF2B5EF4-FFF2-40B4-BE49-F238E27FC236}">
                  <a16:creationId xmlns:a16="http://schemas.microsoft.com/office/drawing/2014/main" id="{71700316-6D67-4D9A-9F22-8BBE69847C55}"/>
                </a:ext>
              </a:extLst>
            </p:cNvPr>
            <p:cNvSpPr/>
            <p:nvPr/>
          </p:nvSpPr>
          <p:spPr>
            <a:xfrm>
              <a:off x="11440183" y="509266"/>
              <a:ext cx="83123" cy="130604"/>
            </a:xfrm>
            <a:custGeom>
              <a:avLst/>
              <a:gdLst>
                <a:gd name="connsiteX0" fmla="*/ 0 w 83123"/>
                <a:gd name="connsiteY0" fmla="*/ 1909 h 130604"/>
                <a:gd name="connsiteX1" fmla="*/ 1947 w 83123"/>
                <a:gd name="connsiteY1" fmla="*/ 0 h 130604"/>
                <a:gd name="connsiteX2" fmla="*/ 81190 w 83123"/>
                <a:gd name="connsiteY2" fmla="*/ 0 h 130604"/>
                <a:gd name="connsiteX3" fmla="*/ 83124 w 83123"/>
                <a:gd name="connsiteY3" fmla="*/ 1909 h 130604"/>
                <a:gd name="connsiteX4" fmla="*/ 83124 w 83123"/>
                <a:gd name="connsiteY4" fmla="*/ 14012 h 130604"/>
                <a:gd name="connsiteX5" fmla="*/ 81190 w 83123"/>
                <a:gd name="connsiteY5" fmla="*/ 15941 h 130604"/>
                <a:gd name="connsiteX6" fmla="*/ 18555 w 83123"/>
                <a:gd name="connsiteY6" fmla="*/ 15941 h 130604"/>
                <a:gd name="connsiteX7" fmla="*/ 17406 w 83123"/>
                <a:gd name="connsiteY7" fmla="*/ 17096 h 130604"/>
                <a:gd name="connsiteX8" fmla="*/ 17406 w 83123"/>
                <a:gd name="connsiteY8" fmla="*/ 55505 h 130604"/>
                <a:gd name="connsiteX9" fmla="*/ 18555 w 83123"/>
                <a:gd name="connsiteY9" fmla="*/ 56646 h 130604"/>
                <a:gd name="connsiteX10" fmla="*/ 71704 w 83123"/>
                <a:gd name="connsiteY10" fmla="*/ 56646 h 130604"/>
                <a:gd name="connsiteX11" fmla="*/ 73658 w 83123"/>
                <a:gd name="connsiteY11" fmla="*/ 58575 h 130604"/>
                <a:gd name="connsiteX12" fmla="*/ 73658 w 83123"/>
                <a:gd name="connsiteY12" fmla="*/ 70678 h 130604"/>
                <a:gd name="connsiteX13" fmla="*/ 71704 w 83123"/>
                <a:gd name="connsiteY13" fmla="*/ 72600 h 130604"/>
                <a:gd name="connsiteX14" fmla="*/ 18555 w 83123"/>
                <a:gd name="connsiteY14" fmla="*/ 72600 h 130604"/>
                <a:gd name="connsiteX15" fmla="*/ 17406 w 83123"/>
                <a:gd name="connsiteY15" fmla="*/ 73748 h 130604"/>
                <a:gd name="connsiteX16" fmla="*/ 17406 w 83123"/>
                <a:gd name="connsiteY16" fmla="*/ 113509 h 130604"/>
                <a:gd name="connsiteX17" fmla="*/ 18555 w 83123"/>
                <a:gd name="connsiteY17" fmla="*/ 114670 h 130604"/>
                <a:gd name="connsiteX18" fmla="*/ 81190 w 83123"/>
                <a:gd name="connsiteY18" fmla="*/ 114670 h 130604"/>
                <a:gd name="connsiteX19" fmla="*/ 83124 w 83123"/>
                <a:gd name="connsiteY19" fmla="*/ 116599 h 130604"/>
                <a:gd name="connsiteX20" fmla="*/ 83124 w 83123"/>
                <a:gd name="connsiteY20" fmla="*/ 128682 h 130604"/>
                <a:gd name="connsiteX21" fmla="*/ 81190 w 83123"/>
                <a:gd name="connsiteY21" fmla="*/ 130604 h 130604"/>
                <a:gd name="connsiteX22" fmla="*/ 1954 w 83123"/>
                <a:gd name="connsiteY22" fmla="*/ 130604 h 130604"/>
                <a:gd name="connsiteX23" fmla="*/ 0 w 83123"/>
                <a:gd name="connsiteY23" fmla="*/ 128682 h 130604"/>
                <a:gd name="connsiteX24" fmla="*/ 0 w 83123"/>
                <a:gd name="connsiteY24"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23" h="130604">
                  <a:moveTo>
                    <a:pt x="0" y="1909"/>
                  </a:moveTo>
                  <a:cubicBezTo>
                    <a:pt x="0" y="636"/>
                    <a:pt x="660" y="0"/>
                    <a:pt x="1947" y="0"/>
                  </a:cubicBezTo>
                  <a:lnTo>
                    <a:pt x="81190" y="0"/>
                  </a:lnTo>
                  <a:cubicBezTo>
                    <a:pt x="82483" y="0"/>
                    <a:pt x="83124" y="636"/>
                    <a:pt x="83124" y="1909"/>
                  </a:cubicBezTo>
                  <a:lnTo>
                    <a:pt x="83124" y="14012"/>
                  </a:lnTo>
                  <a:cubicBezTo>
                    <a:pt x="83124" y="15298"/>
                    <a:pt x="82483" y="15941"/>
                    <a:pt x="81190" y="15941"/>
                  </a:cubicBezTo>
                  <a:lnTo>
                    <a:pt x="18555" y="15941"/>
                  </a:lnTo>
                  <a:cubicBezTo>
                    <a:pt x="17782" y="15941"/>
                    <a:pt x="17406" y="16328"/>
                    <a:pt x="17406" y="17096"/>
                  </a:cubicBezTo>
                  <a:lnTo>
                    <a:pt x="17406" y="55505"/>
                  </a:lnTo>
                  <a:cubicBezTo>
                    <a:pt x="17406" y="56272"/>
                    <a:pt x="17782" y="56646"/>
                    <a:pt x="18555" y="56646"/>
                  </a:cubicBezTo>
                  <a:lnTo>
                    <a:pt x="71704" y="56646"/>
                  </a:lnTo>
                  <a:cubicBezTo>
                    <a:pt x="73005" y="56646"/>
                    <a:pt x="73658" y="57289"/>
                    <a:pt x="73658" y="58575"/>
                  </a:cubicBezTo>
                  <a:lnTo>
                    <a:pt x="73658" y="70678"/>
                  </a:lnTo>
                  <a:cubicBezTo>
                    <a:pt x="73658" y="71964"/>
                    <a:pt x="72998" y="72600"/>
                    <a:pt x="71704" y="72600"/>
                  </a:cubicBezTo>
                  <a:lnTo>
                    <a:pt x="18555" y="72600"/>
                  </a:lnTo>
                  <a:cubicBezTo>
                    <a:pt x="17782" y="72600"/>
                    <a:pt x="17406" y="72981"/>
                    <a:pt x="17406" y="73748"/>
                  </a:cubicBezTo>
                  <a:lnTo>
                    <a:pt x="17406" y="113509"/>
                  </a:lnTo>
                  <a:cubicBezTo>
                    <a:pt x="17406" y="114283"/>
                    <a:pt x="17782" y="114670"/>
                    <a:pt x="18555" y="114670"/>
                  </a:cubicBezTo>
                  <a:lnTo>
                    <a:pt x="81190" y="114670"/>
                  </a:lnTo>
                  <a:cubicBezTo>
                    <a:pt x="82483" y="114670"/>
                    <a:pt x="83124" y="115313"/>
                    <a:pt x="83124" y="116599"/>
                  </a:cubicBezTo>
                  <a:lnTo>
                    <a:pt x="83124" y="128682"/>
                  </a:lnTo>
                  <a:cubicBezTo>
                    <a:pt x="83124" y="129961"/>
                    <a:pt x="82483" y="130604"/>
                    <a:pt x="81190" y="130604"/>
                  </a:cubicBezTo>
                  <a:lnTo>
                    <a:pt x="1954" y="130604"/>
                  </a:lnTo>
                  <a:cubicBezTo>
                    <a:pt x="660" y="130604"/>
                    <a:pt x="0" y="129961"/>
                    <a:pt x="0" y="128682"/>
                  </a:cubicBezTo>
                  <a:lnTo>
                    <a:pt x="0" y="1909"/>
                  </a:lnTo>
                  <a:close/>
                </a:path>
              </a:pathLst>
            </a:custGeom>
            <a:solidFill>
              <a:schemeClr val="bg2"/>
            </a:solidFill>
            <a:ln w="7" cap="flat">
              <a:noFill/>
              <a:prstDash val="solid"/>
              <a:miter/>
            </a:ln>
          </p:spPr>
          <p:txBody>
            <a:bodyPr rtlCol="0" anchor="ctr"/>
            <a:lstStyle/>
            <a:p>
              <a:endParaRPr lang="de-DE"/>
            </a:p>
          </p:txBody>
        </p:sp>
        <p:sp>
          <p:nvSpPr>
            <p:cNvPr id="21" name="Freeform: Shape 20">
              <a:extLst>
                <a:ext uri="{FF2B5EF4-FFF2-40B4-BE49-F238E27FC236}">
                  <a16:creationId xmlns:a16="http://schemas.microsoft.com/office/drawing/2014/main" id="{A8A2E936-EFF8-4523-9CF6-7E1B69FE016E}"/>
                </a:ext>
              </a:extLst>
            </p:cNvPr>
            <p:cNvSpPr/>
            <p:nvPr/>
          </p:nvSpPr>
          <p:spPr>
            <a:xfrm>
              <a:off x="10721255" y="713389"/>
              <a:ext cx="94851" cy="134835"/>
            </a:xfrm>
            <a:custGeom>
              <a:avLst/>
              <a:gdLst>
                <a:gd name="connsiteX0" fmla="*/ 46917 w 94851"/>
                <a:gd name="connsiteY0" fmla="*/ 134836 h 134835"/>
                <a:gd name="connsiteX1" fmla="*/ 33194 w 94851"/>
                <a:gd name="connsiteY1" fmla="*/ 133484 h 134835"/>
                <a:gd name="connsiteX2" fmla="*/ 20434 w 94851"/>
                <a:gd name="connsiteY2" fmla="*/ 129929 h 134835"/>
                <a:gd name="connsiteX3" fmla="*/ 9437 w 94851"/>
                <a:gd name="connsiteY3" fmla="*/ 124753 h 134835"/>
                <a:gd name="connsiteX4" fmla="*/ 724 w 94851"/>
                <a:gd name="connsiteY4" fmla="*/ 118508 h 134835"/>
                <a:gd name="connsiteX5" fmla="*/ 539 w 94851"/>
                <a:gd name="connsiteY5" fmla="*/ 115628 h 134835"/>
                <a:gd name="connsiteX6" fmla="*/ 9048 w 94851"/>
                <a:gd name="connsiteY6" fmla="*/ 105643 h 134835"/>
                <a:gd name="connsiteX7" fmla="*/ 11748 w 94851"/>
                <a:gd name="connsiteY7" fmla="*/ 105446 h 134835"/>
                <a:gd name="connsiteX8" fmla="*/ 27596 w 94851"/>
                <a:gd name="connsiteY8" fmla="*/ 114670 h 134835"/>
                <a:gd name="connsiteX9" fmla="*/ 48468 w 94851"/>
                <a:gd name="connsiteY9" fmla="*/ 118888 h 134835"/>
                <a:gd name="connsiteX10" fmla="*/ 69828 w 94851"/>
                <a:gd name="connsiteY10" fmla="*/ 112748 h 134835"/>
                <a:gd name="connsiteX11" fmla="*/ 77458 w 94851"/>
                <a:gd name="connsiteY11" fmla="*/ 96610 h 134835"/>
                <a:gd name="connsiteX12" fmla="*/ 76105 w 94851"/>
                <a:gd name="connsiteY12" fmla="*/ 88928 h 134835"/>
                <a:gd name="connsiteX13" fmla="*/ 71564 w 94851"/>
                <a:gd name="connsiteY13" fmla="*/ 82781 h 134835"/>
                <a:gd name="connsiteX14" fmla="*/ 63168 w 94851"/>
                <a:gd name="connsiteY14" fmla="*/ 78163 h 134835"/>
                <a:gd name="connsiteX15" fmla="*/ 50012 w 94851"/>
                <a:gd name="connsiteY15" fmla="*/ 75303 h 134835"/>
                <a:gd name="connsiteX16" fmla="*/ 43438 w 94851"/>
                <a:gd name="connsiteY16" fmla="*/ 74326 h 134835"/>
                <a:gd name="connsiteX17" fmla="*/ 4790 w 94851"/>
                <a:gd name="connsiteY17" fmla="*/ 38219 h 134835"/>
                <a:gd name="connsiteX18" fmla="*/ 7781 w 94851"/>
                <a:gd name="connsiteY18" fmla="*/ 22462 h 134835"/>
                <a:gd name="connsiteX19" fmla="*/ 16388 w 94851"/>
                <a:gd name="connsiteY19" fmla="*/ 10371 h 134835"/>
                <a:gd name="connsiteX20" fmla="*/ 29906 w 94851"/>
                <a:gd name="connsiteY20" fmla="*/ 2683 h 134835"/>
                <a:gd name="connsiteX21" fmla="*/ 47689 w 94851"/>
                <a:gd name="connsiteY21" fmla="*/ 0 h 134835"/>
                <a:gd name="connsiteX22" fmla="*/ 69828 w 94851"/>
                <a:gd name="connsiteY22" fmla="*/ 3352 h 134835"/>
                <a:gd name="connsiteX23" fmla="*/ 87703 w 94851"/>
                <a:gd name="connsiteY23" fmla="*/ 12097 h 134835"/>
                <a:gd name="connsiteX24" fmla="*/ 88086 w 94851"/>
                <a:gd name="connsiteY24" fmla="*/ 14786 h 134835"/>
                <a:gd name="connsiteX25" fmla="*/ 81518 w 94851"/>
                <a:gd name="connsiteY25" fmla="*/ 25348 h 134835"/>
                <a:gd name="connsiteX26" fmla="*/ 78811 w 94851"/>
                <a:gd name="connsiteY26" fmla="*/ 25729 h 134835"/>
                <a:gd name="connsiteX27" fmla="*/ 63168 w 94851"/>
                <a:gd name="connsiteY27" fmla="*/ 18329 h 134835"/>
                <a:gd name="connsiteX28" fmla="*/ 47115 w 94851"/>
                <a:gd name="connsiteY28" fmla="*/ 15941 h 134835"/>
                <a:gd name="connsiteX29" fmla="*/ 28553 w 94851"/>
                <a:gd name="connsiteY29" fmla="*/ 21793 h 134835"/>
                <a:gd name="connsiteX30" fmla="*/ 22177 w 94851"/>
                <a:gd name="connsiteY30" fmla="*/ 37064 h 134835"/>
                <a:gd name="connsiteX31" fmla="*/ 28362 w 94851"/>
                <a:gd name="connsiteY31" fmla="*/ 50611 h 134835"/>
                <a:gd name="connsiteX32" fmla="*/ 49821 w 94851"/>
                <a:gd name="connsiteY32" fmla="*/ 58004 h 134835"/>
                <a:gd name="connsiteX33" fmla="*/ 56197 w 94851"/>
                <a:gd name="connsiteY33" fmla="*/ 58968 h 134835"/>
                <a:gd name="connsiteX34" fmla="*/ 85201 w 94851"/>
                <a:gd name="connsiteY34" fmla="*/ 70488 h 134835"/>
                <a:gd name="connsiteX35" fmla="*/ 94851 w 94851"/>
                <a:gd name="connsiteY35" fmla="*/ 95469 h 134835"/>
                <a:gd name="connsiteX36" fmla="*/ 91855 w 94851"/>
                <a:gd name="connsiteY36" fmla="*/ 111311 h 134835"/>
                <a:gd name="connsiteX37" fmla="*/ 82772 w 94851"/>
                <a:gd name="connsiteY37" fmla="*/ 123697 h 134835"/>
                <a:gd name="connsiteX38" fmla="*/ 67702 w 94851"/>
                <a:gd name="connsiteY38" fmla="*/ 131851 h 134835"/>
                <a:gd name="connsiteX39" fmla="*/ 46917 w 94851"/>
                <a:gd name="connsiteY39" fmla="*/ 134836 h 134835"/>
                <a:gd name="connsiteX40" fmla="*/ 46917 w 94851"/>
                <a:gd name="connsiteY40" fmla="*/ 134836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4851" h="134835">
                  <a:moveTo>
                    <a:pt x="46917" y="134836"/>
                  </a:moveTo>
                  <a:cubicBezTo>
                    <a:pt x="42283" y="134836"/>
                    <a:pt x="37715" y="134376"/>
                    <a:pt x="33194" y="133484"/>
                  </a:cubicBezTo>
                  <a:cubicBezTo>
                    <a:pt x="28692" y="132592"/>
                    <a:pt x="24434" y="131405"/>
                    <a:pt x="20434" y="129929"/>
                  </a:cubicBezTo>
                  <a:cubicBezTo>
                    <a:pt x="16461" y="128466"/>
                    <a:pt x="12777" y="126734"/>
                    <a:pt x="9437" y="124753"/>
                  </a:cubicBezTo>
                  <a:cubicBezTo>
                    <a:pt x="6071" y="122772"/>
                    <a:pt x="3173" y="120685"/>
                    <a:pt x="724" y="118508"/>
                  </a:cubicBezTo>
                  <a:cubicBezTo>
                    <a:pt x="-180" y="117615"/>
                    <a:pt x="-233" y="116644"/>
                    <a:pt x="539" y="115628"/>
                  </a:cubicBezTo>
                  <a:lnTo>
                    <a:pt x="9048" y="105643"/>
                  </a:lnTo>
                  <a:cubicBezTo>
                    <a:pt x="9820" y="104738"/>
                    <a:pt x="10711" y="104672"/>
                    <a:pt x="11748" y="105446"/>
                  </a:cubicBezTo>
                  <a:cubicBezTo>
                    <a:pt x="15998" y="108786"/>
                    <a:pt x="21279" y="111856"/>
                    <a:pt x="27596" y="114670"/>
                  </a:cubicBezTo>
                  <a:cubicBezTo>
                    <a:pt x="33900" y="117491"/>
                    <a:pt x="40864" y="118888"/>
                    <a:pt x="48468" y="118888"/>
                  </a:cubicBezTo>
                  <a:cubicBezTo>
                    <a:pt x="57616" y="118888"/>
                    <a:pt x="64732" y="116848"/>
                    <a:pt x="69828" y="112748"/>
                  </a:cubicBezTo>
                  <a:cubicBezTo>
                    <a:pt x="74917" y="108654"/>
                    <a:pt x="77458" y="103275"/>
                    <a:pt x="77458" y="96610"/>
                  </a:cubicBezTo>
                  <a:cubicBezTo>
                    <a:pt x="77458" y="93796"/>
                    <a:pt x="77016" y="91237"/>
                    <a:pt x="76105" y="88928"/>
                  </a:cubicBezTo>
                  <a:cubicBezTo>
                    <a:pt x="75201" y="86626"/>
                    <a:pt x="73689" y="84572"/>
                    <a:pt x="71564" y="82781"/>
                  </a:cubicBezTo>
                  <a:cubicBezTo>
                    <a:pt x="69432" y="80984"/>
                    <a:pt x="66640" y="79449"/>
                    <a:pt x="63168" y="78163"/>
                  </a:cubicBezTo>
                  <a:cubicBezTo>
                    <a:pt x="59676" y="76897"/>
                    <a:pt x="55293" y="75933"/>
                    <a:pt x="50012" y="75303"/>
                  </a:cubicBezTo>
                  <a:lnTo>
                    <a:pt x="43438" y="74326"/>
                  </a:lnTo>
                  <a:cubicBezTo>
                    <a:pt x="17682" y="70868"/>
                    <a:pt x="4790" y="58831"/>
                    <a:pt x="4790" y="38219"/>
                  </a:cubicBezTo>
                  <a:cubicBezTo>
                    <a:pt x="4790" y="32446"/>
                    <a:pt x="5787" y="27198"/>
                    <a:pt x="7781" y="22462"/>
                  </a:cubicBezTo>
                  <a:cubicBezTo>
                    <a:pt x="9781" y="17732"/>
                    <a:pt x="12652" y="13697"/>
                    <a:pt x="16388" y="10371"/>
                  </a:cubicBezTo>
                  <a:cubicBezTo>
                    <a:pt x="20111" y="7039"/>
                    <a:pt x="24626" y="4487"/>
                    <a:pt x="29906" y="2683"/>
                  </a:cubicBezTo>
                  <a:cubicBezTo>
                    <a:pt x="35194" y="899"/>
                    <a:pt x="41128" y="0"/>
                    <a:pt x="47689" y="0"/>
                  </a:cubicBezTo>
                  <a:cubicBezTo>
                    <a:pt x="55418" y="0"/>
                    <a:pt x="62805" y="1122"/>
                    <a:pt x="69828" y="3352"/>
                  </a:cubicBezTo>
                  <a:cubicBezTo>
                    <a:pt x="76851" y="5596"/>
                    <a:pt x="82805" y="8522"/>
                    <a:pt x="87703" y="12097"/>
                  </a:cubicBezTo>
                  <a:cubicBezTo>
                    <a:pt x="88732" y="12858"/>
                    <a:pt x="88864" y="13756"/>
                    <a:pt x="88086" y="14786"/>
                  </a:cubicBezTo>
                  <a:lnTo>
                    <a:pt x="81518" y="25348"/>
                  </a:lnTo>
                  <a:cubicBezTo>
                    <a:pt x="80752" y="26247"/>
                    <a:pt x="79841" y="26371"/>
                    <a:pt x="78811" y="25729"/>
                  </a:cubicBezTo>
                  <a:cubicBezTo>
                    <a:pt x="73405" y="22403"/>
                    <a:pt x="68171" y="19936"/>
                    <a:pt x="63168" y="18329"/>
                  </a:cubicBezTo>
                  <a:cubicBezTo>
                    <a:pt x="58138" y="16741"/>
                    <a:pt x="52785" y="15941"/>
                    <a:pt x="47115" y="15941"/>
                  </a:cubicBezTo>
                  <a:cubicBezTo>
                    <a:pt x="39002" y="15941"/>
                    <a:pt x="32811" y="17889"/>
                    <a:pt x="28553" y="21793"/>
                  </a:cubicBezTo>
                  <a:cubicBezTo>
                    <a:pt x="24309" y="25702"/>
                    <a:pt x="22177" y="30806"/>
                    <a:pt x="22177" y="37064"/>
                  </a:cubicBezTo>
                  <a:cubicBezTo>
                    <a:pt x="22177" y="42568"/>
                    <a:pt x="24230" y="47082"/>
                    <a:pt x="28362" y="50611"/>
                  </a:cubicBezTo>
                  <a:cubicBezTo>
                    <a:pt x="32481" y="54134"/>
                    <a:pt x="39636" y="56587"/>
                    <a:pt x="49821" y="58004"/>
                  </a:cubicBezTo>
                  <a:lnTo>
                    <a:pt x="56197" y="58968"/>
                  </a:lnTo>
                  <a:cubicBezTo>
                    <a:pt x="69082" y="60759"/>
                    <a:pt x="78752" y="64597"/>
                    <a:pt x="85201" y="70488"/>
                  </a:cubicBezTo>
                  <a:cubicBezTo>
                    <a:pt x="91630" y="76385"/>
                    <a:pt x="94851" y="84704"/>
                    <a:pt x="94851" y="95469"/>
                  </a:cubicBezTo>
                  <a:cubicBezTo>
                    <a:pt x="94851" y="101215"/>
                    <a:pt x="93855" y="106503"/>
                    <a:pt x="91855" y="111311"/>
                  </a:cubicBezTo>
                  <a:cubicBezTo>
                    <a:pt x="89861" y="116113"/>
                    <a:pt x="86838" y="120233"/>
                    <a:pt x="82772" y="123697"/>
                  </a:cubicBezTo>
                  <a:cubicBezTo>
                    <a:pt x="78719" y="127147"/>
                    <a:pt x="73689" y="129876"/>
                    <a:pt x="67702" y="131851"/>
                  </a:cubicBezTo>
                  <a:cubicBezTo>
                    <a:pt x="61715" y="133838"/>
                    <a:pt x="54771" y="134836"/>
                    <a:pt x="46917" y="134836"/>
                  </a:cubicBezTo>
                  <a:lnTo>
                    <a:pt x="46917" y="134836"/>
                  </a:lnTo>
                  <a:close/>
                </a:path>
              </a:pathLst>
            </a:custGeom>
            <a:solidFill>
              <a:schemeClr val="bg2"/>
            </a:solidFill>
            <a:ln w="7" cap="flat">
              <a:noFill/>
              <a:prstDash val="solid"/>
              <a:miter/>
            </a:ln>
          </p:spPr>
          <p:txBody>
            <a:bodyPr rtlCol="0" anchor="ctr"/>
            <a:lstStyle/>
            <a:p>
              <a:endParaRPr lang="de-DE"/>
            </a:p>
          </p:txBody>
        </p:sp>
        <p:sp>
          <p:nvSpPr>
            <p:cNvPr id="22" name="Freeform: Shape 21">
              <a:extLst>
                <a:ext uri="{FF2B5EF4-FFF2-40B4-BE49-F238E27FC236}">
                  <a16:creationId xmlns:a16="http://schemas.microsoft.com/office/drawing/2014/main" id="{F9C7CCAD-B19C-4553-A786-035DDAD9F8F7}"/>
                </a:ext>
              </a:extLst>
            </p:cNvPr>
            <p:cNvSpPr/>
            <p:nvPr/>
          </p:nvSpPr>
          <p:spPr>
            <a:xfrm>
              <a:off x="10844516" y="715501"/>
              <a:ext cx="17386" cy="130604"/>
            </a:xfrm>
            <a:custGeom>
              <a:avLst/>
              <a:gdLst>
                <a:gd name="connsiteX0" fmla="*/ 0 w 17386"/>
                <a:gd name="connsiteY0" fmla="*/ 1916 h 130604"/>
                <a:gd name="connsiteX1" fmla="*/ 1954 w 17386"/>
                <a:gd name="connsiteY1" fmla="*/ 0 h 130604"/>
                <a:gd name="connsiteX2" fmla="*/ 15439 w 17386"/>
                <a:gd name="connsiteY2" fmla="*/ 0 h 130604"/>
                <a:gd name="connsiteX3" fmla="*/ 17386 w 17386"/>
                <a:gd name="connsiteY3" fmla="*/ 1916 h 130604"/>
                <a:gd name="connsiteX4" fmla="*/ 17386 w 17386"/>
                <a:gd name="connsiteY4" fmla="*/ 128682 h 130604"/>
                <a:gd name="connsiteX5" fmla="*/ 15439 w 17386"/>
                <a:gd name="connsiteY5" fmla="*/ 130604 h 130604"/>
                <a:gd name="connsiteX6" fmla="*/ 1954 w 17386"/>
                <a:gd name="connsiteY6" fmla="*/ 130604 h 130604"/>
                <a:gd name="connsiteX7" fmla="*/ 0 w 17386"/>
                <a:gd name="connsiteY7" fmla="*/ 128682 h 130604"/>
                <a:gd name="connsiteX8" fmla="*/ 0 w 17386"/>
                <a:gd name="connsiteY8"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6" h="130604">
                  <a:moveTo>
                    <a:pt x="0" y="1916"/>
                  </a:moveTo>
                  <a:cubicBezTo>
                    <a:pt x="0" y="636"/>
                    <a:pt x="653" y="0"/>
                    <a:pt x="1954" y="0"/>
                  </a:cubicBezTo>
                  <a:lnTo>
                    <a:pt x="15439" y="0"/>
                  </a:lnTo>
                  <a:cubicBezTo>
                    <a:pt x="16740" y="0"/>
                    <a:pt x="17386" y="636"/>
                    <a:pt x="17386" y="1916"/>
                  </a:cubicBezTo>
                  <a:lnTo>
                    <a:pt x="17386" y="128682"/>
                  </a:lnTo>
                  <a:cubicBezTo>
                    <a:pt x="17386" y="129961"/>
                    <a:pt x="16740" y="130604"/>
                    <a:pt x="15439" y="130604"/>
                  </a:cubicBezTo>
                  <a:lnTo>
                    <a:pt x="1954"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23" name="Freeform: Shape 22">
              <a:extLst>
                <a:ext uri="{FF2B5EF4-FFF2-40B4-BE49-F238E27FC236}">
                  <a16:creationId xmlns:a16="http://schemas.microsoft.com/office/drawing/2014/main" id="{DAF36CC0-B57C-446F-97E5-DBE4FED4CFA1}"/>
                </a:ext>
              </a:extLst>
            </p:cNvPr>
            <p:cNvSpPr/>
            <p:nvPr/>
          </p:nvSpPr>
          <p:spPr>
            <a:xfrm>
              <a:off x="10896114" y="715501"/>
              <a:ext cx="90641" cy="130604"/>
            </a:xfrm>
            <a:custGeom>
              <a:avLst/>
              <a:gdLst>
                <a:gd name="connsiteX0" fmla="*/ 0 w 90641"/>
                <a:gd name="connsiteY0" fmla="*/ 1916 h 130604"/>
                <a:gd name="connsiteX1" fmla="*/ 1941 w 90641"/>
                <a:gd name="connsiteY1" fmla="*/ 0 h 130604"/>
                <a:gd name="connsiteX2" fmla="*/ 48516 w 90641"/>
                <a:gd name="connsiteY2" fmla="*/ 0 h 130604"/>
                <a:gd name="connsiteX3" fmla="*/ 78272 w 90641"/>
                <a:gd name="connsiteY3" fmla="*/ 9315 h 130604"/>
                <a:gd name="connsiteX4" fmla="*/ 88134 w 90641"/>
                <a:gd name="connsiteY4" fmla="*/ 34375 h 130604"/>
                <a:gd name="connsiteX5" fmla="*/ 83203 w 90641"/>
                <a:gd name="connsiteY5" fmla="*/ 52815 h 130604"/>
                <a:gd name="connsiteX6" fmla="*/ 70549 w 90641"/>
                <a:gd name="connsiteY6" fmla="*/ 62806 h 130604"/>
                <a:gd name="connsiteX7" fmla="*/ 70549 w 90641"/>
                <a:gd name="connsiteY7" fmla="*/ 63193 h 130604"/>
                <a:gd name="connsiteX8" fmla="*/ 77401 w 90641"/>
                <a:gd name="connsiteY8" fmla="*/ 66552 h 130604"/>
                <a:gd name="connsiteX9" fmla="*/ 83876 w 90641"/>
                <a:gd name="connsiteY9" fmla="*/ 72699 h 130604"/>
                <a:gd name="connsiteX10" fmla="*/ 88721 w 90641"/>
                <a:gd name="connsiteY10" fmla="*/ 81633 h 130604"/>
                <a:gd name="connsiteX11" fmla="*/ 90642 w 90641"/>
                <a:gd name="connsiteY11" fmla="*/ 93356 h 130604"/>
                <a:gd name="connsiteX12" fmla="*/ 79500 w 90641"/>
                <a:gd name="connsiteY12" fmla="*/ 121204 h 130604"/>
                <a:gd name="connsiteX13" fmla="*/ 47644 w 90641"/>
                <a:gd name="connsiteY13" fmla="*/ 130604 h 130604"/>
                <a:gd name="connsiteX14" fmla="*/ 1941 w 90641"/>
                <a:gd name="connsiteY14" fmla="*/ 130604 h 130604"/>
                <a:gd name="connsiteX15" fmla="*/ 0 w 90641"/>
                <a:gd name="connsiteY15" fmla="*/ 128682 h 130604"/>
                <a:gd name="connsiteX16" fmla="*/ 0 w 90641"/>
                <a:gd name="connsiteY16" fmla="*/ 1916 h 130604"/>
                <a:gd name="connsiteX17" fmla="*/ 48212 w 90641"/>
                <a:gd name="connsiteY17" fmla="*/ 56462 h 130604"/>
                <a:gd name="connsiteX18" fmla="*/ 65150 w 90641"/>
                <a:gd name="connsiteY18" fmla="*/ 50900 h 130604"/>
                <a:gd name="connsiteX19" fmla="*/ 71130 w 90641"/>
                <a:gd name="connsiteY19" fmla="*/ 36113 h 130604"/>
                <a:gd name="connsiteX20" fmla="*/ 65150 w 90641"/>
                <a:gd name="connsiteY20" fmla="*/ 21123 h 130604"/>
                <a:gd name="connsiteX21" fmla="*/ 48212 w 90641"/>
                <a:gd name="connsiteY21" fmla="*/ 15554 h 130604"/>
                <a:gd name="connsiteX22" fmla="*/ 18555 w 90641"/>
                <a:gd name="connsiteY22" fmla="*/ 15554 h 130604"/>
                <a:gd name="connsiteX23" fmla="*/ 17393 w 90641"/>
                <a:gd name="connsiteY23" fmla="*/ 16708 h 130604"/>
                <a:gd name="connsiteX24" fmla="*/ 17393 w 90641"/>
                <a:gd name="connsiteY24" fmla="*/ 55308 h 130604"/>
                <a:gd name="connsiteX25" fmla="*/ 18555 w 90641"/>
                <a:gd name="connsiteY25" fmla="*/ 56462 h 130604"/>
                <a:gd name="connsiteX26" fmla="*/ 48212 w 90641"/>
                <a:gd name="connsiteY26" fmla="*/ 56462 h 130604"/>
                <a:gd name="connsiteX27" fmla="*/ 17393 w 90641"/>
                <a:gd name="connsiteY27" fmla="*/ 113902 h 130604"/>
                <a:gd name="connsiteX28" fmla="*/ 18555 w 90641"/>
                <a:gd name="connsiteY28" fmla="*/ 115050 h 130604"/>
                <a:gd name="connsiteX29" fmla="*/ 49182 w 90641"/>
                <a:gd name="connsiteY29" fmla="*/ 115050 h 130604"/>
                <a:gd name="connsiteX30" fmla="*/ 67090 w 90641"/>
                <a:gd name="connsiteY30" fmla="*/ 109199 h 130604"/>
                <a:gd name="connsiteX31" fmla="*/ 73255 w 90641"/>
                <a:gd name="connsiteY31" fmla="*/ 93540 h 130604"/>
                <a:gd name="connsiteX32" fmla="*/ 67090 w 90641"/>
                <a:gd name="connsiteY32" fmla="*/ 77881 h 130604"/>
                <a:gd name="connsiteX33" fmla="*/ 49182 w 90641"/>
                <a:gd name="connsiteY33" fmla="*/ 72029 h 130604"/>
                <a:gd name="connsiteX34" fmla="*/ 18555 w 90641"/>
                <a:gd name="connsiteY34" fmla="*/ 72029 h 130604"/>
                <a:gd name="connsiteX35" fmla="*/ 17393 w 90641"/>
                <a:gd name="connsiteY35" fmla="*/ 73191 h 130604"/>
                <a:gd name="connsiteX36" fmla="*/ 17393 w 90641"/>
                <a:gd name="connsiteY36" fmla="*/ 113902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0641" h="130604">
                  <a:moveTo>
                    <a:pt x="0" y="1916"/>
                  </a:moveTo>
                  <a:cubicBezTo>
                    <a:pt x="0" y="636"/>
                    <a:pt x="647" y="0"/>
                    <a:pt x="1941" y="0"/>
                  </a:cubicBezTo>
                  <a:lnTo>
                    <a:pt x="48516" y="0"/>
                  </a:lnTo>
                  <a:cubicBezTo>
                    <a:pt x="61783" y="0"/>
                    <a:pt x="71704" y="3109"/>
                    <a:pt x="78272" y="9315"/>
                  </a:cubicBezTo>
                  <a:cubicBezTo>
                    <a:pt x="84840" y="15528"/>
                    <a:pt x="88134" y="23879"/>
                    <a:pt x="88134" y="34375"/>
                  </a:cubicBezTo>
                  <a:cubicBezTo>
                    <a:pt x="88134" y="42057"/>
                    <a:pt x="86497" y="48210"/>
                    <a:pt x="83203" y="52815"/>
                  </a:cubicBezTo>
                  <a:cubicBezTo>
                    <a:pt x="79916" y="57420"/>
                    <a:pt x="75691" y="60759"/>
                    <a:pt x="70549" y="62806"/>
                  </a:cubicBezTo>
                  <a:lnTo>
                    <a:pt x="70549" y="63193"/>
                  </a:lnTo>
                  <a:cubicBezTo>
                    <a:pt x="72734" y="63829"/>
                    <a:pt x="75024" y="64945"/>
                    <a:pt x="77401" y="66552"/>
                  </a:cubicBezTo>
                  <a:cubicBezTo>
                    <a:pt x="79784" y="68159"/>
                    <a:pt x="81955" y="70199"/>
                    <a:pt x="83876" y="72699"/>
                  </a:cubicBezTo>
                  <a:cubicBezTo>
                    <a:pt x="85817" y="75198"/>
                    <a:pt x="87427" y="78183"/>
                    <a:pt x="88721" y="81633"/>
                  </a:cubicBezTo>
                  <a:cubicBezTo>
                    <a:pt x="90002" y="85091"/>
                    <a:pt x="90642" y="89000"/>
                    <a:pt x="90642" y="93356"/>
                  </a:cubicBezTo>
                  <a:cubicBezTo>
                    <a:pt x="90648" y="105650"/>
                    <a:pt x="86932" y="114919"/>
                    <a:pt x="79500" y="121204"/>
                  </a:cubicBezTo>
                  <a:cubicBezTo>
                    <a:pt x="72080" y="127469"/>
                    <a:pt x="61460" y="130604"/>
                    <a:pt x="47644" y="130604"/>
                  </a:cubicBezTo>
                  <a:lnTo>
                    <a:pt x="1941" y="130604"/>
                  </a:lnTo>
                  <a:cubicBezTo>
                    <a:pt x="647" y="130604"/>
                    <a:pt x="0" y="129961"/>
                    <a:pt x="0" y="128682"/>
                  </a:cubicBezTo>
                  <a:lnTo>
                    <a:pt x="0" y="1916"/>
                  </a:lnTo>
                  <a:close/>
                  <a:moveTo>
                    <a:pt x="48212" y="56462"/>
                  </a:moveTo>
                  <a:cubicBezTo>
                    <a:pt x="55526" y="56462"/>
                    <a:pt x="61163" y="54606"/>
                    <a:pt x="65150" y="50900"/>
                  </a:cubicBezTo>
                  <a:cubicBezTo>
                    <a:pt x="69143" y="47187"/>
                    <a:pt x="71130" y="42253"/>
                    <a:pt x="71130" y="36113"/>
                  </a:cubicBezTo>
                  <a:cubicBezTo>
                    <a:pt x="71130" y="29829"/>
                    <a:pt x="69143" y="24836"/>
                    <a:pt x="65150" y="21123"/>
                  </a:cubicBezTo>
                  <a:cubicBezTo>
                    <a:pt x="61163" y="17404"/>
                    <a:pt x="55526" y="15554"/>
                    <a:pt x="48212" y="15554"/>
                  </a:cubicBezTo>
                  <a:lnTo>
                    <a:pt x="18555" y="15554"/>
                  </a:lnTo>
                  <a:cubicBezTo>
                    <a:pt x="17782" y="15554"/>
                    <a:pt x="17393" y="15934"/>
                    <a:pt x="17393" y="16708"/>
                  </a:cubicBezTo>
                  <a:lnTo>
                    <a:pt x="17393" y="55308"/>
                  </a:lnTo>
                  <a:cubicBezTo>
                    <a:pt x="17393" y="56075"/>
                    <a:pt x="17782" y="56462"/>
                    <a:pt x="18555" y="56462"/>
                  </a:cubicBezTo>
                  <a:lnTo>
                    <a:pt x="48212" y="56462"/>
                  </a:lnTo>
                  <a:close/>
                  <a:moveTo>
                    <a:pt x="17393" y="113902"/>
                  </a:moveTo>
                  <a:cubicBezTo>
                    <a:pt x="17393" y="114670"/>
                    <a:pt x="17782" y="115050"/>
                    <a:pt x="18555" y="115050"/>
                  </a:cubicBezTo>
                  <a:lnTo>
                    <a:pt x="49182" y="115050"/>
                  </a:lnTo>
                  <a:cubicBezTo>
                    <a:pt x="57011" y="115050"/>
                    <a:pt x="62978" y="113102"/>
                    <a:pt x="67090" y="109199"/>
                  </a:cubicBezTo>
                  <a:cubicBezTo>
                    <a:pt x="71196" y="105289"/>
                    <a:pt x="73255" y="100067"/>
                    <a:pt x="73255" y="93540"/>
                  </a:cubicBezTo>
                  <a:cubicBezTo>
                    <a:pt x="73255" y="87006"/>
                    <a:pt x="71196" y="81784"/>
                    <a:pt x="67090" y="77881"/>
                  </a:cubicBezTo>
                  <a:cubicBezTo>
                    <a:pt x="62978" y="73984"/>
                    <a:pt x="57011" y="72029"/>
                    <a:pt x="49182" y="72029"/>
                  </a:cubicBezTo>
                  <a:lnTo>
                    <a:pt x="18555" y="72029"/>
                  </a:lnTo>
                  <a:cubicBezTo>
                    <a:pt x="17782" y="72029"/>
                    <a:pt x="17393" y="72417"/>
                    <a:pt x="17393" y="73191"/>
                  </a:cubicBezTo>
                  <a:lnTo>
                    <a:pt x="17393" y="113902"/>
                  </a:lnTo>
                  <a:close/>
                </a:path>
              </a:pathLst>
            </a:custGeom>
            <a:solidFill>
              <a:schemeClr val="bg2"/>
            </a:solidFill>
            <a:ln w="7" cap="flat">
              <a:noFill/>
              <a:prstDash val="solid"/>
              <a:miter/>
            </a:ln>
          </p:spPr>
          <p:txBody>
            <a:bodyPr rtlCol="0" anchor="ctr"/>
            <a:lstStyle/>
            <a:p>
              <a:endParaRPr lang="de-DE"/>
            </a:p>
          </p:txBody>
        </p:sp>
        <p:sp>
          <p:nvSpPr>
            <p:cNvPr id="24" name="Freeform: Shape 23">
              <a:extLst>
                <a:ext uri="{FF2B5EF4-FFF2-40B4-BE49-F238E27FC236}">
                  <a16:creationId xmlns:a16="http://schemas.microsoft.com/office/drawing/2014/main" id="{C65872DC-AC37-4B4B-8F94-04F79A91622F}"/>
                </a:ext>
              </a:extLst>
            </p:cNvPr>
            <p:cNvSpPr/>
            <p:nvPr/>
          </p:nvSpPr>
          <p:spPr>
            <a:xfrm>
              <a:off x="11014789" y="715501"/>
              <a:ext cx="83103" cy="130604"/>
            </a:xfrm>
            <a:custGeom>
              <a:avLst/>
              <a:gdLst>
                <a:gd name="connsiteX0" fmla="*/ 0 w 83103"/>
                <a:gd name="connsiteY0" fmla="*/ 1916 h 130604"/>
                <a:gd name="connsiteX1" fmla="*/ 1941 w 83103"/>
                <a:gd name="connsiteY1" fmla="*/ 0 h 130604"/>
                <a:gd name="connsiteX2" fmla="*/ 81170 w 83103"/>
                <a:gd name="connsiteY2" fmla="*/ 0 h 130604"/>
                <a:gd name="connsiteX3" fmla="*/ 83104 w 83103"/>
                <a:gd name="connsiteY3" fmla="*/ 1916 h 130604"/>
                <a:gd name="connsiteX4" fmla="*/ 83104 w 83103"/>
                <a:gd name="connsiteY4" fmla="*/ 14012 h 130604"/>
                <a:gd name="connsiteX5" fmla="*/ 81170 w 83103"/>
                <a:gd name="connsiteY5" fmla="*/ 15934 h 130604"/>
                <a:gd name="connsiteX6" fmla="*/ 18555 w 83103"/>
                <a:gd name="connsiteY6" fmla="*/ 15934 h 130604"/>
                <a:gd name="connsiteX7" fmla="*/ 17400 w 83103"/>
                <a:gd name="connsiteY7" fmla="*/ 17089 h 130604"/>
                <a:gd name="connsiteX8" fmla="*/ 17400 w 83103"/>
                <a:gd name="connsiteY8" fmla="*/ 55511 h 130604"/>
                <a:gd name="connsiteX9" fmla="*/ 18555 w 83103"/>
                <a:gd name="connsiteY9" fmla="*/ 56653 h 130604"/>
                <a:gd name="connsiteX10" fmla="*/ 71704 w 83103"/>
                <a:gd name="connsiteY10" fmla="*/ 56653 h 130604"/>
                <a:gd name="connsiteX11" fmla="*/ 73645 w 83103"/>
                <a:gd name="connsiteY11" fmla="*/ 58575 h 130604"/>
                <a:gd name="connsiteX12" fmla="*/ 73645 w 83103"/>
                <a:gd name="connsiteY12" fmla="*/ 70685 h 130604"/>
                <a:gd name="connsiteX13" fmla="*/ 71704 w 83103"/>
                <a:gd name="connsiteY13" fmla="*/ 72607 h 130604"/>
                <a:gd name="connsiteX14" fmla="*/ 18555 w 83103"/>
                <a:gd name="connsiteY14" fmla="*/ 72607 h 130604"/>
                <a:gd name="connsiteX15" fmla="*/ 17400 w 83103"/>
                <a:gd name="connsiteY15" fmla="*/ 73755 h 130604"/>
                <a:gd name="connsiteX16" fmla="*/ 17400 w 83103"/>
                <a:gd name="connsiteY16" fmla="*/ 113515 h 130604"/>
                <a:gd name="connsiteX17" fmla="*/ 18555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7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41" y="0"/>
                  </a:cubicBezTo>
                  <a:lnTo>
                    <a:pt x="81170" y="0"/>
                  </a:lnTo>
                  <a:cubicBezTo>
                    <a:pt x="82463" y="0"/>
                    <a:pt x="83104" y="636"/>
                    <a:pt x="83104" y="1916"/>
                  </a:cubicBezTo>
                  <a:lnTo>
                    <a:pt x="83104" y="14012"/>
                  </a:lnTo>
                  <a:cubicBezTo>
                    <a:pt x="83104" y="15292"/>
                    <a:pt x="82463" y="15934"/>
                    <a:pt x="81170" y="15934"/>
                  </a:cubicBezTo>
                  <a:lnTo>
                    <a:pt x="18555" y="15934"/>
                  </a:lnTo>
                  <a:cubicBezTo>
                    <a:pt x="17776" y="15934"/>
                    <a:pt x="17400" y="16321"/>
                    <a:pt x="17400" y="17089"/>
                  </a:cubicBezTo>
                  <a:lnTo>
                    <a:pt x="17400" y="55511"/>
                  </a:lnTo>
                  <a:cubicBezTo>
                    <a:pt x="17400" y="56279"/>
                    <a:pt x="17776" y="56653"/>
                    <a:pt x="18555" y="56653"/>
                  </a:cubicBezTo>
                  <a:lnTo>
                    <a:pt x="71704" y="56653"/>
                  </a:lnTo>
                  <a:cubicBezTo>
                    <a:pt x="72985" y="56653"/>
                    <a:pt x="73645" y="57296"/>
                    <a:pt x="73645" y="58575"/>
                  </a:cubicBezTo>
                  <a:lnTo>
                    <a:pt x="73645" y="70685"/>
                  </a:lnTo>
                  <a:cubicBezTo>
                    <a:pt x="73645" y="71970"/>
                    <a:pt x="72985" y="72607"/>
                    <a:pt x="71704" y="72607"/>
                  </a:cubicBezTo>
                  <a:lnTo>
                    <a:pt x="18555" y="72607"/>
                  </a:lnTo>
                  <a:cubicBezTo>
                    <a:pt x="17776" y="72607"/>
                    <a:pt x="17400" y="72987"/>
                    <a:pt x="17400" y="73755"/>
                  </a:cubicBezTo>
                  <a:lnTo>
                    <a:pt x="17400" y="113515"/>
                  </a:lnTo>
                  <a:cubicBezTo>
                    <a:pt x="17400" y="114283"/>
                    <a:pt x="17776" y="114670"/>
                    <a:pt x="18555" y="114670"/>
                  </a:cubicBezTo>
                  <a:lnTo>
                    <a:pt x="81170" y="114670"/>
                  </a:lnTo>
                  <a:cubicBezTo>
                    <a:pt x="82463" y="114670"/>
                    <a:pt x="83104" y="115306"/>
                    <a:pt x="83104" y="116592"/>
                  </a:cubicBezTo>
                  <a:lnTo>
                    <a:pt x="83104" y="128682"/>
                  </a:lnTo>
                  <a:cubicBezTo>
                    <a:pt x="83104" y="129961"/>
                    <a:pt x="82463" y="130604"/>
                    <a:pt x="81170" y="130604"/>
                  </a:cubicBezTo>
                  <a:lnTo>
                    <a:pt x="1947"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25" name="Freeform: Shape 24">
              <a:extLst>
                <a:ext uri="{FF2B5EF4-FFF2-40B4-BE49-F238E27FC236}">
                  <a16:creationId xmlns:a16="http://schemas.microsoft.com/office/drawing/2014/main" id="{A69D665A-D66A-4545-9C54-89624A39D8A3}"/>
                </a:ext>
              </a:extLst>
            </p:cNvPr>
            <p:cNvSpPr/>
            <p:nvPr/>
          </p:nvSpPr>
          <p:spPr>
            <a:xfrm>
              <a:off x="11113543" y="715494"/>
              <a:ext cx="95486" cy="130617"/>
            </a:xfrm>
            <a:custGeom>
              <a:avLst/>
              <a:gdLst>
                <a:gd name="connsiteX0" fmla="*/ 40991 w 95486"/>
                <a:gd name="connsiteY0" fmla="*/ 130617 h 130617"/>
                <a:gd name="connsiteX1" fmla="*/ 39044 w 95486"/>
                <a:gd name="connsiteY1" fmla="*/ 128689 h 130617"/>
                <a:gd name="connsiteX2" fmla="*/ 39044 w 95486"/>
                <a:gd name="connsiteY2" fmla="*/ 17102 h 130617"/>
                <a:gd name="connsiteX3" fmla="*/ 37882 w 95486"/>
                <a:gd name="connsiteY3" fmla="*/ 15941 h 130617"/>
                <a:gd name="connsiteX4" fmla="*/ 1927 w 95486"/>
                <a:gd name="connsiteY4" fmla="*/ 15941 h 130617"/>
                <a:gd name="connsiteX5" fmla="*/ 0 w 95486"/>
                <a:gd name="connsiteY5" fmla="*/ 14025 h 130617"/>
                <a:gd name="connsiteX6" fmla="*/ 0 w 95486"/>
                <a:gd name="connsiteY6" fmla="*/ 1922 h 130617"/>
                <a:gd name="connsiteX7" fmla="*/ 1927 w 95486"/>
                <a:gd name="connsiteY7" fmla="*/ 0 h 130617"/>
                <a:gd name="connsiteX8" fmla="*/ 93540 w 95486"/>
                <a:gd name="connsiteY8" fmla="*/ 0 h 130617"/>
                <a:gd name="connsiteX9" fmla="*/ 95487 w 95486"/>
                <a:gd name="connsiteY9" fmla="*/ 1922 h 130617"/>
                <a:gd name="connsiteX10" fmla="*/ 95487 w 95486"/>
                <a:gd name="connsiteY10" fmla="*/ 14025 h 130617"/>
                <a:gd name="connsiteX11" fmla="*/ 93540 w 95486"/>
                <a:gd name="connsiteY11" fmla="*/ 15941 h 130617"/>
                <a:gd name="connsiteX12" fmla="*/ 57598 w 95486"/>
                <a:gd name="connsiteY12" fmla="*/ 15941 h 130617"/>
                <a:gd name="connsiteX13" fmla="*/ 56450 w 95486"/>
                <a:gd name="connsiteY13" fmla="*/ 17102 h 130617"/>
                <a:gd name="connsiteX14" fmla="*/ 56450 w 95486"/>
                <a:gd name="connsiteY14" fmla="*/ 128689 h 130617"/>
                <a:gd name="connsiteX15" fmla="*/ 54476 w 95486"/>
                <a:gd name="connsiteY15" fmla="*/ 130617 h 130617"/>
                <a:gd name="connsiteX16" fmla="*/ 40991 w 95486"/>
                <a:gd name="connsiteY16" fmla="*/ 130617 h 130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486" h="130617">
                  <a:moveTo>
                    <a:pt x="40991" y="130617"/>
                  </a:moveTo>
                  <a:cubicBezTo>
                    <a:pt x="39697" y="130617"/>
                    <a:pt x="39044" y="129968"/>
                    <a:pt x="39044" y="128689"/>
                  </a:cubicBezTo>
                  <a:lnTo>
                    <a:pt x="39044" y="17102"/>
                  </a:lnTo>
                  <a:cubicBezTo>
                    <a:pt x="39044" y="16335"/>
                    <a:pt x="38667" y="15941"/>
                    <a:pt x="37882" y="15941"/>
                  </a:cubicBezTo>
                  <a:lnTo>
                    <a:pt x="1927" y="15941"/>
                  </a:lnTo>
                  <a:cubicBezTo>
                    <a:pt x="640" y="15941"/>
                    <a:pt x="0" y="15298"/>
                    <a:pt x="0" y="14025"/>
                  </a:cubicBezTo>
                  <a:lnTo>
                    <a:pt x="0" y="1922"/>
                  </a:lnTo>
                  <a:cubicBezTo>
                    <a:pt x="0" y="643"/>
                    <a:pt x="640" y="0"/>
                    <a:pt x="1927" y="0"/>
                  </a:cubicBezTo>
                  <a:lnTo>
                    <a:pt x="93540" y="0"/>
                  </a:lnTo>
                  <a:cubicBezTo>
                    <a:pt x="94833" y="0"/>
                    <a:pt x="95487" y="643"/>
                    <a:pt x="95487" y="1922"/>
                  </a:cubicBezTo>
                  <a:lnTo>
                    <a:pt x="95487" y="14025"/>
                  </a:lnTo>
                  <a:cubicBezTo>
                    <a:pt x="95487" y="15298"/>
                    <a:pt x="94833" y="15941"/>
                    <a:pt x="93540" y="15941"/>
                  </a:cubicBezTo>
                  <a:lnTo>
                    <a:pt x="57598" y="15941"/>
                  </a:lnTo>
                  <a:cubicBezTo>
                    <a:pt x="56826" y="15941"/>
                    <a:pt x="56450" y="16335"/>
                    <a:pt x="56450" y="17102"/>
                  </a:cubicBezTo>
                  <a:lnTo>
                    <a:pt x="56450" y="128689"/>
                  </a:lnTo>
                  <a:cubicBezTo>
                    <a:pt x="56450" y="129968"/>
                    <a:pt x="55790" y="130617"/>
                    <a:pt x="54476" y="130617"/>
                  </a:cubicBezTo>
                  <a:lnTo>
                    <a:pt x="40991" y="130617"/>
                  </a:lnTo>
                  <a:close/>
                </a:path>
              </a:pathLst>
            </a:custGeom>
            <a:solidFill>
              <a:schemeClr val="bg2"/>
            </a:solidFill>
            <a:ln w="7" cap="flat">
              <a:noFill/>
              <a:prstDash val="solid"/>
              <a:miter/>
            </a:ln>
          </p:spPr>
          <p:txBody>
            <a:bodyPr rtlCol="0" anchor="ctr"/>
            <a:lstStyle/>
            <a:p>
              <a:endParaRPr lang="de-DE"/>
            </a:p>
          </p:txBody>
        </p:sp>
        <p:sp>
          <p:nvSpPr>
            <p:cNvPr id="26" name="Freeform: Shape 25">
              <a:extLst>
                <a:ext uri="{FF2B5EF4-FFF2-40B4-BE49-F238E27FC236}">
                  <a16:creationId xmlns:a16="http://schemas.microsoft.com/office/drawing/2014/main" id="{3FAAA4B4-1A16-4B0F-8025-3333CF6C48B8}"/>
                </a:ext>
              </a:extLst>
            </p:cNvPr>
            <p:cNvSpPr/>
            <p:nvPr/>
          </p:nvSpPr>
          <p:spPr>
            <a:xfrm>
              <a:off x="11231242" y="715501"/>
              <a:ext cx="93929" cy="130604"/>
            </a:xfrm>
            <a:custGeom>
              <a:avLst/>
              <a:gdLst>
                <a:gd name="connsiteX0" fmla="*/ 0 w 93929"/>
                <a:gd name="connsiteY0" fmla="*/ 1916 h 130604"/>
                <a:gd name="connsiteX1" fmla="*/ 1947 w 93929"/>
                <a:gd name="connsiteY1" fmla="*/ 0 h 130604"/>
                <a:gd name="connsiteX2" fmla="*/ 15439 w 93929"/>
                <a:gd name="connsiteY2" fmla="*/ 0 h 130604"/>
                <a:gd name="connsiteX3" fmla="*/ 17406 w 93929"/>
                <a:gd name="connsiteY3" fmla="*/ 1916 h 130604"/>
                <a:gd name="connsiteX4" fmla="*/ 17406 w 93929"/>
                <a:gd name="connsiteY4" fmla="*/ 55511 h 130604"/>
                <a:gd name="connsiteX5" fmla="*/ 18548 w 93929"/>
                <a:gd name="connsiteY5" fmla="*/ 56653 h 130604"/>
                <a:gd name="connsiteX6" fmla="*/ 75381 w 93929"/>
                <a:gd name="connsiteY6" fmla="*/ 56653 h 130604"/>
                <a:gd name="connsiteX7" fmla="*/ 76536 w 93929"/>
                <a:gd name="connsiteY7" fmla="*/ 55511 h 130604"/>
                <a:gd name="connsiteX8" fmla="*/ 76536 w 93929"/>
                <a:gd name="connsiteY8" fmla="*/ 1916 h 130604"/>
                <a:gd name="connsiteX9" fmla="*/ 78496 w 93929"/>
                <a:gd name="connsiteY9" fmla="*/ 0 h 130604"/>
                <a:gd name="connsiteX10" fmla="*/ 91982 w 93929"/>
                <a:gd name="connsiteY10" fmla="*/ 0 h 130604"/>
                <a:gd name="connsiteX11" fmla="*/ 93929 w 93929"/>
                <a:gd name="connsiteY11" fmla="*/ 1916 h 130604"/>
                <a:gd name="connsiteX12" fmla="*/ 93929 w 93929"/>
                <a:gd name="connsiteY12" fmla="*/ 128682 h 130604"/>
                <a:gd name="connsiteX13" fmla="*/ 91982 w 93929"/>
                <a:gd name="connsiteY13" fmla="*/ 130604 h 130604"/>
                <a:gd name="connsiteX14" fmla="*/ 78496 w 93929"/>
                <a:gd name="connsiteY14" fmla="*/ 130604 h 130604"/>
                <a:gd name="connsiteX15" fmla="*/ 76536 w 93929"/>
                <a:gd name="connsiteY15" fmla="*/ 128682 h 130604"/>
                <a:gd name="connsiteX16" fmla="*/ 76536 w 93929"/>
                <a:gd name="connsiteY16" fmla="*/ 73755 h 130604"/>
                <a:gd name="connsiteX17" fmla="*/ 75381 w 93929"/>
                <a:gd name="connsiteY17" fmla="*/ 72607 h 130604"/>
                <a:gd name="connsiteX18" fmla="*/ 18548 w 93929"/>
                <a:gd name="connsiteY18" fmla="*/ 72607 h 130604"/>
                <a:gd name="connsiteX19" fmla="*/ 17406 w 93929"/>
                <a:gd name="connsiteY19" fmla="*/ 73755 h 130604"/>
                <a:gd name="connsiteX20" fmla="*/ 17406 w 93929"/>
                <a:gd name="connsiteY20" fmla="*/ 128682 h 130604"/>
                <a:gd name="connsiteX21" fmla="*/ 15439 w 93929"/>
                <a:gd name="connsiteY21" fmla="*/ 130604 h 130604"/>
                <a:gd name="connsiteX22" fmla="*/ 1947 w 93929"/>
                <a:gd name="connsiteY22" fmla="*/ 130604 h 130604"/>
                <a:gd name="connsiteX23" fmla="*/ 0 w 93929"/>
                <a:gd name="connsiteY23" fmla="*/ 128682 h 130604"/>
                <a:gd name="connsiteX24" fmla="*/ 0 w 93929"/>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3929" h="130604">
                  <a:moveTo>
                    <a:pt x="0" y="1916"/>
                  </a:moveTo>
                  <a:cubicBezTo>
                    <a:pt x="0" y="636"/>
                    <a:pt x="653" y="0"/>
                    <a:pt x="1947" y="0"/>
                  </a:cubicBezTo>
                  <a:lnTo>
                    <a:pt x="15439" y="0"/>
                  </a:lnTo>
                  <a:cubicBezTo>
                    <a:pt x="16746" y="0"/>
                    <a:pt x="17406" y="636"/>
                    <a:pt x="17406" y="1916"/>
                  </a:cubicBezTo>
                  <a:lnTo>
                    <a:pt x="17406" y="55511"/>
                  </a:lnTo>
                  <a:cubicBezTo>
                    <a:pt x="17406" y="56279"/>
                    <a:pt x="17776" y="56653"/>
                    <a:pt x="18548" y="56653"/>
                  </a:cubicBezTo>
                  <a:lnTo>
                    <a:pt x="75381" y="56653"/>
                  </a:lnTo>
                  <a:cubicBezTo>
                    <a:pt x="76160" y="56653"/>
                    <a:pt x="76536" y="56279"/>
                    <a:pt x="76536" y="55511"/>
                  </a:cubicBezTo>
                  <a:lnTo>
                    <a:pt x="76536" y="1916"/>
                  </a:lnTo>
                  <a:cubicBezTo>
                    <a:pt x="76536" y="636"/>
                    <a:pt x="77189" y="0"/>
                    <a:pt x="78496" y="0"/>
                  </a:cubicBezTo>
                  <a:lnTo>
                    <a:pt x="91982" y="0"/>
                  </a:lnTo>
                  <a:cubicBezTo>
                    <a:pt x="93276" y="0"/>
                    <a:pt x="93929" y="636"/>
                    <a:pt x="93929" y="1916"/>
                  </a:cubicBezTo>
                  <a:lnTo>
                    <a:pt x="93929" y="128682"/>
                  </a:lnTo>
                  <a:cubicBezTo>
                    <a:pt x="93929" y="129961"/>
                    <a:pt x="93276" y="130604"/>
                    <a:pt x="91982" y="130604"/>
                  </a:cubicBezTo>
                  <a:lnTo>
                    <a:pt x="78496" y="130604"/>
                  </a:lnTo>
                  <a:cubicBezTo>
                    <a:pt x="77189" y="130604"/>
                    <a:pt x="76536" y="129961"/>
                    <a:pt x="76536" y="128682"/>
                  </a:cubicBezTo>
                  <a:lnTo>
                    <a:pt x="76536" y="73755"/>
                  </a:lnTo>
                  <a:cubicBezTo>
                    <a:pt x="76536" y="72987"/>
                    <a:pt x="76160" y="72607"/>
                    <a:pt x="75381" y="72607"/>
                  </a:cubicBezTo>
                  <a:lnTo>
                    <a:pt x="18548" y="72607"/>
                  </a:lnTo>
                  <a:cubicBezTo>
                    <a:pt x="17776" y="72607"/>
                    <a:pt x="17406" y="72987"/>
                    <a:pt x="17406" y="73755"/>
                  </a:cubicBezTo>
                  <a:lnTo>
                    <a:pt x="17406" y="128682"/>
                  </a:lnTo>
                  <a:cubicBezTo>
                    <a:pt x="17406" y="129961"/>
                    <a:pt x="16746" y="130604"/>
                    <a:pt x="15439" y="130604"/>
                  </a:cubicBezTo>
                  <a:lnTo>
                    <a:pt x="1947"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27" name="Freeform: Shape 26">
              <a:extLst>
                <a:ext uri="{FF2B5EF4-FFF2-40B4-BE49-F238E27FC236}">
                  <a16:creationId xmlns:a16="http://schemas.microsoft.com/office/drawing/2014/main" id="{1FD0268C-8635-41E8-9B22-EFCF462B45C7}"/>
                </a:ext>
              </a:extLst>
            </p:cNvPr>
            <p:cNvSpPr/>
            <p:nvPr/>
          </p:nvSpPr>
          <p:spPr>
            <a:xfrm>
              <a:off x="10728362" y="921730"/>
              <a:ext cx="92582" cy="130604"/>
            </a:xfrm>
            <a:custGeom>
              <a:avLst/>
              <a:gdLst>
                <a:gd name="connsiteX0" fmla="*/ 0 w 92582"/>
                <a:gd name="connsiteY0" fmla="*/ 1916 h 130604"/>
                <a:gd name="connsiteX1" fmla="*/ 1941 w 92582"/>
                <a:gd name="connsiteY1" fmla="*/ 0 h 130604"/>
                <a:gd name="connsiteX2" fmla="*/ 46186 w 92582"/>
                <a:gd name="connsiteY2" fmla="*/ 0 h 130604"/>
                <a:gd name="connsiteX3" fmla="*/ 89104 w 92582"/>
                <a:gd name="connsiteY3" fmla="*/ 27841 h 130604"/>
                <a:gd name="connsiteX4" fmla="*/ 90549 w 92582"/>
                <a:gd name="connsiteY4" fmla="*/ 33410 h 130604"/>
                <a:gd name="connsiteX5" fmla="*/ 91705 w 92582"/>
                <a:gd name="connsiteY5" fmla="*/ 40515 h 130604"/>
                <a:gd name="connsiteX6" fmla="*/ 92378 w 92582"/>
                <a:gd name="connsiteY6" fmla="*/ 50703 h 130604"/>
                <a:gd name="connsiteX7" fmla="*/ 92582 w 92582"/>
                <a:gd name="connsiteY7" fmla="*/ 65305 h 130604"/>
                <a:gd name="connsiteX8" fmla="*/ 92378 w 92582"/>
                <a:gd name="connsiteY8" fmla="*/ 79908 h 130604"/>
                <a:gd name="connsiteX9" fmla="*/ 91705 w 92582"/>
                <a:gd name="connsiteY9" fmla="*/ 90083 h 130604"/>
                <a:gd name="connsiteX10" fmla="*/ 90549 w 92582"/>
                <a:gd name="connsiteY10" fmla="*/ 97194 h 130604"/>
                <a:gd name="connsiteX11" fmla="*/ 89104 w 92582"/>
                <a:gd name="connsiteY11" fmla="*/ 102763 h 130604"/>
                <a:gd name="connsiteX12" fmla="*/ 46186 w 92582"/>
                <a:gd name="connsiteY12" fmla="*/ 130604 h 130604"/>
                <a:gd name="connsiteX13" fmla="*/ 1941 w 92582"/>
                <a:gd name="connsiteY13" fmla="*/ 130604 h 130604"/>
                <a:gd name="connsiteX14" fmla="*/ 0 w 92582"/>
                <a:gd name="connsiteY14" fmla="*/ 128682 h 130604"/>
                <a:gd name="connsiteX15" fmla="*/ 0 w 92582"/>
                <a:gd name="connsiteY15" fmla="*/ 1916 h 130604"/>
                <a:gd name="connsiteX16" fmla="*/ 17380 w 92582"/>
                <a:gd name="connsiteY16" fmla="*/ 113509 h 130604"/>
                <a:gd name="connsiteX17" fmla="*/ 18548 w 92582"/>
                <a:gd name="connsiteY17" fmla="*/ 114670 h 130604"/>
                <a:gd name="connsiteX18" fmla="*/ 42634 w 92582"/>
                <a:gd name="connsiteY18" fmla="*/ 114670 h 130604"/>
                <a:gd name="connsiteX19" fmla="*/ 61895 w 92582"/>
                <a:gd name="connsiteY19" fmla="*/ 110530 h 130604"/>
                <a:gd name="connsiteX20" fmla="*/ 72490 w 92582"/>
                <a:gd name="connsiteY20" fmla="*/ 96813 h 130604"/>
                <a:gd name="connsiteX21" fmla="*/ 73638 w 92582"/>
                <a:gd name="connsiteY21" fmla="*/ 92772 h 130604"/>
                <a:gd name="connsiteX22" fmla="*/ 74510 w 92582"/>
                <a:gd name="connsiteY22" fmla="*/ 86914 h 130604"/>
                <a:gd name="connsiteX23" fmla="*/ 74991 w 92582"/>
                <a:gd name="connsiteY23" fmla="*/ 78183 h 130604"/>
                <a:gd name="connsiteX24" fmla="*/ 75183 w 92582"/>
                <a:gd name="connsiteY24" fmla="*/ 65305 h 130604"/>
                <a:gd name="connsiteX25" fmla="*/ 74991 w 92582"/>
                <a:gd name="connsiteY25" fmla="*/ 52428 h 130604"/>
                <a:gd name="connsiteX26" fmla="*/ 74510 w 92582"/>
                <a:gd name="connsiteY26" fmla="*/ 43690 h 130604"/>
                <a:gd name="connsiteX27" fmla="*/ 73638 w 92582"/>
                <a:gd name="connsiteY27" fmla="*/ 37832 h 130604"/>
                <a:gd name="connsiteX28" fmla="*/ 72490 w 92582"/>
                <a:gd name="connsiteY28" fmla="*/ 33791 h 130604"/>
                <a:gd name="connsiteX29" fmla="*/ 61895 w 92582"/>
                <a:gd name="connsiteY29" fmla="*/ 20067 h 130604"/>
                <a:gd name="connsiteX30" fmla="*/ 42634 w 92582"/>
                <a:gd name="connsiteY30" fmla="*/ 15934 h 130604"/>
                <a:gd name="connsiteX31" fmla="*/ 18548 w 92582"/>
                <a:gd name="connsiteY31" fmla="*/ 15934 h 130604"/>
                <a:gd name="connsiteX32" fmla="*/ 17380 w 92582"/>
                <a:gd name="connsiteY32" fmla="*/ 17089 h 130604"/>
                <a:gd name="connsiteX33" fmla="*/ 17380 w 92582"/>
                <a:gd name="connsiteY33" fmla="*/ 1135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2582" h="130604">
                  <a:moveTo>
                    <a:pt x="0" y="1916"/>
                  </a:moveTo>
                  <a:cubicBezTo>
                    <a:pt x="0" y="636"/>
                    <a:pt x="647" y="0"/>
                    <a:pt x="1941" y="0"/>
                  </a:cubicBezTo>
                  <a:lnTo>
                    <a:pt x="46186" y="0"/>
                  </a:lnTo>
                  <a:cubicBezTo>
                    <a:pt x="68734" y="0"/>
                    <a:pt x="83044" y="9269"/>
                    <a:pt x="89104" y="27841"/>
                  </a:cubicBezTo>
                  <a:cubicBezTo>
                    <a:pt x="89606" y="29645"/>
                    <a:pt x="90094" y="31488"/>
                    <a:pt x="90549" y="33410"/>
                  </a:cubicBezTo>
                  <a:cubicBezTo>
                    <a:pt x="91005" y="35332"/>
                    <a:pt x="91388" y="37707"/>
                    <a:pt x="91705" y="40515"/>
                  </a:cubicBezTo>
                  <a:cubicBezTo>
                    <a:pt x="92028" y="43342"/>
                    <a:pt x="92252" y="46734"/>
                    <a:pt x="92378" y="50703"/>
                  </a:cubicBezTo>
                  <a:cubicBezTo>
                    <a:pt x="92516" y="54665"/>
                    <a:pt x="92582" y="59539"/>
                    <a:pt x="92582" y="65305"/>
                  </a:cubicBezTo>
                  <a:cubicBezTo>
                    <a:pt x="92582" y="71072"/>
                    <a:pt x="92516" y="75939"/>
                    <a:pt x="92378" y="79908"/>
                  </a:cubicBezTo>
                  <a:cubicBezTo>
                    <a:pt x="92252" y="83870"/>
                    <a:pt x="92028" y="87269"/>
                    <a:pt x="91705" y="90083"/>
                  </a:cubicBezTo>
                  <a:cubicBezTo>
                    <a:pt x="91388" y="92897"/>
                    <a:pt x="91005" y="95265"/>
                    <a:pt x="90549" y="97194"/>
                  </a:cubicBezTo>
                  <a:cubicBezTo>
                    <a:pt x="90094" y="99116"/>
                    <a:pt x="89606" y="100959"/>
                    <a:pt x="89104" y="102763"/>
                  </a:cubicBezTo>
                  <a:cubicBezTo>
                    <a:pt x="83044" y="121335"/>
                    <a:pt x="68734" y="130604"/>
                    <a:pt x="46186" y="130604"/>
                  </a:cubicBezTo>
                  <a:lnTo>
                    <a:pt x="1941" y="130604"/>
                  </a:lnTo>
                  <a:cubicBezTo>
                    <a:pt x="647" y="130604"/>
                    <a:pt x="0" y="129961"/>
                    <a:pt x="0" y="128682"/>
                  </a:cubicBezTo>
                  <a:lnTo>
                    <a:pt x="0" y="1916"/>
                  </a:lnTo>
                  <a:close/>
                  <a:moveTo>
                    <a:pt x="17380" y="113509"/>
                  </a:moveTo>
                  <a:cubicBezTo>
                    <a:pt x="17380" y="114276"/>
                    <a:pt x="17776" y="114670"/>
                    <a:pt x="18548" y="114670"/>
                  </a:cubicBezTo>
                  <a:lnTo>
                    <a:pt x="42634" y="114670"/>
                  </a:lnTo>
                  <a:cubicBezTo>
                    <a:pt x="50595" y="114670"/>
                    <a:pt x="57024" y="113292"/>
                    <a:pt x="61895" y="110530"/>
                  </a:cubicBezTo>
                  <a:cubicBezTo>
                    <a:pt x="66773" y="107775"/>
                    <a:pt x="70298" y="103203"/>
                    <a:pt x="72490" y="96813"/>
                  </a:cubicBezTo>
                  <a:cubicBezTo>
                    <a:pt x="72879" y="95652"/>
                    <a:pt x="73255" y="94307"/>
                    <a:pt x="73638" y="92772"/>
                  </a:cubicBezTo>
                  <a:cubicBezTo>
                    <a:pt x="74028" y="91237"/>
                    <a:pt x="74312" y="89282"/>
                    <a:pt x="74510" y="86914"/>
                  </a:cubicBezTo>
                  <a:cubicBezTo>
                    <a:pt x="74701" y="84546"/>
                    <a:pt x="74866" y="81633"/>
                    <a:pt x="74991" y="78183"/>
                  </a:cubicBezTo>
                  <a:cubicBezTo>
                    <a:pt x="75117" y="74719"/>
                    <a:pt x="75183" y="70429"/>
                    <a:pt x="75183" y="65305"/>
                  </a:cubicBezTo>
                  <a:cubicBezTo>
                    <a:pt x="75183" y="60175"/>
                    <a:pt x="75117" y="55892"/>
                    <a:pt x="74991" y="52428"/>
                  </a:cubicBezTo>
                  <a:cubicBezTo>
                    <a:pt x="74866" y="48977"/>
                    <a:pt x="74701" y="46065"/>
                    <a:pt x="74510" y="43690"/>
                  </a:cubicBezTo>
                  <a:cubicBezTo>
                    <a:pt x="74312" y="41315"/>
                    <a:pt x="74028" y="39367"/>
                    <a:pt x="73638" y="37832"/>
                  </a:cubicBezTo>
                  <a:cubicBezTo>
                    <a:pt x="73255" y="36297"/>
                    <a:pt x="72879" y="34952"/>
                    <a:pt x="72490" y="33791"/>
                  </a:cubicBezTo>
                  <a:cubicBezTo>
                    <a:pt x="70298" y="27401"/>
                    <a:pt x="66773" y="22822"/>
                    <a:pt x="61895" y="20067"/>
                  </a:cubicBezTo>
                  <a:cubicBezTo>
                    <a:pt x="57024" y="17312"/>
                    <a:pt x="50595" y="15934"/>
                    <a:pt x="42634" y="15934"/>
                  </a:cubicBezTo>
                  <a:lnTo>
                    <a:pt x="18548" y="15934"/>
                  </a:lnTo>
                  <a:cubicBezTo>
                    <a:pt x="17776" y="15934"/>
                    <a:pt x="17380" y="16321"/>
                    <a:pt x="17380" y="17089"/>
                  </a:cubicBezTo>
                  <a:lnTo>
                    <a:pt x="17380" y="113509"/>
                  </a:lnTo>
                  <a:close/>
                </a:path>
              </a:pathLst>
            </a:custGeom>
            <a:solidFill>
              <a:schemeClr val="bg2"/>
            </a:solidFill>
            <a:ln w="7" cap="flat">
              <a:noFill/>
              <a:prstDash val="solid"/>
              <a:miter/>
            </a:ln>
          </p:spPr>
          <p:txBody>
            <a:bodyPr rtlCol="0" anchor="ctr"/>
            <a:lstStyle/>
            <a:p>
              <a:endParaRPr lang="de-DE"/>
            </a:p>
          </p:txBody>
        </p:sp>
        <p:sp>
          <p:nvSpPr>
            <p:cNvPr id="28" name="Freeform: Shape 27">
              <a:extLst>
                <a:ext uri="{FF2B5EF4-FFF2-40B4-BE49-F238E27FC236}">
                  <a16:creationId xmlns:a16="http://schemas.microsoft.com/office/drawing/2014/main" id="{FCE2CD2A-5152-4EAB-B39C-7724AD8425A8}"/>
                </a:ext>
              </a:extLst>
            </p:cNvPr>
            <p:cNvSpPr/>
            <p:nvPr/>
          </p:nvSpPr>
          <p:spPr>
            <a:xfrm>
              <a:off x="10835891" y="921730"/>
              <a:ext cx="108302" cy="130604"/>
            </a:xfrm>
            <a:custGeom>
              <a:avLst/>
              <a:gdLst>
                <a:gd name="connsiteX0" fmla="*/ 45740 w 108302"/>
                <a:gd name="connsiteY0" fmla="*/ 1916 h 130604"/>
                <a:gd name="connsiteX1" fmla="*/ 48057 w 108302"/>
                <a:gd name="connsiteY1" fmla="*/ 0 h 130604"/>
                <a:gd name="connsiteX2" fmla="*/ 60632 w 108302"/>
                <a:gd name="connsiteY2" fmla="*/ 0 h 130604"/>
                <a:gd name="connsiteX3" fmla="*/ 63140 w 108302"/>
                <a:gd name="connsiteY3" fmla="*/ 1916 h 130604"/>
                <a:gd name="connsiteX4" fmla="*/ 108171 w 108302"/>
                <a:gd name="connsiteY4" fmla="*/ 128682 h 130604"/>
                <a:gd name="connsiteX5" fmla="*/ 106817 w 108302"/>
                <a:gd name="connsiteY5" fmla="*/ 130604 h 130604"/>
                <a:gd name="connsiteX6" fmla="*/ 93292 w 108302"/>
                <a:gd name="connsiteY6" fmla="*/ 130604 h 130604"/>
                <a:gd name="connsiteX7" fmla="*/ 90784 w 108302"/>
                <a:gd name="connsiteY7" fmla="*/ 128682 h 130604"/>
                <a:gd name="connsiteX8" fmla="*/ 80731 w 108302"/>
                <a:gd name="connsiteY8" fmla="*/ 100257 h 130604"/>
                <a:gd name="connsiteX9" fmla="*/ 27575 w 108302"/>
                <a:gd name="connsiteY9" fmla="*/ 100257 h 130604"/>
                <a:gd name="connsiteX10" fmla="*/ 17522 w 108302"/>
                <a:gd name="connsiteY10" fmla="*/ 128682 h 130604"/>
                <a:gd name="connsiteX11" fmla="*/ 15014 w 108302"/>
                <a:gd name="connsiteY11" fmla="*/ 130604 h 130604"/>
                <a:gd name="connsiteX12" fmla="*/ 1482 w 108302"/>
                <a:gd name="connsiteY12" fmla="*/ 130604 h 130604"/>
                <a:gd name="connsiteX13" fmla="*/ 136 w 108302"/>
                <a:gd name="connsiteY13" fmla="*/ 128682 h 130604"/>
                <a:gd name="connsiteX14" fmla="*/ 45740 w 108302"/>
                <a:gd name="connsiteY14" fmla="*/ 1916 h 130604"/>
                <a:gd name="connsiteX15" fmla="*/ 75127 w 108302"/>
                <a:gd name="connsiteY15" fmla="*/ 84513 h 130604"/>
                <a:gd name="connsiteX16" fmla="*/ 54440 w 108302"/>
                <a:gd name="connsiteY16" fmla="*/ 25164 h 130604"/>
                <a:gd name="connsiteX17" fmla="*/ 54051 w 108302"/>
                <a:gd name="connsiteY17" fmla="*/ 25164 h 130604"/>
                <a:gd name="connsiteX18" fmla="*/ 33179 w 108302"/>
                <a:gd name="connsiteY18" fmla="*/ 84513 h 130604"/>
                <a:gd name="connsiteX19" fmla="*/ 75127 w 108302"/>
                <a:gd name="connsiteY19" fmla="*/ 84513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302" h="130604">
                  <a:moveTo>
                    <a:pt x="45740" y="1916"/>
                  </a:moveTo>
                  <a:cubicBezTo>
                    <a:pt x="46117" y="636"/>
                    <a:pt x="46896" y="0"/>
                    <a:pt x="48057" y="0"/>
                  </a:cubicBezTo>
                  <a:lnTo>
                    <a:pt x="60632" y="0"/>
                  </a:lnTo>
                  <a:cubicBezTo>
                    <a:pt x="61906" y="0"/>
                    <a:pt x="62757" y="636"/>
                    <a:pt x="63140" y="1916"/>
                  </a:cubicBezTo>
                  <a:lnTo>
                    <a:pt x="108171" y="128682"/>
                  </a:lnTo>
                  <a:cubicBezTo>
                    <a:pt x="108553" y="129961"/>
                    <a:pt x="108105" y="130604"/>
                    <a:pt x="106817" y="130604"/>
                  </a:cubicBezTo>
                  <a:lnTo>
                    <a:pt x="93292" y="130604"/>
                  </a:lnTo>
                  <a:cubicBezTo>
                    <a:pt x="91999" y="130604"/>
                    <a:pt x="91160" y="129961"/>
                    <a:pt x="90784" y="128682"/>
                  </a:cubicBezTo>
                  <a:lnTo>
                    <a:pt x="80731" y="100257"/>
                  </a:lnTo>
                  <a:lnTo>
                    <a:pt x="27575" y="100257"/>
                  </a:lnTo>
                  <a:lnTo>
                    <a:pt x="17522" y="128682"/>
                  </a:lnTo>
                  <a:cubicBezTo>
                    <a:pt x="17007" y="129961"/>
                    <a:pt x="16169" y="130604"/>
                    <a:pt x="15014" y="130604"/>
                  </a:cubicBezTo>
                  <a:lnTo>
                    <a:pt x="1482" y="130604"/>
                  </a:lnTo>
                  <a:cubicBezTo>
                    <a:pt x="195" y="130604"/>
                    <a:pt x="-254" y="129961"/>
                    <a:pt x="136" y="128682"/>
                  </a:cubicBezTo>
                  <a:lnTo>
                    <a:pt x="45740" y="1916"/>
                  </a:lnTo>
                  <a:close/>
                  <a:moveTo>
                    <a:pt x="75127" y="84513"/>
                  </a:moveTo>
                  <a:lnTo>
                    <a:pt x="54440" y="25164"/>
                  </a:lnTo>
                  <a:lnTo>
                    <a:pt x="54051" y="25164"/>
                  </a:lnTo>
                  <a:lnTo>
                    <a:pt x="33179" y="84513"/>
                  </a:lnTo>
                  <a:lnTo>
                    <a:pt x="75127" y="84513"/>
                  </a:lnTo>
                  <a:close/>
                </a:path>
              </a:pathLst>
            </a:custGeom>
            <a:solidFill>
              <a:schemeClr val="bg2"/>
            </a:solidFill>
            <a:ln w="7" cap="flat">
              <a:noFill/>
              <a:prstDash val="solid"/>
              <a:miter/>
            </a:ln>
          </p:spPr>
          <p:txBody>
            <a:bodyPr rtlCol="0" anchor="ctr"/>
            <a:lstStyle/>
            <a:p>
              <a:endParaRPr lang="de-DE"/>
            </a:p>
          </p:txBody>
        </p:sp>
        <p:sp>
          <p:nvSpPr>
            <p:cNvPr id="29" name="Freeform: Shape 28">
              <a:extLst>
                <a:ext uri="{FF2B5EF4-FFF2-40B4-BE49-F238E27FC236}">
                  <a16:creationId xmlns:a16="http://schemas.microsoft.com/office/drawing/2014/main" id="{A7F12E65-C330-4B25-B3D8-3D96F8C4084D}"/>
                </a:ext>
              </a:extLst>
            </p:cNvPr>
            <p:cNvSpPr/>
            <p:nvPr/>
          </p:nvSpPr>
          <p:spPr>
            <a:xfrm>
              <a:off x="10966861" y="921730"/>
              <a:ext cx="90655" cy="130604"/>
            </a:xfrm>
            <a:custGeom>
              <a:avLst/>
              <a:gdLst>
                <a:gd name="connsiteX0" fmla="*/ 0 w 90655"/>
                <a:gd name="connsiteY0" fmla="*/ 1916 h 130604"/>
                <a:gd name="connsiteX1" fmla="*/ 1941 w 90655"/>
                <a:gd name="connsiteY1" fmla="*/ 0 h 130604"/>
                <a:gd name="connsiteX2" fmla="*/ 48522 w 90655"/>
                <a:gd name="connsiteY2" fmla="*/ 0 h 130604"/>
                <a:gd name="connsiteX3" fmla="*/ 78272 w 90655"/>
                <a:gd name="connsiteY3" fmla="*/ 9309 h 130604"/>
                <a:gd name="connsiteX4" fmla="*/ 88127 w 90655"/>
                <a:gd name="connsiteY4" fmla="*/ 34375 h 130604"/>
                <a:gd name="connsiteX5" fmla="*/ 83203 w 90655"/>
                <a:gd name="connsiteY5" fmla="*/ 52815 h 130604"/>
                <a:gd name="connsiteX6" fmla="*/ 70556 w 90655"/>
                <a:gd name="connsiteY6" fmla="*/ 62806 h 130604"/>
                <a:gd name="connsiteX7" fmla="*/ 70556 w 90655"/>
                <a:gd name="connsiteY7" fmla="*/ 63193 h 130604"/>
                <a:gd name="connsiteX8" fmla="*/ 77401 w 90655"/>
                <a:gd name="connsiteY8" fmla="*/ 66552 h 130604"/>
                <a:gd name="connsiteX9" fmla="*/ 83883 w 90655"/>
                <a:gd name="connsiteY9" fmla="*/ 72699 h 130604"/>
                <a:gd name="connsiteX10" fmla="*/ 88708 w 90655"/>
                <a:gd name="connsiteY10" fmla="*/ 81633 h 130604"/>
                <a:gd name="connsiteX11" fmla="*/ 90655 w 90655"/>
                <a:gd name="connsiteY11" fmla="*/ 93356 h 130604"/>
                <a:gd name="connsiteX12" fmla="*/ 79506 w 90655"/>
                <a:gd name="connsiteY12" fmla="*/ 121204 h 130604"/>
                <a:gd name="connsiteX13" fmla="*/ 47644 w 90655"/>
                <a:gd name="connsiteY13" fmla="*/ 130604 h 130604"/>
                <a:gd name="connsiteX14" fmla="*/ 1941 w 90655"/>
                <a:gd name="connsiteY14" fmla="*/ 130604 h 130604"/>
                <a:gd name="connsiteX15" fmla="*/ 0 w 90655"/>
                <a:gd name="connsiteY15" fmla="*/ 128682 h 130604"/>
                <a:gd name="connsiteX16" fmla="*/ 0 w 90655"/>
                <a:gd name="connsiteY16" fmla="*/ 1916 h 130604"/>
                <a:gd name="connsiteX17" fmla="*/ 48205 w 90655"/>
                <a:gd name="connsiteY17" fmla="*/ 56462 h 130604"/>
                <a:gd name="connsiteX18" fmla="*/ 65176 w 90655"/>
                <a:gd name="connsiteY18" fmla="*/ 50906 h 130604"/>
                <a:gd name="connsiteX19" fmla="*/ 71137 w 90655"/>
                <a:gd name="connsiteY19" fmla="*/ 36113 h 130604"/>
                <a:gd name="connsiteX20" fmla="*/ 65176 w 90655"/>
                <a:gd name="connsiteY20" fmla="*/ 21123 h 130604"/>
                <a:gd name="connsiteX21" fmla="*/ 48205 w 90655"/>
                <a:gd name="connsiteY21" fmla="*/ 15554 h 130604"/>
                <a:gd name="connsiteX22" fmla="*/ 18555 w 90655"/>
                <a:gd name="connsiteY22" fmla="*/ 15554 h 130604"/>
                <a:gd name="connsiteX23" fmla="*/ 17393 w 90655"/>
                <a:gd name="connsiteY23" fmla="*/ 16702 h 130604"/>
                <a:gd name="connsiteX24" fmla="*/ 17393 w 90655"/>
                <a:gd name="connsiteY24" fmla="*/ 55308 h 130604"/>
                <a:gd name="connsiteX25" fmla="*/ 18555 w 90655"/>
                <a:gd name="connsiteY25" fmla="*/ 56462 h 130604"/>
                <a:gd name="connsiteX26" fmla="*/ 48205 w 90655"/>
                <a:gd name="connsiteY26" fmla="*/ 56462 h 130604"/>
                <a:gd name="connsiteX27" fmla="*/ 17393 w 90655"/>
                <a:gd name="connsiteY27" fmla="*/ 113896 h 130604"/>
                <a:gd name="connsiteX28" fmla="*/ 18555 w 90655"/>
                <a:gd name="connsiteY28" fmla="*/ 115044 h 130604"/>
                <a:gd name="connsiteX29" fmla="*/ 49196 w 90655"/>
                <a:gd name="connsiteY29" fmla="*/ 115044 h 130604"/>
                <a:gd name="connsiteX30" fmla="*/ 67097 w 90655"/>
                <a:gd name="connsiteY30" fmla="*/ 109199 h 130604"/>
                <a:gd name="connsiteX31" fmla="*/ 73262 w 90655"/>
                <a:gd name="connsiteY31" fmla="*/ 93540 h 130604"/>
                <a:gd name="connsiteX32" fmla="*/ 67097 w 90655"/>
                <a:gd name="connsiteY32" fmla="*/ 77881 h 130604"/>
                <a:gd name="connsiteX33" fmla="*/ 49196 w 90655"/>
                <a:gd name="connsiteY33" fmla="*/ 72029 h 130604"/>
                <a:gd name="connsiteX34" fmla="*/ 18555 w 90655"/>
                <a:gd name="connsiteY34" fmla="*/ 72029 h 130604"/>
                <a:gd name="connsiteX35" fmla="*/ 17393 w 90655"/>
                <a:gd name="connsiteY35" fmla="*/ 73191 h 130604"/>
                <a:gd name="connsiteX36" fmla="*/ 17393 w 90655"/>
                <a:gd name="connsiteY36" fmla="*/ 11389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0655" h="130604">
                  <a:moveTo>
                    <a:pt x="0" y="1916"/>
                  </a:moveTo>
                  <a:cubicBezTo>
                    <a:pt x="0" y="636"/>
                    <a:pt x="647" y="0"/>
                    <a:pt x="1941" y="0"/>
                  </a:cubicBezTo>
                  <a:lnTo>
                    <a:pt x="48522" y="0"/>
                  </a:lnTo>
                  <a:cubicBezTo>
                    <a:pt x="61790" y="0"/>
                    <a:pt x="71704" y="3109"/>
                    <a:pt x="78272" y="9309"/>
                  </a:cubicBezTo>
                  <a:cubicBezTo>
                    <a:pt x="84853" y="15521"/>
                    <a:pt x="88127" y="23879"/>
                    <a:pt x="88127" y="34375"/>
                  </a:cubicBezTo>
                  <a:cubicBezTo>
                    <a:pt x="88127" y="42057"/>
                    <a:pt x="86483" y="48210"/>
                    <a:pt x="83203" y="52815"/>
                  </a:cubicBezTo>
                  <a:cubicBezTo>
                    <a:pt x="79929" y="57420"/>
                    <a:pt x="75691" y="60759"/>
                    <a:pt x="70556" y="62806"/>
                  </a:cubicBezTo>
                  <a:lnTo>
                    <a:pt x="70556" y="63193"/>
                  </a:lnTo>
                  <a:cubicBezTo>
                    <a:pt x="72747" y="63829"/>
                    <a:pt x="75018" y="64945"/>
                    <a:pt x="77401" y="66552"/>
                  </a:cubicBezTo>
                  <a:cubicBezTo>
                    <a:pt x="79784" y="68159"/>
                    <a:pt x="81949" y="70199"/>
                    <a:pt x="83883" y="72699"/>
                  </a:cubicBezTo>
                  <a:cubicBezTo>
                    <a:pt x="85803" y="75198"/>
                    <a:pt x="87414" y="78183"/>
                    <a:pt x="88708" y="81633"/>
                  </a:cubicBezTo>
                  <a:cubicBezTo>
                    <a:pt x="90002" y="85091"/>
                    <a:pt x="90655" y="88994"/>
                    <a:pt x="90655" y="93356"/>
                  </a:cubicBezTo>
                  <a:cubicBezTo>
                    <a:pt x="90655" y="105650"/>
                    <a:pt x="86939" y="114919"/>
                    <a:pt x="79506" y="121204"/>
                  </a:cubicBezTo>
                  <a:cubicBezTo>
                    <a:pt x="72080" y="127462"/>
                    <a:pt x="61473" y="130604"/>
                    <a:pt x="47644" y="130604"/>
                  </a:cubicBezTo>
                  <a:lnTo>
                    <a:pt x="1941" y="130604"/>
                  </a:lnTo>
                  <a:cubicBezTo>
                    <a:pt x="647" y="130604"/>
                    <a:pt x="0" y="129961"/>
                    <a:pt x="0" y="128682"/>
                  </a:cubicBezTo>
                  <a:lnTo>
                    <a:pt x="0" y="1916"/>
                  </a:lnTo>
                  <a:close/>
                  <a:moveTo>
                    <a:pt x="48205" y="56462"/>
                  </a:moveTo>
                  <a:cubicBezTo>
                    <a:pt x="55539" y="56462"/>
                    <a:pt x="61176" y="54606"/>
                    <a:pt x="65176" y="50906"/>
                  </a:cubicBezTo>
                  <a:cubicBezTo>
                    <a:pt x="69143" y="47193"/>
                    <a:pt x="71137" y="42253"/>
                    <a:pt x="71137" y="36113"/>
                  </a:cubicBezTo>
                  <a:cubicBezTo>
                    <a:pt x="71137" y="29829"/>
                    <a:pt x="69143" y="24830"/>
                    <a:pt x="65176" y="21123"/>
                  </a:cubicBezTo>
                  <a:cubicBezTo>
                    <a:pt x="61176" y="17404"/>
                    <a:pt x="55539" y="15554"/>
                    <a:pt x="48205" y="15554"/>
                  </a:cubicBezTo>
                  <a:lnTo>
                    <a:pt x="18555" y="15554"/>
                  </a:lnTo>
                  <a:cubicBezTo>
                    <a:pt x="17782" y="15554"/>
                    <a:pt x="17393" y="15934"/>
                    <a:pt x="17393" y="16702"/>
                  </a:cubicBezTo>
                  <a:lnTo>
                    <a:pt x="17393" y="55308"/>
                  </a:lnTo>
                  <a:cubicBezTo>
                    <a:pt x="17393" y="56075"/>
                    <a:pt x="17782" y="56462"/>
                    <a:pt x="18555" y="56462"/>
                  </a:cubicBezTo>
                  <a:lnTo>
                    <a:pt x="48205" y="56462"/>
                  </a:lnTo>
                  <a:close/>
                  <a:moveTo>
                    <a:pt x="17393" y="113896"/>
                  </a:moveTo>
                  <a:cubicBezTo>
                    <a:pt x="17393" y="114670"/>
                    <a:pt x="17782" y="115044"/>
                    <a:pt x="18555" y="115044"/>
                  </a:cubicBezTo>
                  <a:lnTo>
                    <a:pt x="49196" y="115044"/>
                  </a:lnTo>
                  <a:cubicBezTo>
                    <a:pt x="57024" y="115044"/>
                    <a:pt x="62985" y="113089"/>
                    <a:pt x="67097" y="109199"/>
                  </a:cubicBezTo>
                  <a:cubicBezTo>
                    <a:pt x="71209" y="105289"/>
                    <a:pt x="73262" y="100067"/>
                    <a:pt x="73262" y="93540"/>
                  </a:cubicBezTo>
                  <a:cubicBezTo>
                    <a:pt x="73262" y="87000"/>
                    <a:pt x="71209" y="81791"/>
                    <a:pt x="67097" y="77881"/>
                  </a:cubicBezTo>
                  <a:cubicBezTo>
                    <a:pt x="62985" y="73984"/>
                    <a:pt x="57024" y="72029"/>
                    <a:pt x="49196" y="72029"/>
                  </a:cubicBezTo>
                  <a:lnTo>
                    <a:pt x="18555" y="72029"/>
                  </a:lnTo>
                  <a:cubicBezTo>
                    <a:pt x="17782" y="72029"/>
                    <a:pt x="17393" y="72417"/>
                    <a:pt x="17393" y="73191"/>
                  </a:cubicBezTo>
                  <a:lnTo>
                    <a:pt x="17393" y="113896"/>
                  </a:lnTo>
                  <a:close/>
                </a:path>
              </a:pathLst>
            </a:custGeom>
            <a:solidFill>
              <a:schemeClr val="bg2"/>
            </a:solidFill>
            <a:ln w="7" cap="flat">
              <a:noFill/>
              <a:prstDash val="solid"/>
              <a:miter/>
            </a:ln>
          </p:spPr>
          <p:txBody>
            <a:bodyPr rtlCol="0" anchor="ctr"/>
            <a:lstStyle/>
            <a:p>
              <a:endParaRPr lang="de-DE"/>
            </a:p>
          </p:txBody>
        </p:sp>
        <p:sp>
          <p:nvSpPr>
            <p:cNvPr id="30" name="Freeform: Shape 29">
              <a:extLst>
                <a:ext uri="{FF2B5EF4-FFF2-40B4-BE49-F238E27FC236}">
                  <a16:creationId xmlns:a16="http://schemas.microsoft.com/office/drawing/2014/main" id="{FAD0813F-D4A7-4321-8CF9-F70850D0E696}"/>
                </a:ext>
              </a:extLst>
            </p:cNvPr>
            <p:cNvSpPr/>
            <p:nvPr/>
          </p:nvSpPr>
          <p:spPr>
            <a:xfrm>
              <a:off x="11085536" y="921730"/>
              <a:ext cx="83103" cy="130604"/>
            </a:xfrm>
            <a:custGeom>
              <a:avLst/>
              <a:gdLst>
                <a:gd name="connsiteX0" fmla="*/ 0 w 83103"/>
                <a:gd name="connsiteY0" fmla="*/ 1916 h 130604"/>
                <a:gd name="connsiteX1" fmla="*/ 1934 w 83103"/>
                <a:gd name="connsiteY1" fmla="*/ 0 h 130604"/>
                <a:gd name="connsiteX2" fmla="*/ 81170 w 83103"/>
                <a:gd name="connsiteY2" fmla="*/ 0 h 130604"/>
                <a:gd name="connsiteX3" fmla="*/ 83104 w 83103"/>
                <a:gd name="connsiteY3" fmla="*/ 1916 h 130604"/>
                <a:gd name="connsiteX4" fmla="*/ 83104 w 83103"/>
                <a:gd name="connsiteY4" fmla="*/ 14006 h 130604"/>
                <a:gd name="connsiteX5" fmla="*/ 81170 w 83103"/>
                <a:gd name="connsiteY5" fmla="*/ 15934 h 130604"/>
                <a:gd name="connsiteX6" fmla="*/ 18555 w 83103"/>
                <a:gd name="connsiteY6" fmla="*/ 15934 h 130604"/>
                <a:gd name="connsiteX7" fmla="*/ 17406 w 83103"/>
                <a:gd name="connsiteY7" fmla="*/ 17089 h 130604"/>
                <a:gd name="connsiteX8" fmla="*/ 17406 w 83103"/>
                <a:gd name="connsiteY8" fmla="*/ 55505 h 130604"/>
                <a:gd name="connsiteX9" fmla="*/ 18555 w 83103"/>
                <a:gd name="connsiteY9" fmla="*/ 56653 h 130604"/>
                <a:gd name="connsiteX10" fmla="*/ 71691 w 83103"/>
                <a:gd name="connsiteY10" fmla="*/ 56653 h 130604"/>
                <a:gd name="connsiteX11" fmla="*/ 73638 w 83103"/>
                <a:gd name="connsiteY11" fmla="*/ 58575 h 130604"/>
                <a:gd name="connsiteX12" fmla="*/ 73638 w 83103"/>
                <a:gd name="connsiteY12" fmla="*/ 70678 h 130604"/>
                <a:gd name="connsiteX13" fmla="*/ 71691 w 83103"/>
                <a:gd name="connsiteY13" fmla="*/ 72607 h 130604"/>
                <a:gd name="connsiteX14" fmla="*/ 18555 w 83103"/>
                <a:gd name="connsiteY14" fmla="*/ 72607 h 130604"/>
                <a:gd name="connsiteX15" fmla="*/ 17406 w 83103"/>
                <a:gd name="connsiteY15" fmla="*/ 73755 h 130604"/>
                <a:gd name="connsiteX16" fmla="*/ 17406 w 83103"/>
                <a:gd name="connsiteY16" fmla="*/ 113509 h 130604"/>
                <a:gd name="connsiteX17" fmla="*/ 18555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1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34" y="0"/>
                  </a:cubicBezTo>
                  <a:lnTo>
                    <a:pt x="81170" y="0"/>
                  </a:lnTo>
                  <a:cubicBezTo>
                    <a:pt x="82463" y="0"/>
                    <a:pt x="83104" y="636"/>
                    <a:pt x="83104" y="1916"/>
                  </a:cubicBezTo>
                  <a:lnTo>
                    <a:pt x="83104" y="14006"/>
                  </a:lnTo>
                  <a:cubicBezTo>
                    <a:pt x="83104" y="15292"/>
                    <a:pt x="82463" y="15934"/>
                    <a:pt x="81170" y="15934"/>
                  </a:cubicBezTo>
                  <a:lnTo>
                    <a:pt x="18555" y="15934"/>
                  </a:lnTo>
                  <a:cubicBezTo>
                    <a:pt x="17782" y="15934"/>
                    <a:pt x="17406" y="16321"/>
                    <a:pt x="17406" y="17089"/>
                  </a:cubicBezTo>
                  <a:lnTo>
                    <a:pt x="17406" y="55505"/>
                  </a:lnTo>
                  <a:cubicBezTo>
                    <a:pt x="17406" y="56279"/>
                    <a:pt x="17782" y="56653"/>
                    <a:pt x="18555" y="56653"/>
                  </a:cubicBezTo>
                  <a:lnTo>
                    <a:pt x="71691" y="56653"/>
                  </a:lnTo>
                  <a:cubicBezTo>
                    <a:pt x="72985" y="56653"/>
                    <a:pt x="73638" y="57296"/>
                    <a:pt x="73638" y="58575"/>
                  </a:cubicBezTo>
                  <a:lnTo>
                    <a:pt x="73638" y="70678"/>
                  </a:lnTo>
                  <a:cubicBezTo>
                    <a:pt x="73638" y="71970"/>
                    <a:pt x="72985" y="72607"/>
                    <a:pt x="71691" y="72607"/>
                  </a:cubicBezTo>
                  <a:lnTo>
                    <a:pt x="18555" y="72607"/>
                  </a:lnTo>
                  <a:cubicBezTo>
                    <a:pt x="17782" y="72607"/>
                    <a:pt x="17406" y="72987"/>
                    <a:pt x="17406" y="73755"/>
                  </a:cubicBezTo>
                  <a:lnTo>
                    <a:pt x="17406" y="113509"/>
                  </a:lnTo>
                  <a:cubicBezTo>
                    <a:pt x="17406" y="114276"/>
                    <a:pt x="17782" y="114670"/>
                    <a:pt x="18555" y="114670"/>
                  </a:cubicBezTo>
                  <a:lnTo>
                    <a:pt x="81170" y="114670"/>
                  </a:lnTo>
                  <a:cubicBezTo>
                    <a:pt x="82463" y="114670"/>
                    <a:pt x="83104" y="115306"/>
                    <a:pt x="83104" y="116592"/>
                  </a:cubicBezTo>
                  <a:lnTo>
                    <a:pt x="83104" y="128682"/>
                  </a:lnTo>
                  <a:cubicBezTo>
                    <a:pt x="83104" y="129961"/>
                    <a:pt x="82463" y="130604"/>
                    <a:pt x="81170" y="130604"/>
                  </a:cubicBezTo>
                  <a:lnTo>
                    <a:pt x="1941"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31" name="Freeform: Shape 30">
              <a:extLst>
                <a:ext uri="{FF2B5EF4-FFF2-40B4-BE49-F238E27FC236}">
                  <a16:creationId xmlns:a16="http://schemas.microsoft.com/office/drawing/2014/main" id="{B84BFBC6-EAFE-49C3-B125-84C8059B9074}"/>
                </a:ext>
              </a:extLst>
            </p:cNvPr>
            <p:cNvSpPr/>
            <p:nvPr/>
          </p:nvSpPr>
          <p:spPr>
            <a:xfrm>
              <a:off x="11196277" y="921730"/>
              <a:ext cx="83103" cy="130604"/>
            </a:xfrm>
            <a:custGeom>
              <a:avLst/>
              <a:gdLst>
                <a:gd name="connsiteX0" fmla="*/ 0 w 83103"/>
                <a:gd name="connsiteY0" fmla="*/ 1916 h 130604"/>
                <a:gd name="connsiteX1" fmla="*/ 1947 w 83103"/>
                <a:gd name="connsiteY1" fmla="*/ 0 h 130604"/>
                <a:gd name="connsiteX2" fmla="*/ 15433 w 83103"/>
                <a:gd name="connsiteY2" fmla="*/ 0 h 130604"/>
                <a:gd name="connsiteX3" fmla="*/ 17406 w 83103"/>
                <a:gd name="connsiteY3" fmla="*/ 1916 h 130604"/>
                <a:gd name="connsiteX4" fmla="*/ 17406 w 83103"/>
                <a:gd name="connsiteY4" fmla="*/ 113509 h 130604"/>
                <a:gd name="connsiteX5" fmla="*/ 18555 w 83103"/>
                <a:gd name="connsiteY5" fmla="*/ 114670 h 130604"/>
                <a:gd name="connsiteX6" fmla="*/ 81176 w 83103"/>
                <a:gd name="connsiteY6" fmla="*/ 114670 h 130604"/>
                <a:gd name="connsiteX7" fmla="*/ 83097 w 83103"/>
                <a:gd name="connsiteY7" fmla="*/ 116592 h 130604"/>
                <a:gd name="connsiteX8" fmla="*/ 83104 w 83103"/>
                <a:gd name="connsiteY8" fmla="*/ 128682 h 130604"/>
                <a:gd name="connsiteX9" fmla="*/ 81176 w 83103"/>
                <a:gd name="connsiteY9" fmla="*/ 130604 h 130604"/>
                <a:gd name="connsiteX10" fmla="*/ 1947 w 83103"/>
                <a:gd name="connsiteY10" fmla="*/ 130604 h 130604"/>
                <a:gd name="connsiteX11" fmla="*/ 0 w 83103"/>
                <a:gd name="connsiteY11" fmla="*/ 128682 h 130604"/>
                <a:gd name="connsiteX12" fmla="*/ 0 w 83103"/>
                <a:gd name="connsiteY12"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03" h="130604">
                  <a:moveTo>
                    <a:pt x="0" y="1916"/>
                  </a:moveTo>
                  <a:cubicBezTo>
                    <a:pt x="0" y="636"/>
                    <a:pt x="653" y="0"/>
                    <a:pt x="1947" y="0"/>
                  </a:cubicBezTo>
                  <a:lnTo>
                    <a:pt x="15433" y="0"/>
                  </a:lnTo>
                  <a:cubicBezTo>
                    <a:pt x="16753" y="0"/>
                    <a:pt x="17406" y="636"/>
                    <a:pt x="17406" y="1916"/>
                  </a:cubicBezTo>
                  <a:lnTo>
                    <a:pt x="17406" y="113509"/>
                  </a:lnTo>
                  <a:cubicBezTo>
                    <a:pt x="17406" y="114276"/>
                    <a:pt x="17776" y="114670"/>
                    <a:pt x="18555" y="114670"/>
                  </a:cubicBezTo>
                  <a:lnTo>
                    <a:pt x="81176" y="114670"/>
                  </a:lnTo>
                  <a:cubicBezTo>
                    <a:pt x="82463" y="114670"/>
                    <a:pt x="83097" y="115306"/>
                    <a:pt x="83097" y="116592"/>
                  </a:cubicBezTo>
                  <a:lnTo>
                    <a:pt x="83104" y="128682"/>
                  </a:lnTo>
                  <a:cubicBezTo>
                    <a:pt x="83104" y="129961"/>
                    <a:pt x="82463" y="130604"/>
                    <a:pt x="81176" y="130604"/>
                  </a:cubicBezTo>
                  <a:lnTo>
                    <a:pt x="1947"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32" name="Freeform: Shape 31">
              <a:extLst>
                <a:ext uri="{FF2B5EF4-FFF2-40B4-BE49-F238E27FC236}">
                  <a16:creationId xmlns:a16="http://schemas.microsoft.com/office/drawing/2014/main" id="{FF1AA632-54E6-4957-9E53-CA1C17CD0145}"/>
                </a:ext>
              </a:extLst>
            </p:cNvPr>
            <p:cNvSpPr/>
            <p:nvPr/>
          </p:nvSpPr>
          <p:spPr>
            <a:xfrm>
              <a:off x="11295086" y="919617"/>
              <a:ext cx="94858" cy="134835"/>
            </a:xfrm>
            <a:custGeom>
              <a:avLst/>
              <a:gdLst>
                <a:gd name="connsiteX0" fmla="*/ 46910 w 94858"/>
                <a:gd name="connsiteY0" fmla="*/ 134836 h 134835"/>
                <a:gd name="connsiteX1" fmla="*/ 33187 w 94858"/>
                <a:gd name="connsiteY1" fmla="*/ 133491 h 134835"/>
                <a:gd name="connsiteX2" fmla="*/ 20434 w 94858"/>
                <a:gd name="connsiteY2" fmla="*/ 129929 h 134835"/>
                <a:gd name="connsiteX3" fmla="*/ 9431 w 94858"/>
                <a:gd name="connsiteY3" fmla="*/ 124753 h 134835"/>
                <a:gd name="connsiteX4" fmla="*/ 724 w 94858"/>
                <a:gd name="connsiteY4" fmla="*/ 118508 h 134835"/>
                <a:gd name="connsiteX5" fmla="*/ 526 w 94858"/>
                <a:gd name="connsiteY5" fmla="*/ 115621 h 134835"/>
                <a:gd name="connsiteX6" fmla="*/ 9028 w 94858"/>
                <a:gd name="connsiteY6" fmla="*/ 105643 h 134835"/>
                <a:gd name="connsiteX7" fmla="*/ 11748 w 94858"/>
                <a:gd name="connsiteY7" fmla="*/ 105446 h 134835"/>
                <a:gd name="connsiteX8" fmla="*/ 27583 w 94858"/>
                <a:gd name="connsiteY8" fmla="*/ 114663 h 134835"/>
                <a:gd name="connsiteX9" fmla="*/ 48461 w 94858"/>
                <a:gd name="connsiteY9" fmla="*/ 118895 h 134835"/>
                <a:gd name="connsiteX10" fmla="*/ 69821 w 94858"/>
                <a:gd name="connsiteY10" fmla="*/ 112748 h 134835"/>
                <a:gd name="connsiteX11" fmla="*/ 77452 w 94858"/>
                <a:gd name="connsiteY11" fmla="*/ 96610 h 134835"/>
                <a:gd name="connsiteX12" fmla="*/ 76099 w 94858"/>
                <a:gd name="connsiteY12" fmla="*/ 88928 h 134835"/>
                <a:gd name="connsiteX13" fmla="*/ 71551 w 94858"/>
                <a:gd name="connsiteY13" fmla="*/ 82781 h 134835"/>
                <a:gd name="connsiteX14" fmla="*/ 63148 w 94858"/>
                <a:gd name="connsiteY14" fmla="*/ 78170 h 134835"/>
                <a:gd name="connsiteX15" fmla="*/ 50019 w 94858"/>
                <a:gd name="connsiteY15" fmla="*/ 75303 h 134835"/>
                <a:gd name="connsiteX16" fmla="*/ 43445 w 94858"/>
                <a:gd name="connsiteY16" fmla="*/ 74332 h 134835"/>
                <a:gd name="connsiteX17" fmla="*/ 4777 w 94858"/>
                <a:gd name="connsiteY17" fmla="*/ 38219 h 134835"/>
                <a:gd name="connsiteX18" fmla="*/ 7774 w 94858"/>
                <a:gd name="connsiteY18" fmla="*/ 22468 h 134835"/>
                <a:gd name="connsiteX19" fmla="*/ 16388 w 94858"/>
                <a:gd name="connsiteY19" fmla="*/ 10365 h 134835"/>
                <a:gd name="connsiteX20" fmla="*/ 29913 w 94858"/>
                <a:gd name="connsiteY20" fmla="*/ 2683 h 134835"/>
                <a:gd name="connsiteX21" fmla="*/ 47682 w 94858"/>
                <a:gd name="connsiteY21" fmla="*/ 0 h 134835"/>
                <a:gd name="connsiteX22" fmla="*/ 69821 w 94858"/>
                <a:gd name="connsiteY22" fmla="*/ 3359 h 134835"/>
                <a:gd name="connsiteX23" fmla="*/ 87703 w 94858"/>
                <a:gd name="connsiteY23" fmla="*/ 12090 h 134835"/>
                <a:gd name="connsiteX24" fmla="*/ 88086 w 94858"/>
                <a:gd name="connsiteY24" fmla="*/ 14780 h 134835"/>
                <a:gd name="connsiteX25" fmla="*/ 81505 w 94858"/>
                <a:gd name="connsiteY25" fmla="*/ 25348 h 134835"/>
                <a:gd name="connsiteX26" fmla="*/ 78805 w 94858"/>
                <a:gd name="connsiteY26" fmla="*/ 25729 h 134835"/>
                <a:gd name="connsiteX27" fmla="*/ 63148 w 94858"/>
                <a:gd name="connsiteY27" fmla="*/ 18329 h 134835"/>
                <a:gd name="connsiteX28" fmla="*/ 47115 w 94858"/>
                <a:gd name="connsiteY28" fmla="*/ 15934 h 134835"/>
                <a:gd name="connsiteX29" fmla="*/ 28560 w 94858"/>
                <a:gd name="connsiteY29" fmla="*/ 21793 h 134835"/>
                <a:gd name="connsiteX30" fmla="*/ 22190 w 94858"/>
                <a:gd name="connsiteY30" fmla="*/ 37064 h 134835"/>
                <a:gd name="connsiteX31" fmla="*/ 28362 w 94858"/>
                <a:gd name="connsiteY31" fmla="*/ 50611 h 134835"/>
                <a:gd name="connsiteX32" fmla="*/ 49814 w 94858"/>
                <a:gd name="connsiteY32" fmla="*/ 58004 h 134835"/>
                <a:gd name="connsiteX33" fmla="*/ 56197 w 94858"/>
                <a:gd name="connsiteY33" fmla="*/ 58962 h 134835"/>
                <a:gd name="connsiteX34" fmla="*/ 85175 w 94858"/>
                <a:gd name="connsiteY34" fmla="*/ 70488 h 134835"/>
                <a:gd name="connsiteX35" fmla="*/ 94858 w 94858"/>
                <a:gd name="connsiteY35" fmla="*/ 95469 h 134835"/>
                <a:gd name="connsiteX36" fmla="*/ 91861 w 94858"/>
                <a:gd name="connsiteY36" fmla="*/ 111311 h 134835"/>
                <a:gd name="connsiteX37" fmla="*/ 82785 w 94858"/>
                <a:gd name="connsiteY37" fmla="*/ 123697 h 134835"/>
                <a:gd name="connsiteX38" fmla="*/ 67703 w 94858"/>
                <a:gd name="connsiteY38" fmla="*/ 131851 h 134835"/>
                <a:gd name="connsiteX39" fmla="*/ 46910 w 94858"/>
                <a:gd name="connsiteY39" fmla="*/ 134836 h 134835"/>
                <a:gd name="connsiteX40" fmla="*/ 46910 w 94858"/>
                <a:gd name="connsiteY40" fmla="*/ 134836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4858" h="134835">
                  <a:moveTo>
                    <a:pt x="46910" y="134836"/>
                  </a:moveTo>
                  <a:cubicBezTo>
                    <a:pt x="42296" y="134836"/>
                    <a:pt x="37709" y="134376"/>
                    <a:pt x="33187" y="133491"/>
                  </a:cubicBezTo>
                  <a:cubicBezTo>
                    <a:pt x="28679" y="132592"/>
                    <a:pt x="24428" y="131398"/>
                    <a:pt x="20434" y="129929"/>
                  </a:cubicBezTo>
                  <a:cubicBezTo>
                    <a:pt x="16441" y="128466"/>
                    <a:pt x="12764" y="126734"/>
                    <a:pt x="9431" y="124753"/>
                  </a:cubicBezTo>
                  <a:cubicBezTo>
                    <a:pt x="6071" y="122772"/>
                    <a:pt x="3167" y="120685"/>
                    <a:pt x="724" y="118508"/>
                  </a:cubicBezTo>
                  <a:cubicBezTo>
                    <a:pt x="-167" y="117615"/>
                    <a:pt x="-239" y="116644"/>
                    <a:pt x="526" y="115621"/>
                  </a:cubicBezTo>
                  <a:lnTo>
                    <a:pt x="9028" y="105643"/>
                  </a:lnTo>
                  <a:cubicBezTo>
                    <a:pt x="9807" y="104738"/>
                    <a:pt x="10725" y="104672"/>
                    <a:pt x="11748" y="105446"/>
                  </a:cubicBezTo>
                  <a:cubicBezTo>
                    <a:pt x="16005" y="108786"/>
                    <a:pt x="21273" y="111849"/>
                    <a:pt x="27583" y="114663"/>
                  </a:cubicBezTo>
                  <a:cubicBezTo>
                    <a:pt x="33913" y="117491"/>
                    <a:pt x="40864" y="118895"/>
                    <a:pt x="48461" y="118895"/>
                  </a:cubicBezTo>
                  <a:cubicBezTo>
                    <a:pt x="57603" y="118895"/>
                    <a:pt x="64739" y="116848"/>
                    <a:pt x="69821" y="112748"/>
                  </a:cubicBezTo>
                  <a:cubicBezTo>
                    <a:pt x="74911" y="108654"/>
                    <a:pt x="77452" y="103269"/>
                    <a:pt x="77452" y="96610"/>
                  </a:cubicBezTo>
                  <a:cubicBezTo>
                    <a:pt x="77452" y="93802"/>
                    <a:pt x="76990" y="91237"/>
                    <a:pt x="76099" y="88928"/>
                  </a:cubicBezTo>
                  <a:cubicBezTo>
                    <a:pt x="75214" y="86626"/>
                    <a:pt x="73676" y="84572"/>
                    <a:pt x="71551" y="82781"/>
                  </a:cubicBezTo>
                  <a:cubicBezTo>
                    <a:pt x="69425" y="80984"/>
                    <a:pt x="66627" y="79449"/>
                    <a:pt x="63148" y="78170"/>
                  </a:cubicBezTo>
                  <a:cubicBezTo>
                    <a:pt x="59669" y="76897"/>
                    <a:pt x="55300" y="75933"/>
                    <a:pt x="50019" y="75303"/>
                  </a:cubicBezTo>
                  <a:lnTo>
                    <a:pt x="43445" y="74332"/>
                  </a:lnTo>
                  <a:cubicBezTo>
                    <a:pt x="17675" y="70875"/>
                    <a:pt x="4777" y="58831"/>
                    <a:pt x="4777" y="38219"/>
                  </a:cubicBezTo>
                  <a:cubicBezTo>
                    <a:pt x="4777" y="32453"/>
                    <a:pt x="5787" y="27198"/>
                    <a:pt x="7774" y="22468"/>
                  </a:cubicBezTo>
                  <a:cubicBezTo>
                    <a:pt x="9781" y="17732"/>
                    <a:pt x="12645" y="13691"/>
                    <a:pt x="16388" y="10365"/>
                  </a:cubicBezTo>
                  <a:cubicBezTo>
                    <a:pt x="20118" y="7039"/>
                    <a:pt x="24626" y="4487"/>
                    <a:pt x="29913" y="2683"/>
                  </a:cubicBezTo>
                  <a:cubicBezTo>
                    <a:pt x="35200" y="899"/>
                    <a:pt x="41121" y="0"/>
                    <a:pt x="47682" y="0"/>
                  </a:cubicBezTo>
                  <a:cubicBezTo>
                    <a:pt x="55418" y="0"/>
                    <a:pt x="62792" y="1122"/>
                    <a:pt x="69821" y="3359"/>
                  </a:cubicBezTo>
                  <a:cubicBezTo>
                    <a:pt x="76838" y="5596"/>
                    <a:pt x="82798" y="8522"/>
                    <a:pt x="87703" y="12090"/>
                  </a:cubicBezTo>
                  <a:cubicBezTo>
                    <a:pt x="88746" y="12851"/>
                    <a:pt x="88865" y="13750"/>
                    <a:pt x="88086" y="14780"/>
                  </a:cubicBezTo>
                  <a:lnTo>
                    <a:pt x="81505" y="25348"/>
                  </a:lnTo>
                  <a:cubicBezTo>
                    <a:pt x="80752" y="26247"/>
                    <a:pt x="79835" y="26371"/>
                    <a:pt x="78805" y="25729"/>
                  </a:cubicBezTo>
                  <a:cubicBezTo>
                    <a:pt x="73399" y="22403"/>
                    <a:pt x="68184" y="19936"/>
                    <a:pt x="63148" y="18329"/>
                  </a:cubicBezTo>
                  <a:cubicBezTo>
                    <a:pt x="58118" y="16735"/>
                    <a:pt x="52778" y="15934"/>
                    <a:pt x="47115" y="15934"/>
                  </a:cubicBezTo>
                  <a:cubicBezTo>
                    <a:pt x="38996" y="15934"/>
                    <a:pt x="32811" y="17889"/>
                    <a:pt x="28560" y="21793"/>
                  </a:cubicBezTo>
                  <a:cubicBezTo>
                    <a:pt x="24309" y="25702"/>
                    <a:pt x="22190" y="30806"/>
                    <a:pt x="22190" y="37064"/>
                  </a:cubicBezTo>
                  <a:cubicBezTo>
                    <a:pt x="22190" y="42568"/>
                    <a:pt x="24250" y="47082"/>
                    <a:pt x="28362" y="50611"/>
                  </a:cubicBezTo>
                  <a:cubicBezTo>
                    <a:pt x="32501" y="54134"/>
                    <a:pt x="39656" y="56587"/>
                    <a:pt x="49814" y="58004"/>
                  </a:cubicBezTo>
                  <a:lnTo>
                    <a:pt x="56197" y="58962"/>
                  </a:lnTo>
                  <a:cubicBezTo>
                    <a:pt x="69075" y="60759"/>
                    <a:pt x="78746" y="64597"/>
                    <a:pt x="85175" y="70488"/>
                  </a:cubicBezTo>
                  <a:cubicBezTo>
                    <a:pt x="91624" y="76385"/>
                    <a:pt x="94858" y="84704"/>
                    <a:pt x="94858" y="95469"/>
                  </a:cubicBezTo>
                  <a:cubicBezTo>
                    <a:pt x="94858" y="101222"/>
                    <a:pt x="93842" y="106509"/>
                    <a:pt x="91861" y="111311"/>
                  </a:cubicBezTo>
                  <a:cubicBezTo>
                    <a:pt x="89855" y="116107"/>
                    <a:pt x="86832" y="120233"/>
                    <a:pt x="82785" y="123697"/>
                  </a:cubicBezTo>
                  <a:cubicBezTo>
                    <a:pt x="78706" y="127154"/>
                    <a:pt x="73676" y="129876"/>
                    <a:pt x="67703" y="131851"/>
                  </a:cubicBezTo>
                  <a:cubicBezTo>
                    <a:pt x="61696" y="133838"/>
                    <a:pt x="54785" y="134836"/>
                    <a:pt x="46910" y="134836"/>
                  </a:cubicBezTo>
                  <a:lnTo>
                    <a:pt x="46910" y="134836"/>
                  </a:lnTo>
                  <a:close/>
                </a:path>
              </a:pathLst>
            </a:custGeom>
            <a:solidFill>
              <a:schemeClr val="bg2"/>
            </a:solidFill>
            <a:ln w="7" cap="flat">
              <a:noFill/>
              <a:prstDash val="solid"/>
              <a:miter/>
            </a:ln>
          </p:spPr>
          <p:txBody>
            <a:bodyPr rtlCol="0" anchor="ctr"/>
            <a:lstStyle/>
            <a:p>
              <a:endParaRPr lang="de-DE"/>
            </a:p>
          </p:txBody>
        </p:sp>
        <p:sp>
          <p:nvSpPr>
            <p:cNvPr id="33" name="Freeform: Shape 32">
              <a:extLst>
                <a:ext uri="{FF2B5EF4-FFF2-40B4-BE49-F238E27FC236}">
                  <a16:creationId xmlns:a16="http://schemas.microsoft.com/office/drawing/2014/main" id="{C713ACC7-B7C7-4E44-972F-DA67B9C9C586}"/>
                </a:ext>
              </a:extLst>
            </p:cNvPr>
            <p:cNvSpPr/>
            <p:nvPr/>
          </p:nvSpPr>
          <p:spPr>
            <a:xfrm>
              <a:off x="11404070" y="921730"/>
              <a:ext cx="95486" cy="130610"/>
            </a:xfrm>
            <a:custGeom>
              <a:avLst/>
              <a:gdLst>
                <a:gd name="connsiteX0" fmla="*/ 40984 w 95486"/>
                <a:gd name="connsiteY0" fmla="*/ 130611 h 130610"/>
                <a:gd name="connsiteX1" fmla="*/ 39037 w 95486"/>
                <a:gd name="connsiteY1" fmla="*/ 128682 h 130610"/>
                <a:gd name="connsiteX2" fmla="*/ 39037 w 95486"/>
                <a:gd name="connsiteY2" fmla="*/ 17096 h 130610"/>
                <a:gd name="connsiteX3" fmla="*/ 37882 w 95486"/>
                <a:gd name="connsiteY3" fmla="*/ 15934 h 130610"/>
                <a:gd name="connsiteX4" fmla="*/ 1934 w 95486"/>
                <a:gd name="connsiteY4" fmla="*/ 15934 h 130610"/>
                <a:gd name="connsiteX5" fmla="*/ 0 w 95486"/>
                <a:gd name="connsiteY5" fmla="*/ 14012 h 130610"/>
                <a:gd name="connsiteX6" fmla="*/ 0 w 95486"/>
                <a:gd name="connsiteY6" fmla="*/ 1916 h 130610"/>
                <a:gd name="connsiteX7" fmla="*/ 1934 w 95486"/>
                <a:gd name="connsiteY7" fmla="*/ 0 h 130610"/>
                <a:gd name="connsiteX8" fmla="*/ 93546 w 95486"/>
                <a:gd name="connsiteY8" fmla="*/ 0 h 130610"/>
                <a:gd name="connsiteX9" fmla="*/ 95487 w 95486"/>
                <a:gd name="connsiteY9" fmla="*/ 1916 h 130610"/>
                <a:gd name="connsiteX10" fmla="*/ 95487 w 95486"/>
                <a:gd name="connsiteY10" fmla="*/ 14012 h 130610"/>
                <a:gd name="connsiteX11" fmla="*/ 93540 w 95486"/>
                <a:gd name="connsiteY11" fmla="*/ 15934 h 130610"/>
                <a:gd name="connsiteX12" fmla="*/ 57598 w 95486"/>
                <a:gd name="connsiteY12" fmla="*/ 15934 h 130610"/>
                <a:gd name="connsiteX13" fmla="*/ 56437 w 95486"/>
                <a:gd name="connsiteY13" fmla="*/ 17096 h 130610"/>
                <a:gd name="connsiteX14" fmla="*/ 56437 w 95486"/>
                <a:gd name="connsiteY14" fmla="*/ 128682 h 130610"/>
                <a:gd name="connsiteX15" fmla="*/ 54476 w 95486"/>
                <a:gd name="connsiteY15" fmla="*/ 130611 h 130610"/>
                <a:gd name="connsiteX16" fmla="*/ 40984 w 95486"/>
                <a:gd name="connsiteY16" fmla="*/ 130611 h 13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486" h="130610">
                  <a:moveTo>
                    <a:pt x="40984" y="130611"/>
                  </a:moveTo>
                  <a:cubicBezTo>
                    <a:pt x="39690" y="130611"/>
                    <a:pt x="39037" y="129961"/>
                    <a:pt x="39037" y="128682"/>
                  </a:cubicBezTo>
                  <a:lnTo>
                    <a:pt x="39037" y="17096"/>
                  </a:lnTo>
                  <a:cubicBezTo>
                    <a:pt x="39037" y="16328"/>
                    <a:pt x="38661" y="15934"/>
                    <a:pt x="37882" y="15934"/>
                  </a:cubicBezTo>
                  <a:lnTo>
                    <a:pt x="1934" y="15934"/>
                  </a:lnTo>
                  <a:cubicBezTo>
                    <a:pt x="640" y="15934"/>
                    <a:pt x="0" y="15292"/>
                    <a:pt x="0" y="14012"/>
                  </a:cubicBezTo>
                  <a:lnTo>
                    <a:pt x="0" y="1916"/>
                  </a:lnTo>
                  <a:cubicBezTo>
                    <a:pt x="0" y="636"/>
                    <a:pt x="640" y="0"/>
                    <a:pt x="1934" y="0"/>
                  </a:cubicBezTo>
                  <a:lnTo>
                    <a:pt x="93546" y="0"/>
                  </a:lnTo>
                  <a:cubicBezTo>
                    <a:pt x="94833" y="0"/>
                    <a:pt x="95487" y="636"/>
                    <a:pt x="95487" y="1916"/>
                  </a:cubicBezTo>
                  <a:lnTo>
                    <a:pt x="95487" y="14012"/>
                  </a:lnTo>
                  <a:cubicBezTo>
                    <a:pt x="95487" y="15292"/>
                    <a:pt x="94833" y="15934"/>
                    <a:pt x="93540" y="15934"/>
                  </a:cubicBezTo>
                  <a:lnTo>
                    <a:pt x="57598" y="15934"/>
                  </a:lnTo>
                  <a:cubicBezTo>
                    <a:pt x="56819" y="15934"/>
                    <a:pt x="56437" y="16328"/>
                    <a:pt x="56437" y="17096"/>
                  </a:cubicBezTo>
                  <a:lnTo>
                    <a:pt x="56437" y="128682"/>
                  </a:lnTo>
                  <a:cubicBezTo>
                    <a:pt x="56437" y="129961"/>
                    <a:pt x="55783" y="130611"/>
                    <a:pt x="54476" y="130611"/>
                  </a:cubicBezTo>
                  <a:lnTo>
                    <a:pt x="40984" y="130611"/>
                  </a:lnTo>
                  <a:close/>
                </a:path>
              </a:pathLst>
            </a:custGeom>
            <a:solidFill>
              <a:schemeClr val="bg2"/>
            </a:solidFill>
            <a:ln w="7" cap="flat">
              <a:noFill/>
              <a:prstDash val="solid"/>
              <a:miter/>
            </a:ln>
          </p:spPr>
          <p:txBody>
            <a:bodyPr rtlCol="0" anchor="ctr"/>
            <a:lstStyle/>
            <a:p>
              <a:endParaRPr lang="de-DE"/>
            </a:p>
          </p:txBody>
        </p:sp>
        <p:sp>
          <p:nvSpPr>
            <p:cNvPr id="34" name="Freeform: Shape 33">
              <a:extLst>
                <a:ext uri="{FF2B5EF4-FFF2-40B4-BE49-F238E27FC236}">
                  <a16:creationId xmlns:a16="http://schemas.microsoft.com/office/drawing/2014/main" id="{48DB1F5E-8883-4591-93E2-D74A17D272EE}"/>
                </a:ext>
              </a:extLst>
            </p:cNvPr>
            <p:cNvSpPr/>
            <p:nvPr/>
          </p:nvSpPr>
          <p:spPr>
            <a:xfrm>
              <a:off x="11521775" y="921730"/>
              <a:ext cx="83103" cy="130604"/>
            </a:xfrm>
            <a:custGeom>
              <a:avLst/>
              <a:gdLst>
                <a:gd name="connsiteX0" fmla="*/ 0 w 83103"/>
                <a:gd name="connsiteY0" fmla="*/ 1916 h 130604"/>
                <a:gd name="connsiteX1" fmla="*/ 1941 w 83103"/>
                <a:gd name="connsiteY1" fmla="*/ 0 h 130604"/>
                <a:gd name="connsiteX2" fmla="*/ 81170 w 83103"/>
                <a:gd name="connsiteY2" fmla="*/ 0 h 130604"/>
                <a:gd name="connsiteX3" fmla="*/ 83104 w 83103"/>
                <a:gd name="connsiteY3" fmla="*/ 1916 h 130604"/>
                <a:gd name="connsiteX4" fmla="*/ 83104 w 83103"/>
                <a:gd name="connsiteY4" fmla="*/ 14006 h 130604"/>
                <a:gd name="connsiteX5" fmla="*/ 81170 w 83103"/>
                <a:gd name="connsiteY5" fmla="*/ 15934 h 130604"/>
                <a:gd name="connsiteX6" fmla="*/ 18548 w 83103"/>
                <a:gd name="connsiteY6" fmla="*/ 15934 h 130604"/>
                <a:gd name="connsiteX7" fmla="*/ 17406 w 83103"/>
                <a:gd name="connsiteY7" fmla="*/ 17089 h 130604"/>
                <a:gd name="connsiteX8" fmla="*/ 17406 w 83103"/>
                <a:gd name="connsiteY8" fmla="*/ 55505 h 130604"/>
                <a:gd name="connsiteX9" fmla="*/ 18548 w 83103"/>
                <a:gd name="connsiteY9" fmla="*/ 56653 h 130604"/>
                <a:gd name="connsiteX10" fmla="*/ 71698 w 83103"/>
                <a:gd name="connsiteY10" fmla="*/ 56653 h 130604"/>
                <a:gd name="connsiteX11" fmla="*/ 73638 w 83103"/>
                <a:gd name="connsiteY11" fmla="*/ 58575 h 130604"/>
                <a:gd name="connsiteX12" fmla="*/ 73638 w 83103"/>
                <a:gd name="connsiteY12" fmla="*/ 70678 h 130604"/>
                <a:gd name="connsiteX13" fmla="*/ 71698 w 83103"/>
                <a:gd name="connsiteY13" fmla="*/ 72607 h 130604"/>
                <a:gd name="connsiteX14" fmla="*/ 18548 w 83103"/>
                <a:gd name="connsiteY14" fmla="*/ 72607 h 130604"/>
                <a:gd name="connsiteX15" fmla="*/ 17406 w 83103"/>
                <a:gd name="connsiteY15" fmla="*/ 73755 h 130604"/>
                <a:gd name="connsiteX16" fmla="*/ 17406 w 83103"/>
                <a:gd name="connsiteY16" fmla="*/ 113509 h 130604"/>
                <a:gd name="connsiteX17" fmla="*/ 18548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7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41" y="0"/>
                  </a:cubicBezTo>
                  <a:lnTo>
                    <a:pt x="81170" y="0"/>
                  </a:lnTo>
                  <a:cubicBezTo>
                    <a:pt x="82463" y="0"/>
                    <a:pt x="83104" y="636"/>
                    <a:pt x="83104" y="1916"/>
                  </a:cubicBezTo>
                  <a:lnTo>
                    <a:pt x="83104" y="14006"/>
                  </a:lnTo>
                  <a:cubicBezTo>
                    <a:pt x="83104" y="15292"/>
                    <a:pt x="82463" y="15934"/>
                    <a:pt x="81170" y="15934"/>
                  </a:cubicBezTo>
                  <a:lnTo>
                    <a:pt x="18548" y="15934"/>
                  </a:lnTo>
                  <a:cubicBezTo>
                    <a:pt x="17776" y="15934"/>
                    <a:pt x="17406" y="16321"/>
                    <a:pt x="17406" y="17089"/>
                  </a:cubicBezTo>
                  <a:lnTo>
                    <a:pt x="17406" y="55505"/>
                  </a:lnTo>
                  <a:cubicBezTo>
                    <a:pt x="17406" y="56279"/>
                    <a:pt x="17776" y="56653"/>
                    <a:pt x="18548" y="56653"/>
                  </a:cubicBezTo>
                  <a:lnTo>
                    <a:pt x="71698" y="56653"/>
                  </a:lnTo>
                  <a:cubicBezTo>
                    <a:pt x="72991" y="56653"/>
                    <a:pt x="73638" y="57296"/>
                    <a:pt x="73638" y="58575"/>
                  </a:cubicBezTo>
                  <a:lnTo>
                    <a:pt x="73638" y="70678"/>
                  </a:lnTo>
                  <a:cubicBezTo>
                    <a:pt x="73638" y="71970"/>
                    <a:pt x="72991" y="72607"/>
                    <a:pt x="71698" y="72607"/>
                  </a:cubicBezTo>
                  <a:lnTo>
                    <a:pt x="18548" y="72607"/>
                  </a:lnTo>
                  <a:cubicBezTo>
                    <a:pt x="17776" y="72607"/>
                    <a:pt x="17406" y="72987"/>
                    <a:pt x="17406" y="73755"/>
                  </a:cubicBezTo>
                  <a:lnTo>
                    <a:pt x="17406" y="113509"/>
                  </a:lnTo>
                  <a:cubicBezTo>
                    <a:pt x="17406" y="114276"/>
                    <a:pt x="17776" y="114670"/>
                    <a:pt x="18548" y="114670"/>
                  </a:cubicBezTo>
                  <a:lnTo>
                    <a:pt x="81170" y="114670"/>
                  </a:lnTo>
                  <a:cubicBezTo>
                    <a:pt x="82463" y="114670"/>
                    <a:pt x="83104" y="115306"/>
                    <a:pt x="83104" y="116592"/>
                  </a:cubicBezTo>
                  <a:lnTo>
                    <a:pt x="83104" y="128682"/>
                  </a:lnTo>
                  <a:cubicBezTo>
                    <a:pt x="83104" y="129961"/>
                    <a:pt x="82463" y="130604"/>
                    <a:pt x="81170" y="130604"/>
                  </a:cubicBezTo>
                  <a:lnTo>
                    <a:pt x="1947"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35" name="Freeform: Shape 34">
              <a:extLst>
                <a:ext uri="{FF2B5EF4-FFF2-40B4-BE49-F238E27FC236}">
                  <a16:creationId xmlns:a16="http://schemas.microsoft.com/office/drawing/2014/main" id="{590FB860-C087-470A-9463-DE398CFA6FD9}"/>
                </a:ext>
              </a:extLst>
            </p:cNvPr>
            <p:cNvSpPr/>
            <p:nvPr/>
          </p:nvSpPr>
          <p:spPr>
            <a:xfrm>
              <a:off x="11632516" y="921730"/>
              <a:ext cx="17393" cy="130604"/>
            </a:xfrm>
            <a:custGeom>
              <a:avLst/>
              <a:gdLst>
                <a:gd name="connsiteX0" fmla="*/ 0 w 17393"/>
                <a:gd name="connsiteY0" fmla="*/ 1916 h 130604"/>
                <a:gd name="connsiteX1" fmla="*/ 1941 w 17393"/>
                <a:gd name="connsiteY1" fmla="*/ 0 h 130604"/>
                <a:gd name="connsiteX2" fmla="*/ 15426 w 17393"/>
                <a:gd name="connsiteY2" fmla="*/ 0 h 130604"/>
                <a:gd name="connsiteX3" fmla="*/ 17393 w 17393"/>
                <a:gd name="connsiteY3" fmla="*/ 1916 h 130604"/>
                <a:gd name="connsiteX4" fmla="*/ 17393 w 17393"/>
                <a:gd name="connsiteY4" fmla="*/ 128682 h 130604"/>
                <a:gd name="connsiteX5" fmla="*/ 15426 w 17393"/>
                <a:gd name="connsiteY5" fmla="*/ 130604 h 130604"/>
                <a:gd name="connsiteX6" fmla="*/ 1947 w 17393"/>
                <a:gd name="connsiteY6" fmla="*/ 130604 h 130604"/>
                <a:gd name="connsiteX7" fmla="*/ 0 w 17393"/>
                <a:gd name="connsiteY7" fmla="*/ 128682 h 130604"/>
                <a:gd name="connsiteX8" fmla="*/ 0 w 17393"/>
                <a:gd name="connsiteY8"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93" h="130604">
                  <a:moveTo>
                    <a:pt x="0" y="1916"/>
                  </a:moveTo>
                  <a:cubicBezTo>
                    <a:pt x="0" y="636"/>
                    <a:pt x="653" y="0"/>
                    <a:pt x="1941" y="0"/>
                  </a:cubicBezTo>
                  <a:lnTo>
                    <a:pt x="15426" y="0"/>
                  </a:lnTo>
                  <a:cubicBezTo>
                    <a:pt x="16746" y="0"/>
                    <a:pt x="17393" y="636"/>
                    <a:pt x="17393" y="1916"/>
                  </a:cubicBezTo>
                  <a:lnTo>
                    <a:pt x="17393" y="128682"/>
                  </a:lnTo>
                  <a:cubicBezTo>
                    <a:pt x="17393" y="129961"/>
                    <a:pt x="16740" y="130604"/>
                    <a:pt x="15426" y="130604"/>
                  </a:cubicBezTo>
                  <a:lnTo>
                    <a:pt x="1947"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sp>
          <p:nvSpPr>
            <p:cNvPr id="36" name="Freeform: Shape 35">
              <a:extLst>
                <a:ext uri="{FF2B5EF4-FFF2-40B4-BE49-F238E27FC236}">
                  <a16:creationId xmlns:a16="http://schemas.microsoft.com/office/drawing/2014/main" id="{084C2EB6-5A70-4492-9320-76E2A4877EA1}"/>
                </a:ext>
              </a:extLst>
            </p:cNvPr>
            <p:cNvSpPr/>
            <p:nvPr/>
          </p:nvSpPr>
          <p:spPr>
            <a:xfrm>
              <a:off x="11684127" y="921730"/>
              <a:ext cx="93929" cy="130604"/>
            </a:xfrm>
            <a:custGeom>
              <a:avLst/>
              <a:gdLst>
                <a:gd name="connsiteX0" fmla="*/ 0 w 93929"/>
                <a:gd name="connsiteY0" fmla="*/ 1916 h 130604"/>
                <a:gd name="connsiteX1" fmla="*/ 1934 w 93929"/>
                <a:gd name="connsiteY1" fmla="*/ 0 h 130604"/>
                <a:gd name="connsiteX2" fmla="*/ 14310 w 93929"/>
                <a:gd name="connsiteY2" fmla="*/ 0 h 130604"/>
                <a:gd name="connsiteX3" fmla="*/ 17584 w 93929"/>
                <a:gd name="connsiteY3" fmla="*/ 1916 h 130604"/>
                <a:gd name="connsiteX4" fmla="*/ 77117 w 93929"/>
                <a:gd name="connsiteY4" fmla="*/ 99877 h 130604"/>
                <a:gd name="connsiteX5" fmla="*/ 77896 w 93929"/>
                <a:gd name="connsiteY5" fmla="*/ 99877 h 130604"/>
                <a:gd name="connsiteX6" fmla="*/ 77896 w 93929"/>
                <a:gd name="connsiteY6" fmla="*/ 1916 h 130604"/>
                <a:gd name="connsiteX7" fmla="*/ 79823 w 93929"/>
                <a:gd name="connsiteY7" fmla="*/ 0 h 130604"/>
                <a:gd name="connsiteX8" fmla="*/ 92008 w 93929"/>
                <a:gd name="connsiteY8" fmla="*/ 0 h 130604"/>
                <a:gd name="connsiteX9" fmla="*/ 93929 w 93929"/>
                <a:gd name="connsiteY9" fmla="*/ 1916 h 130604"/>
                <a:gd name="connsiteX10" fmla="*/ 93929 w 93929"/>
                <a:gd name="connsiteY10" fmla="*/ 128682 h 130604"/>
                <a:gd name="connsiteX11" fmla="*/ 92008 w 93929"/>
                <a:gd name="connsiteY11" fmla="*/ 130604 h 130604"/>
                <a:gd name="connsiteX12" fmla="*/ 79625 w 93929"/>
                <a:gd name="connsiteY12" fmla="*/ 130604 h 130604"/>
                <a:gd name="connsiteX13" fmla="*/ 76345 w 93929"/>
                <a:gd name="connsiteY13" fmla="*/ 128682 h 130604"/>
                <a:gd name="connsiteX14" fmla="*/ 16634 w 93929"/>
                <a:gd name="connsiteY14" fmla="*/ 31108 h 130604"/>
                <a:gd name="connsiteX15" fmla="*/ 16053 w 93929"/>
                <a:gd name="connsiteY15" fmla="*/ 31108 h 130604"/>
                <a:gd name="connsiteX16" fmla="*/ 16053 w 93929"/>
                <a:gd name="connsiteY16" fmla="*/ 128682 h 130604"/>
                <a:gd name="connsiteX17" fmla="*/ 14106 w 93929"/>
                <a:gd name="connsiteY17" fmla="*/ 130604 h 130604"/>
                <a:gd name="connsiteX18" fmla="*/ 1934 w 93929"/>
                <a:gd name="connsiteY18" fmla="*/ 130604 h 130604"/>
                <a:gd name="connsiteX19" fmla="*/ 0 w 93929"/>
                <a:gd name="connsiteY19" fmla="*/ 128682 h 130604"/>
                <a:gd name="connsiteX20" fmla="*/ 0 w 93929"/>
                <a:gd name="connsiteY20"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29" h="130604">
                  <a:moveTo>
                    <a:pt x="0" y="1916"/>
                  </a:moveTo>
                  <a:cubicBezTo>
                    <a:pt x="0" y="636"/>
                    <a:pt x="653" y="0"/>
                    <a:pt x="1934" y="0"/>
                  </a:cubicBezTo>
                  <a:lnTo>
                    <a:pt x="14310" y="0"/>
                  </a:lnTo>
                  <a:cubicBezTo>
                    <a:pt x="15855" y="0"/>
                    <a:pt x="16944" y="636"/>
                    <a:pt x="17584" y="1916"/>
                  </a:cubicBezTo>
                  <a:lnTo>
                    <a:pt x="77117" y="99877"/>
                  </a:lnTo>
                  <a:lnTo>
                    <a:pt x="77896" y="99877"/>
                  </a:lnTo>
                  <a:lnTo>
                    <a:pt x="77896" y="1916"/>
                  </a:lnTo>
                  <a:cubicBezTo>
                    <a:pt x="77896" y="636"/>
                    <a:pt x="78536" y="0"/>
                    <a:pt x="79823" y="0"/>
                  </a:cubicBezTo>
                  <a:lnTo>
                    <a:pt x="92008" y="0"/>
                  </a:lnTo>
                  <a:cubicBezTo>
                    <a:pt x="93276" y="0"/>
                    <a:pt x="93929" y="636"/>
                    <a:pt x="93929" y="1916"/>
                  </a:cubicBezTo>
                  <a:lnTo>
                    <a:pt x="93929" y="128682"/>
                  </a:lnTo>
                  <a:cubicBezTo>
                    <a:pt x="93929" y="129961"/>
                    <a:pt x="93276" y="130604"/>
                    <a:pt x="92008" y="130604"/>
                  </a:cubicBezTo>
                  <a:lnTo>
                    <a:pt x="79625" y="130604"/>
                  </a:lnTo>
                  <a:cubicBezTo>
                    <a:pt x="78074" y="130604"/>
                    <a:pt x="76985" y="129961"/>
                    <a:pt x="76345" y="128682"/>
                  </a:cubicBezTo>
                  <a:lnTo>
                    <a:pt x="16634" y="31108"/>
                  </a:lnTo>
                  <a:lnTo>
                    <a:pt x="16053" y="31108"/>
                  </a:lnTo>
                  <a:lnTo>
                    <a:pt x="16053" y="128682"/>
                  </a:lnTo>
                  <a:cubicBezTo>
                    <a:pt x="16053" y="129961"/>
                    <a:pt x="15400" y="130604"/>
                    <a:pt x="14106" y="130604"/>
                  </a:cubicBezTo>
                  <a:lnTo>
                    <a:pt x="1934" y="130604"/>
                  </a:lnTo>
                  <a:cubicBezTo>
                    <a:pt x="653" y="130604"/>
                    <a:pt x="0" y="129961"/>
                    <a:pt x="0" y="128682"/>
                  </a:cubicBezTo>
                  <a:lnTo>
                    <a:pt x="0" y="1916"/>
                  </a:lnTo>
                  <a:close/>
                </a:path>
              </a:pathLst>
            </a:custGeom>
            <a:solidFill>
              <a:schemeClr val="bg2"/>
            </a:solidFill>
            <a:ln w="7" cap="flat">
              <a:noFill/>
              <a:prstDash val="solid"/>
              <a:miter/>
            </a:ln>
          </p:spPr>
          <p:txBody>
            <a:bodyPr rtlCol="0" anchor="ctr"/>
            <a:lstStyle/>
            <a:p>
              <a:endParaRPr lang="de-DE"/>
            </a:p>
          </p:txBody>
        </p:sp>
      </p:grpSp>
    </p:spTree>
    <p:extLst>
      <p:ext uri="{BB962C8B-B14F-4D97-AF65-F5344CB8AC3E}">
        <p14:creationId xmlns:p14="http://schemas.microsoft.com/office/powerpoint/2010/main" val="1157255929"/>
      </p:ext>
    </p:extLst>
  </p:cSld>
  <p:clrMapOvr>
    <a:masterClrMapping/>
  </p:clrMapOvr>
  <p:hf hdr="0" ft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1" name="Rechteck 11">
            <a:extLst>
              <a:ext uri="{FF2B5EF4-FFF2-40B4-BE49-F238E27FC236}">
                <a16:creationId xmlns:a16="http://schemas.microsoft.com/office/drawing/2014/main" id="{BACA3912-BC07-4F62-9B53-732BBFD905C3}"/>
              </a:ext>
            </a:extLst>
          </p:cNvPr>
          <p:cNvSpPr/>
          <p:nvPr/>
        </p:nvSpPr>
        <p:spPr>
          <a:xfrm>
            <a:off x="9565585" y="0"/>
            <a:ext cx="262641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895"/>
          </a:p>
        </p:txBody>
      </p:sp>
      <p:grpSp>
        <p:nvGrpSpPr>
          <p:cNvPr id="42" name="Graphic 24">
            <a:extLst>
              <a:ext uri="{FF2B5EF4-FFF2-40B4-BE49-F238E27FC236}">
                <a16:creationId xmlns:a16="http://schemas.microsoft.com/office/drawing/2014/main" id="{9FB7CCC3-8E2A-4215-B847-E019355580FF}"/>
              </a:ext>
            </a:extLst>
          </p:cNvPr>
          <p:cNvGrpSpPr/>
          <p:nvPr/>
        </p:nvGrpSpPr>
        <p:grpSpPr>
          <a:xfrm>
            <a:off x="9938019" y="5895068"/>
            <a:ext cx="2029688" cy="316256"/>
            <a:chOff x="9938019" y="5895068"/>
            <a:chExt cx="2029688" cy="316256"/>
          </a:xfrm>
          <a:solidFill>
            <a:schemeClr val="bg1"/>
          </a:solidFill>
        </p:grpSpPr>
        <p:grpSp>
          <p:nvGrpSpPr>
            <p:cNvPr id="43" name="Graphic 24">
              <a:extLst>
                <a:ext uri="{FF2B5EF4-FFF2-40B4-BE49-F238E27FC236}">
                  <a16:creationId xmlns:a16="http://schemas.microsoft.com/office/drawing/2014/main" id="{B6010A11-128B-47FC-9942-23B9C17BFEC4}"/>
                </a:ext>
              </a:extLst>
            </p:cNvPr>
            <p:cNvGrpSpPr/>
            <p:nvPr/>
          </p:nvGrpSpPr>
          <p:grpSpPr>
            <a:xfrm>
              <a:off x="9938019" y="5895068"/>
              <a:ext cx="747774" cy="316256"/>
              <a:chOff x="9938019" y="5895068"/>
              <a:chExt cx="747774" cy="316256"/>
            </a:xfrm>
            <a:solidFill>
              <a:schemeClr val="bg1"/>
            </a:solidFill>
          </p:grpSpPr>
          <p:sp>
            <p:nvSpPr>
              <p:cNvPr id="44" name="Freeform: Shape 43">
                <a:extLst>
                  <a:ext uri="{FF2B5EF4-FFF2-40B4-BE49-F238E27FC236}">
                    <a16:creationId xmlns:a16="http://schemas.microsoft.com/office/drawing/2014/main" id="{8BFE9480-202E-4690-9EFD-4DC638D8BDFF}"/>
                  </a:ext>
                </a:extLst>
              </p:cNvPr>
              <p:cNvSpPr/>
              <p:nvPr/>
            </p:nvSpPr>
            <p:spPr>
              <a:xfrm>
                <a:off x="9938019" y="5926731"/>
                <a:ext cx="209869" cy="252930"/>
              </a:xfrm>
              <a:custGeom>
                <a:avLst/>
                <a:gdLst>
                  <a:gd name="connsiteX0" fmla="*/ 145594 w 209869"/>
                  <a:gd name="connsiteY0" fmla="*/ 163695 h 252930"/>
                  <a:gd name="connsiteX1" fmla="*/ 105519 w 209869"/>
                  <a:gd name="connsiteY1" fmla="*/ 48779 h 252930"/>
                  <a:gd name="connsiteX2" fmla="*/ 104747 w 209869"/>
                  <a:gd name="connsiteY2" fmla="*/ 48779 h 252930"/>
                  <a:gd name="connsiteX3" fmla="*/ 64333 w 209869"/>
                  <a:gd name="connsiteY3" fmla="*/ 163695 h 252930"/>
                  <a:gd name="connsiteX4" fmla="*/ 88659 w 209869"/>
                  <a:gd name="connsiteY4" fmla="*/ 3752 h 252930"/>
                  <a:gd name="connsiteX5" fmla="*/ 93166 w 209869"/>
                  <a:gd name="connsiteY5" fmla="*/ 37 h 252930"/>
                  <a:gd name="connsiteX6" fmla="*/ 117493 w 209869"/>
                  <a:gd name="connsiteY6" fmla="*/ 37 h 252930"/>
                  <a:gd name="connsiteX7" fmla="*/ 122373 w 209869"/>
                  <a:gd name="connsiteY7" fmla="*/ 3752 h 252930"/>
                  <a:gd name="connsiteX8" fmla="*/ 209621 w 209869"/>
                  <a:gd name="connsiteY8" fmla="*/ 249211 h 252930"/>
                  <a:gd name="connsiteX9" fmla="*/ 207003 w 209869"/>
                  <a:gd name="connsiteY9" fmla="*/ 252953 h 252930"/>
                  <a:gd name="connsiteX10" fmla="*/ 180788 w 209869"/>
                  <a:gd name="connsiteY10" fmla="*/ 252953 h 252930"/>
                  <a:gd name="connsiteX11" fmla="*/ 175925 w 209869"/>
                  <a:gd name="connsiteY11" fmla="*/ 249211 h 252930"/>
                  <a:gd name="connsiteX12" fmla="*/ 156432 w 209869"/>
                  <a:gd name="connsiteY12" fmla="*/ 194187 h 252930"/>
                  <a:gd name="connsiteX13" fmla="*/ 53465 w 209869"/>
                  <a:gd name="connsiteY13" fmla="*/ 194187 h 252930"/>
                  <a:gd name="connsiteX14" fmla="*/ 33984 w 209869"/>
                  <a:gd name="connsiteY14" fmla="*/ 249211 h 252930"/>
                  <a:gd name="connsiteX15" fmla="*/ 29103 w 209869"/>
                  <a:gd name="connsiteY15" fmla="*/ 252953 h 252930"/>
                  <a:gd name="connsiteX16" fmla="*/ 2889 w 209869"/>
                  <a:gd name="connsiteY16" fmla="*/ 252953 h 252930"/>
                  <a:gd name="connsiteX17" fmla="*/ 270 w 209869"/>
                  <a:gd name="connsiteY17" fmla="*/ 249211 h 25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9869" h="252930">
                    <a:moveTo>
                      <a:pt x="145594" y="163695"/>
                    </a:moveTo>
                    <a:lnTo>
                      <a:pt x="105519" y="48779"/>
                    </a:lnTo>
                    <a:lnTo>
                      <a:pt x="104747" y="48779"/>
                    </a:lnTo>
                    <a:lnTo>
                      <a:pt x="64333" y="163695"/>
                    </a:lnTo>
                    <a:close/>
                    <a:moveTo>
                      <a:pt x="88659" y="3752"/>
                    </a:moveTo>
                    <a:cubicBezTo>
                      <a:pt x="89038" y="1571"/>
                      <a:pt x="90952" y="-8"/>
                      <a:pt x="93166" y="37"/>
                    </a:cubicBezTo>
                    <a:lnTo>
                      <a:pt x="117493" y="37"/>
                    </a:lnTo>
                    <a:cubicBezTo>
                      <a:pt x="119807" y="-79"/>
                      <a:pt x="121869" y="1490"/>
                      <a:pt x="122373" y="3752"/>
                    </a:cubicBezTo>
                    <a:lnTo>
                      <a:pt x="209621" y="249211"/>
                    </a:lnTo>
                    <a:cubicBezTo>
                      <a:pt x="210385" y="251693"/>
                      <a:pt x="209494" y="252953"/>
                      <a:pt x="207003" y="252953"/>
                    </a:cubicBezTo>
                    <a:lnTo>
                      <a:pt x="180788" y="252953"/>
                    </a:lnTo>
                    <a:cubicBezTo>
                      <a:pt x="178462" y="253091"/>
                      <a:pt x="176388" y="251495"/>
                      <a:pt x="175925" y="249211"/>
                    </a:cubicBezTo>
                    <a:lnTo>
                      <a:pt x="156432" y="194187"/>
                    </a:lnTo>
                    <a:lnTo>
                      <a:pt x="53465" y="194187"/>
                    </a:lnTo>
                    <a:lnTo>
                      <a:pt x="33984" y="249211"/>
                    </a:lnTo>
                    <a:cubicBezTo>
                      <a:pt x="33377" y="251410"/>
                      <a:pt x="31384" y="252938"/>
                      <a:pt x="29103" y="252953"/>
                    </a:cubicBezTo>
                    <a:lnTo>
                      <a:pt x="2889" y="252953"/>
                    </a:lnTo>
                    <a:cubicBezTo>
                      <a:pt x="389" y="252953"/>
                      <a:pt x="-461" y="251696"/>
                      <a:pt x="270" y="249211"/>
                    </a:cubicBezTo>
                    <a:close/>
                  </a:path>
                </a:pathLst>
              </a:custGeom>
              <a:solidFill>
                <a:schemeClr val="bg1"/>
              </a:solidFill>
              <a:ln w="2965" cap="flat">
                <a:noFill/>
                <a:prstDash val="solid"/>
                <a:miter/>
              </a:ln>
            </p:spPr>
            <p:txBody>
              <a:bodyPr rtlCol="0" anchor="ctr"/>
              <a:lstStyle/>
              <a:p>
                <a:endParaRPr lang="de-DE"/>
              </a:p>
            </p:txBody>
          </p:sp>
          <p:sp>
            <p:nvSpPr>
              <p:cNvPr id="45" name="Freeform: Shape 44">
                <a:extLst>
                  <a:ext uri="{FF2B5EF4-FFF2-40B4-BE49-F238E27FC236}">
                    <a16:creationId xmlns:a16="http://schemas.microsoft.com/office/drawing/2014/main" id="{B83D9BFF-76C7-48A9-B613-41531A34B92B}"/>
                  </a:ext>
                </a:extLst>
              </p:cNvPr>
              <p:cNvSpPr/>
              <p:nvPr/>
            </p:nvSpPr>
            <p:spPr>
              <a:xfrm>
                <a:off x="10174298" y="5922670"/>
                <a:ext cx="183802" cy="261084"/>
              </a:xfrm>
              <a:custGeom>
                <a:avLst/>
                <a:gdLst>
                  <a:gd name="connsiteX0" fmla="*/ 91025 w 183802"/>
                  <a:gd name="connsiteY0" fmla="*/ 261108 h 261084"/>
                  <a:gd name="connsiteX1" fmla="*/ 64419 w 183802"/>
                  <a:gd name="connsiteY1" fmla="*/ 258507 h 261084"/>
                  <a:gd name="connsiteX2" fmla="*/ 39717 w 183802"/>
                  <a:gd name="connsiteY2" fmla="*/ 251638 h 261084"/>
                  <a:gd name="connsiteX3" fmla="*/ 18393 w 183802"/>
                  <a:gd name="connsiteY3" fmla="*/ 241588 h 261084"/>
                  <a:gd name="connsiteX4" fmla="*/ 1515 w 183802"/>
                  <a:gd name="connsiteY4" fmla="*/ 229496 h 261084"/>
                  <a:gd name="connsiteX5" fmla="*/ 922 w 183802"/>
                  <a:gd name="connsiteY5" fmla="*/ 224161 h 261084"/>
                  <a:gd name="connsiteX6" fmla="*/ 1141 w 183802"/>
                  <a:gd name="connsiteY6" fmla="*/ 223911 h 261084"/>
                  <a:gd name="connsiteX7" fmla="*/ 17602 w 183802"/>
                  <a:gd name="connsiteY7" fmla="*/ 204590 h 261084"/>
                  <a:gd name="connsiteX8" fmla="*/ 22373 w 183802"/>
                  <a:gd name="connsiteY8" fmla="*/ 203811 h 261084"/>
                  <a:gd name="connsiteX9" fmla="*/ 22840 w 183802"/>
                  <a:gd name="connsiteY9" fmla="*/ 204215 h 261084"/>
                  <a:gd name="connsiteX10" fmla="*/ 53569 w 183802"/>
                  <a:gd name="connsiteY10" fmla="*/ 222050 h 261084"/>
                  <a:gd name="connsiteX11" fmla="*/ 93998 w 183802"/>
                  <a:gd name="connsiteY11" fmla="*/ 230233 h 261084"/>
                  <a:gd name="connsiteX12" fmla="*/ 135390 w 183802"/>
                  <a:gd name="connsiteY12" fmla="*/ 218343 h 261084"/>
                  <a:gd name="connsiteX13" fmla="*/ 150178 w 183802"/>
                  <a:gd name="connsiteY13" fmla="*/ 187100 h 261084"/>
                  <a:gd name="connsiteX14" fmla="*/ 147577 w 183802"/>
                  <a:gd name="connsiteY14" fmla="*/ 172219 h 261084"/>
                  <a:gd name="connsiteX15" fmla="*/ 138760 w 183802"/>
                  <a:gd name="connsiteY15" fmla="*/ 160329 h 261084"/>
                  <a:gd name="connsiteX16" fmla="*/ 122468 w 183802"/>
                  <a:gd name="connsiteY16" fmla="*/ 151412 h 261084"/>
                  <a:gd name="connsiteX17" fmla="*/ 97018 w 183802"/>
                  <a:gd name="connsiteY17" fmla="*/ 145850 h 261084"/>
                  <a:gd name="connsiteX18" fmla="*/ 84281 w 183802"/>
                  <a:gd name="connsiteY18" fmla="*/ 143972 h 261084"/>
                  <a:gd name="connsiteX19" fmla="*/ 9362 w 183802"/>
                  <a:gd name="connsiteY19" fmla="*/ 74065 h 261084"/>
                  <a:gd name="connsiteX20" fmla="*/ 15180 w 183802"/>
                  <a:gd name="connsiteY20" fmla="*/ 43553 h 261084"/>
                  <a:gd name="connsiteX21" fmla="*/ 31855 w 183802"/>
                  <a:gd name="connsiteY21" fmla="*/ 20127 h 261084"/>
                  <a:gd name="connsiteX22" fmla="*/ 58069 w 183802"/>
                  <a:gd name="connsiteY22" fmla="*/ 5237 h 261084"/>
                  <a:gd name="connsiteX23" fmla="*/ 92512 w 183802"/>
                  <a:gd name="connsiteY23" fmla="*/ 50 h 261084"/>
                  <a:gd name="connsiteX24" fmla="*/ 135401 w 183802"/>
                  <a:gd name="connsiteY24" fmla="*/ 6545 h 261084"/>
                  <a:gd name="connsiteX25" fmla="*/ 170007 w 183802"/>
                  <a:gd name="connsiteY25" fmla="*/ 23488 h 261084"/>
                  <a:gd name="connsiteX26" fmla="*/ 171352 w 183802"/>
                  <a:gd name="connsiteY26" fmla="*/ 27913 h 261084"/>
                  <a:gd name="connsiteX27" fmla="*/ 170780 w 183802"/>
                  <a:gd name="connsiteY27" fmla="*/ 28684 h 261084"/>
                  <a:gd name="connsiteX28" fmla="*/ 158034 w 183802"/>
                  <a:gd name="connsiteY28" fmla="*/ 49135 h 261084"/>
                  <a:gd name="connsiteX29" fmla="*/ 152936 w 183802"/>
                  <a:gd name="connsiteY29" fmla="*/ 49997 h 261084"/>
                  <a:gd name="connsiteX30" fmla="*/ 152796 w 183802"/>
                  <a:gd name="connsiteY30" fmla="*/ 49893 h 261084"/>
                  <a:gd name="connsiteX31" fmla="*/ 122477 w 183802"/>
                  <a:gd name="connsiteY31" fmla="*/ 35575 h 261084"/>
                  <a:gd name="connsiteX32" fmla="*/ 91415 w 183802"/>
                  <a:gd name="connsiteY32" fmla="*/ 30932 h 261084"/>
                  <a:gd name="connsiteX33" fmla="*/ 55448 w 183802"/>
                  <a:gd name="connsiteY33" fmla="*/ 42266 h 261084"/>
                  <a:gd name="connsiteX34" fmla="*/ 43085 w 183802"/>
                  <a:gd name="connsiteY34" fmla="*/ 71815 h 261084"/>
                  <a:gd name="connsiteX35" fmla="*/ 55058 w 183802"/>
                  <a:gd name="connsiteY35" fmla="*/ 98047 h 261084"/>
                  <a:gd name="connsiteX36" fmla="*/ 96628 w 183802"/>
                  <a:gd name="connsiteY36" fmla="*/ 112366 h 261084"/>
                  <a:gd name="connsiteX37" fmla="*/ 109000 w 183802"/>
                  <a:gd name="connsiteY37" fmla="*/ 114211 h 261084"/>
                  <a:gd name="connsiteX38" fmla="*/ 165162 w 183802"/>
                  <a:gd name="connsiteY38" fmla="*/ 136505 h 261084"/>
                  <a:gd name="connsiteX39" fmla="*/ 183888 w 183802"/>
                  <a:gd name="connsiteY39" fmla="*/ 184870 h 261084"/>
                  <a:gd name="connsiteX40" fmla="*/ 178095 w 183802"/>
                  <a:gd name="connsiteY40" fmla="*/ 215555 h 261084"/>
                  <a:gd name="connsiteX41" fmla="*/ 160468 w 183802"/>
                  <a:gd name="connsiteY41" fmla="*/ 239543 h 261084"/>
                  <a:gd name="connsiteX42" fmla="*/ 131287 w 183802"/>
                  <a:gd name="connsiteY42" fmla="*/ 255324 h 261084"/>
                  <a:gd name="connsiteX43" fmla="*/ 91025 w 183802"/>
                  <a:gd name="connsiteY43" fmla="*/ 261108 h 26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3802" h="261084">
                    <a:moveTo>
                      <a:pt x="91025" y="261108"/>
                    </a:moveTo>
                    <a:cubicBezTo>
                      <a:pt x="82093" y="261111"/>
                      <a:pt x="73181" y="260239"/>
                      <a:pt x="64419" y="258507"/>
                    </a:cubicBezTo>
                    <a:cubicBezTo>
                      <a:pt x="56021" y="256856"/>
                      <a:pt x="47762" y="254559"/>
                      <a:pt x="39717" y="251638"/>
                    </a:cubicBezTo>
                    <a:cubicBezTo>
                      <a:pt x="32314" y="248954"/>
                      <a:pt x="25175" y="245589"/>
                      <a:pt x="18393" y="241588"/>
                    </a:cubicBezTo>
                    <a:cubicBezTo>
                      <a:pt x="12384" y="238121"/>
                      <a:pt x="6731" y="234071"/>
                      <a:pt x="1515" y="229496"/>
                    </a:cubicBezTo>
                    <a:cubicBezTo>
                      <a:pt x="-122" y="228186"/>
                      <a:pt x="-388" y="225798"/>
                      <a:pt x="922" y="224161"/>
                    </a:cubicBezTo>
                    <a:cubicBezTo>
                      <a:pt x="991" y="224074"/>
                      <a:pt x="1064" y="223991"/>
                      <a:pt x="1141" y="223911"/>
                    </a:cubicBezTo>
                    <a:lnTo>
                      <a:pt x="17602" y="204590"/>
                    </a:lnTo>
                    <a:cubicBezTo>
                      <a:pt x="18705" y="203057"/>
                      <a:pt x="20841" y="202708"/>
                      <a:pt x="22373" y="203811"/>
                    </a:cubicBezTo>
                    <a:cubicBezTo>
                      <a:pt x="22541" y="203931"/>
                      <a:pt x="22697" y="204066"/>
                      <a:pt x="22840" y="204215"/>
                    </a:cubicBezTo>
                    <a:cubicBezTo>
                      <a:pt x="32319" y="211389"/>
                      <a:pt x="42638" y="217378"/>
                      <a:pt x="53569" y="222050"/>
                    </a:cubicBezTo>
                    <a:cubicBezTo>
                      <a:pt x="66312" y="227614"/>
                      <a:pt x="80094" y="230403"/>
                      <a:pt x="93998" y="230233"/>
                    </a:cubicBezTo>
                    <a:cubicBezTo>
                      <a:pt x="111710" y="230233"/>
                      <a:pt x="125507" y="226270"/>
                      <a:pt x="135390" y="218343"/>
                    </a:cubicBezTo>
                    <a:cubicBezTo>
                      <a:pt x="145024" y="210886"/>
                      <a:pt x="150519" y="199278"/>
                      <a:pt x="150178" y="187100"/>
                    </a:cubicBezTo>
                    <a:cubicBezTo>
                      <a:pt x="150238" y="182021"/>
                      <a:pt x="149356" y="176976"/>
                      <a:pt x="147577" y="172219"/>
                    </a:cubicBezTo>
                    <a:cubicBezTo>
                      <a:pt x="145662" y="167591"/>
                      <a:pt x="142633" y="163506"/>
                      <a:pt x="138760" y="160329"/>
                    </a:cubicBezTo>
                    <a:cubicBezTo>
                      <a:pt x="133876" y="156453"/>
                      <a:pt x="128366" y="153437"/>
                      <a:pt x="122468" y="151412"/>
                    </a:cubicBezTo>
                    <a:cubicBezTo>
                      <a:pt x="114221" y="148605"/>
                      <a:pt x="105684" y="146740"/>
                      <a:pt x="97018" y="145850"/>
                    </a:cubicBezTo>
                    <a:lnTo>
                      <a:pt x="84281" y="143972"/>
                    </a:lnTo>
                    <a:cubicBezTo>
                      <a:pt x="34353" y="137276"/>
                      <a:pt x="9380" y="113974"/>
                      <a:pt x="9362" y="74065"/>
                    </a:cubicBezTo>
                    <a:cubicBezTo>
                      <a:pt x="9220" y="63606"/>
                      <a:pt x="11199" y="53226"/>
                      <a:pt x="15180" y="43553"/>
                    </a:cubicBezTo>
                    <a:cubicBezTo>
                      <a:pt x="18901" y="34587"/>
                      <a:pt x="24602" y="26578"/>
                      <a:pt x="31855" y="20127"/>
                    </a:cubicBezTo>
                    <a:cubicBezTo>
                      <a:pt x="39496" y="13442"/>
                      <a:pt x="48414" y="8377"/>
                      <a:pt x="58069" y="5237"/>
                    </a:cubicBezTo>
                    <a:cubicBezTo>
                      <a:pt x="69191" y="1646"/>
                      <a:pt x="80825" y="-106"/>
                      <a:pt x="92512" y="50"/>
                    </a:cubicBezTo>
                    <a:cubicBezTo>
                      <a:pt x="107058" y="-10"/>
                      <a:pt x="121525" y="2181"/>
                      <a:pt x="135401" y="6545"/>
                    </a:cubicBezTo>
                    <a:cubicBezTo>
                      <a:pt x="147774" y="10291"/>
                      <a:pt x="159460" y="16013"/>
                      <a:pt x="170007" y="23488"/>
                    </a:cubicBezTo>
                    <a:cubicBezTo>
                      <a:pt x="171600" y="24339"/>
                      <a:pt x="172202" y="26320"/>
                      <a:pt x="171352" y="27913"/>
                    </a:cubicBezTo>
                    <a:cubicBezTo>
                      <a:pt x="171200" y="28197"/>
                      <a:pt x="171007" y="28457"/>
                      <a:pt x="170780" y="28684"/>
                    </a:cubicBezTo>
                    <a:lnTo>
                      <a:pt x="158034" y="49135"/>
                    </a:lnTo>
                    <a:cubicBezTo>
                      <a:pt x="156864" y="50781"/>
                      <a:pt x="154582" y="51167"/>
                      <a:pt x="152936" y="49997"/>
                    </a:cubicBezTo>
                    <a:cubicBezTo>
                      <a:pt x="152888" y="49963"/>
                      <a:pt x="152842" y="49929"/>
                      <a:pt x="152796" y="49893"/>
                    </a:cubicBezTo>
                    <a:cubicBezTo>
                      <a:pt x="143314" y="43897"/>
                      <a:pt x="133131" y="39089"/>
                      <a:pt x="122477" y="35575"/>
                    </a:cubicBezTo>
                    <a:cubicBezTo>
                      <a:pt x="112425" y="32433"/>
                      <a:pt x="101946" y="30867"/>
                      <a:pt x="91415" y="30932"/>
                    </a:cubicBezTo>
                    <a:cubicBezTo>
                      <a:pt x="75658" y="30932"/>
                      <a:pt x="63670" y="34710"/>
                      <a:pt x="55448" y="42266"/>
                    </a:cubicBezTo>
                    <a:cubicBezTo>
                      <a:pt x="47206" y="49835"/>
                      <a:pt x="42689" y="60632"/>
                      <a:pt x="43085" y="71815"/>
                    </a:cubicBezTo>
                    <a:cubicBezTo>
                      <a:pt x="42826" y="81936"/>
                      <a:pt x="47243" y="91612"/>
                      <a:pt x="55058" y="98047"/>
                    </a:cubicBezTo>
                    <a:cubicBezTo>
                      <a:pt x="63034" y="104848"/>
                      <a:pt x="76891" y="109621"/>
                      <a:pt x="96628" y="112366"/>
                    </a:cubicBezTo>
                    <a:lnTo>
                      <a:pt x="109000" y="114211"/>
                    </a:lnTo>
                    <a:cubicBezTo>
                      <a:pt x="133939" y="117681"/>
                      <a:pt x="152660" y="125112"/>
                      <a:pt x="165162" y="136505"/>
                    </a:cubicBezTo>
                    <a:cubicBezTo>
                      <a:pt x="177664" y="147898"/>
                      <a:pt x="183906" y="164019"/>
                      <a:pt x="183888" y="184870"/>
                    </a:cubicBezTo>
                    <a:cubicBezTo>
                      <a:pt x="184003" y="195381"/>
                      <a:pt x="182034" y="205810"/>
                      <a:pt x="178095" y="215555"/>
                    </a:cubicBezTo>
                    <a:cubicBezTo>
                      <a:pt x="174222" y="224845"/>
                      <a:pt x="168177" y="233071"/>
                      <a:pt x="160468" y="239543"/>
                    </a:cubicBezTo>
                    <a:cubicBezTo>
                      <a:pt x="151855" y="246643"/>
                      <a:pt x="141944" y="252002"/>
                      <a:pt x="131287" y="255324"/>
                    </a:cubicBezTo>
                    <a:cubicBezTo>
                      <a:pt x="118260" y="259380"/>
                      <a:pt x="104668" y="261333"/>
                      <a:pt x="91025" y="261108"/>
                    </a:cubicBezTo>
                  </a:path>
                </a:pathLst>
              </a:custGeom>
              <a:solidFill>
                <a:schemeClr val="bg1"/>
              </a:solidFill>
              <a:ln w="2965" cap="flat">
                <a:noFill/>
                <a:prstDash val="solid"/>
                <a:miter/>
              </a:ln>
            </p:spPr>
            <p:txBody>
              <a:bodyPr rtlCol="0" anchor="ctr"/>
              <a:lstStyle/>
              <a:p>
                <a:endParaRPr lang="de-DE"/>
              </a:p>
            </p:txBody>
          </p:sp>
          <p:sp>
            <p:nvSpPr>
              <p:cNvPr id="46" name="Freeform: Shape 45">
                <a:extLst>
                  <a:ext uri="{FF2B5EF4-FFF2-40B4-BE49-F238E27FC236}">
                    <a16:creationId xmlns:a16="http://schemas.microsoft.com/office/drawing/2014/main" id="{65323AAA-0E66-4BAC-8112-4C96386A3006}"/>
                  </a:ext>
                </a:extLst>
              </p:cNvPr>
              <p:cNvSpPr/>
              <p:nvPr/>
            </p:nvSpPr>
            <p:spPr>
              <a:xfrm>
                <a:off x="10409366" y="5926719"/>
                <a:ext cx="179430" cy="252966"/>
              </a:xfrm>
              <a:custGeom>
                <a:avLst/>
                <a:gdLst>
                  <a:gd name="connsiteX0" fmla="*/ 33876 w 179430"/>
                  <a:gd name="connsiteY0" fmla="*/ 219859 h 252966"/>
                  <a:gd name="connsiteX1" fmla="*/ 35607 w 179430"/>
                  <a:gd name="connsiteY1" fmla="*/ 222107 h 252966"/>
                  <a:gd name="connsiteX2" fmla="*/ 36156 w 179430"/>
                  <a:gd name="connsiteY2" fmla="*/ 222103 h 252966"/>
                  <a:gd name="connsiteX3" fmla="*/ 82824 w 179430"/>
                  <a:gd name="connsiteY3" fmla="*/ 222103 h 252966"/>
                  <a:gd name="connsiteX4" fmla="*/ 120134 w 179430"/>
                  <a:gd name="connsiteY4" fmla="*/ 214110 h 252966"/>
                  <a:gd name="connsiteX5" fmla="*/ 140644 w 179430"/>
                  <a:gd name="connsiteY5" fmla="*/ 187512 h 252966"/>
                  <a:gd name="connsiteX6" fmla="*/ 142871 w 179430"/>
                  <a:gd name="connsiteY6" fmla="*/ 179698 h 252966"/>
                  <a:gd name="connsiteX7" fmla="*/ 144571 w 179430"/>
                  <a:gd name="connsiteY7" fmla="*/ 168355 h 252966"/>
                  <a:gd name="connsiteX8" fmla="*/ 145489 w 179430"/>
                  <a:gd name="connsiteY8" fmla="*/ 151441 h 252966"/>
                  <a:gd name="connsiteX9" fmla="*/ 145882 w 179430"/>
                  <a:gd name="connsiteY9" fmla="*/ 126529 h 252966"/>
                  <a:gd name="connsiteX10" fmla="*/ 145489 w 179430"/>
                  <a:gd name="connsiteY10" fmla="*/ 101599 h 252966"/>
                  <a:gd name="connsiteX11" fmla="*/ 144571 w 179430"/>
                  <a:gd name="connsiteY11" fmla="*/ 84676 h 252966"/>
                  <a:gd name="connsiteX12" fmla="*/ 142865 w 179430"/>
                  <a:gd name="connsiteY12" fmla="*/ 73339 h 252966"/>
                  <a:gd name="connsiteX13" fmla="*/ 140638 w 179430"/>
                  <a:gd name="connsiteY13" fmla="*/ 65525 h 252966"/>
                  <a:gd name="connsiteX14" fmla="*/ 120128 w 179430"/>
                  <a:gd name="connsiteY14" fmla="*/ 38927 h 252966"/>
                  <a:gd name="connsiteX15" fmla="*/ 82818 w 179430"/>
                  <a:gd name="connsiteY15" fmla="*/ 30934 h 252966"/>
                  <a:gd name="connsiteX16" fmla="*/ 36153 w 179430"/>
                  <a:gd name="connsiteY16" fmla="*/ 30934 h 252966"/>
                  <a:gd name="connsiteX17" fmla="*/ 33877 w 179430"/>
                  <a:gd name="connsiteY17" fmla="*/ 32636 h 252966"/>
                  <a:gd name="connsiteX18" fmla="*/ 33873 w 179430"/>
                  <a:gd name="connsiteY18" fmla="*/ 33178 h 252966"/>
                  <a:gd name="connsiteX19" fmla="*/ 195 w 179430"/>
                  <a:gd name="connsiteY19" fmla="*/ 3783 h 252966"/>
                  <a:gd name="connsiteX20" fmla="*/ 2998 w 179430"/>
                  <a:gd name="connsiteY20" fmla="*/ 69 h 252966"/>
                  <a:gd name="connsiteX21" fmla="*/ 3943 w 179430"/>
                  <a:gd name="connsiteY21" fmla="*/ 74 h 252966"/>
                  <a:gd name="connsiteX22" fmla="*/ 89705 w 179430"/>
                  <a:gd name="connsiteY22" fmla="*/ 74 h 252966"/>
                  <a:gd name="connsiteX23" fmla="*/ 172821 w 179430"/>
                  <a:gd name="connsiteY23" fmla="*/ 54001 h 252966"/>
                  <a:gd name="connsiteX24" fmla="*/ 175669 w 179430"/>
                  <a:gd name="connsiteY24" fmla="*/ 64782 h 252966"/>
                  <a:gd name="connsiteX25" fmla="*/ 177889 w 179430"/>
                  <a:gd name="connsiteY25" fmla="*/ 78538 h 252966"/>
                  <a:gd name="connsiteX26" fmla="*/ 179200 w 179430"/>
                  <a:gd name="connsiteY26" fmla="*/ 98249 h 252966"/>
                  <a:gd name="connsiteX27" fmla="*/ 179593 w 179430"/>
                  <a:gd name="connsiteY27" fmla="*/ 126529 h 252966"/>
                  <a:gd name="connsiteX28" fmla="*/ 179200 w 179430"/>
                  <a:gd name="connsiteY28" fmla="*/ 154794 h 252966"/>
                  <a:gd name="connsiteX29" fmla="*/ 177889 w 179430"/>
                  <a:gd name="connsiteY29" fmla="*/ 174505 h 252966"/>
                  <a:gd name="connsiteX30" fmla="*/ 175669 w 179430"/>
                  <a:gd name="connsiteY30" fmla="*/ 188270 h 252966"/>
                  <a:gd name="connsiteX31" fmla="*/ 172821 w 179430"/>
                  <a:gd name="connsiteY31" fmla="*/ 199043 h 252966"/>
                  <a:gd name="connsiteX32" fmla="*/ 89705 w 179430"/>
                  <a:gd name="connsiteY32" fmla="*/ 252969 h 252966"/>
                  <a:gd name="connsiteX33" fmla="*/ 3943 w 179430"/>
                  <a:gd name="connsiteY33" fmla="*/ 252969 h 252966"/>
                  <a:gd name="connsiteX34" fmla="*/ 201 w 179430"/>
                  <a:gd name="connsiteY34" fmla="*/ 250175 h 252966"/>
                  <a:gd name="connsiteX35" fmla="*/ 201 w 179430"/>
                  <a:gd name="connsiteY35" fmla="*/ 249227 h 25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79430" h="252966">
                    <a:moveTo>
                      <a:pt x="33876" y="219859"/>
                    </a:moveTo>
                    <a:cubicBezTo>
                      <a:pt x="33733" y="220958"/>
                      <a:pt x="34508" y="221965"/>
                      <a:pt x="35607" y="222107"/>
                    </a:cubicBezTo>
                    <a:cubicBezTo>
                      <a:pt x="35789" y="222131"/>
                      <a:pt x="35974" y="222129"/>
                      <a:pt x="36156" y="222103"/>
                    </a:cubicBezTo>
                    <a:lnTo>
                      <a:pt x="82824" y="222103"/>
                    </a:lnTo>
                    <a:cubicBezTo>
                      <a:pt x="98221" y="222103"/>
                      <a:pt x="110697" y="219428"/>
                      <a:pt x="120134" y="214110"/>
                    </a:cubicBezTo>
                    <a:cubicBezTo>
                      <a:pt x="129572" y="208792"/>
                      <a:pt x="136408" y="199911"/>
                      <a:pt x="140644" y="187512"/>
                    </a:cubicBezTo>
                    <a:cubicBezTo>
                      <a:pt x="141408" y="185277"/>
                      <a:pt x="142098" y="182682"/>
                      <a:pt x="142871" y="179698"/>
                    </a:cubicBezTo>
                    <a:cubicBezTo>
                      <a:pt x="143742" y="175969"/>
                      <a:pt x="144310" y="172175"/>
                      <a:pt x="144571" y="168355"/>
                    </a:cubicBezTo>
                    <a:cubicBezTo>
                      <a:pt x="144945" y="163781"/>
                      <a:pt x="145252" y="158143"/>
                      <a:pt x="145489" y="151441"/>
                    </a:cubicBezTo>
                    <a:cubicBezTo>
                      <a:pt x="145718" y="144732"/>
                      <a:pt x="145882" y="136433"/>
                      <a:pt x="145882" y="126529"/>
                    </a:cubicBezTo>
                    <a:cubicBezTo>
                      <a:pt x="145882" y="116625"/>
                      <a:pt x="145721" y="108308"/>
                      <a:pt x="145489" y="101599"/>
                    </a:cubicBezTo>
                    <a:cubicBezTo>
                      <a:pt x="145258" y="94890"/>
                      <a:pt x="144945" y="89269"/>
                      <a:pt x="144571" y="84676"/>
                    </a:cubicBezTo>
                    <a:cubicBezTo>
                      <a:pt x="144308" y="80858"/>
                      <a:pt x="143737" y="77066"/>
                      <a:pt x="142865" y="73339"/>
                    </a:cubicBezTo>
                    <a:cubicBezTo>
                      <a:pt x="142092" y="70367"/>
                      <a:pt x="141402" y="67760"/>
                      <a:pt x="140638" y="65525"/>
                    </a:cubicBezTo>
                    <a:cubicBezTo>
                      <a:pt x="136396" y="53128"/>
                      <a:pt x="129559" y="44262"/>
                      <a:pt x="120128" y="38927"/>
                    </a:cubicBezTo>
                    <a:cubicBezTo>
                      <a:pt x="110691" y="33594"/>
                      <a:pt x="98215" y="30934"/>
                      <a:pt x="82818" y="30934"/>
                    </a:cubicBezTo>
                    <a:lnTo>
                      <a:pt x="36153" y="30934"/>
                    </a:lnTo>
                    <a:cubicBezTo>
                      <a:pt x="35054" y="30776"/>
                      <a:pt x="34035" y="31538"/>
                      <a:pt x="33877" y="32636"/>
                    </a:cubicBezTo>
                    <a:cubicBezTo>
                      <a:pt x="33851" y="32816"/>
                      <a:pt x="33850" y="32998"/>
                      <a:pt x="33873" y="33178"/>
                    </a:cubicBezTo>
                    <a:close/>
                    <a:moveTo>
                      <a:pt x="195" y="3783"/>
                    </a:moveTo>
                    <a:cubicBezTo>
                      <a:pt x="-57" y="1984"/>
                      <a:pt x="1198" y="321"/>
                      <a:pt x="2998" y="69"/>
                    </a:cubicBezTo>
                    <a:cubicBezTo>
                      <a:pt x="3311" y="25"/>
                      <a:pt x="3630" y="27"/>
                      <a:pt x="3943" y="74"/>
                    </a:cubicBezTo>
                    <a:lnTo>
                      <a:pt x="89705" y="74"/>
                    </a:lnTo>
                    <a:cubicBezTo>
                      <a:pt x="133402" y="74"/>
                      <a:pt x="161108" y="18049"/>
                      <a:pt x="172821" y="54001"/>
                    </a:cubicBezTo>
                    <a:cubicBezTo>
                      <a:pt x="173817" y="57478"/>
                      <a:pt x="174736" y="61075"/>
                      <a:pt x="175669" y="64782"/>
                    </a:cubicBezTo>
                    <a:cubicBezTo>
                      <a:pt x="176665" y="69322"/>
                      <a:pt x="177406" y="73915"/>
                      <a:pt x="177889" y="78538"/>
                    </a:cubicBezTo>
                    <a:cubicBezTo>
                      <a:pt x="178511" y="84005"/>
                      <a:pt x="178968" y="90571"/>
                      <a:pt x="179200" y="98249"/>
                    </a:cubicBezTo>
                    <a:cubicBezTo>
                      <a:pt x="179432" y="105927"/>
                      <a:pt x="179593" y="115349"/>
                      <a:pt x="179593" y="126529"/>
                    </a:cubicBezTo>
                    <a:cubicBezTo>
                      <a:pt x="179593" y="137708"/>
                      <a:pt x="179432" y="147113"/>
                      <a:pt x="179200" y="154794"/>
                    </a:cubicBezTo>
                    <a:cubicBezTo>
                      <a:pt x="178968" y="162475"/>
                      <a:pt x="178511" y="169062"/>
                      <a:pt x="177889" y="174505"/>
                    </a:cubicBezTo>
                    <a:cubicBezTo>
                      <a:pt x="177405" y="179131"/>
                      <a:pt x="176664" y="183727"/>
                      <a:pt x="175669" y="188270"/>
                    </a:cubicBezTo>
                    <a:cubicBezTo>
                      <a:pt x="174733" y="191968"/>
                      <a:pt x="173814" y="195559"/>
                      <a:pt x="172821" y="199043"/>
                    </a:cubicBezTo>
                    <a:cubicBezTo>
                      <a:pt x="161114" y="235001"/>
                      <a:pt x="133408" y="252977"/>
                      <a:pt x="89705" y="252969"/>
                    </a:cubicBezTo>
                    <a:lnTo>
                      <a:pt x="3943" y="252969"/>
                    </a:lnTo>
                    <a:cubicBezTo>
                      <a:pt x="2138" y="253231"/>
                      <a:pt x="462" y="251980"/>
                      <a:pt x="201" y="250175"/>
                    </a:cubicBezTo>
                    <a:cubicBezTo>
                      <a:pt x="155" y="249861"/>
                      <a:pt x="155" y="249541"/>
                      <a:pt x="201" y="249227"/>
                    </a:cubicBezTo>
                    <a:close/>
                  </a:path>
                </a:pathLst>
              </a:custGeom>
              <a:solidFill>
                <a:schemeClr val="bg1"/>
              </a:solidFill>
              <a:ln w="2965" cap="flat">
                <a:noFill/>
                <a:prstDash val="solid"/>
                <a:miter/>
              </a:ln>
            </p:spPr>
            <p:txBody>
              <a:bodyPr rtlCol="0" anchor="ctr"/>
              <a:lstStyle/>
              <a:p>
                <a:endParaRPr lang="de-DE"/>
              </a:p>
            </p:txBody>
          </p:sp>
          <p:sp>
            <p:nvSpPr>
              <p:cNvPr id="47" name="Freeform: Shape 46">
                <a:extLst>
                  <a:ext uri="{FF2B5EF4-FFF2-40B4-BE49-F238E27FC236}">
                    <a16:creationId xmlns:a16="http://schemas.microsoft.com/office/drawing/2014/main" id="{B139403C-A2CE-4A36-9B28-A3ED6EDCE09B}"/>
                  </a:ext>
                </a:extLst>
              </p:cNvPr>
              <p:cNvSpPr/>
              <p:nvPr/>
            </p:nvSpPr>
            <p:spPr>
              <a:xfrm>
                <a:off x="10669891" y="5895068"/>
                <a:ext cx="15902" cy="316256"/>
              </a:xfrm>
              <a:custGeom>
                <a:avLst/>
                <a:gdLst>
                  <a:gd name="connsiteX0" fmla="*/ 8199 w 15902"/>
                  <a:gd name="connsiteY0" fmla="*/ 316295 h 316256"/>
                  <a:gd name="connsiteX1" fmla="*/ 247 w 15902"/>
                  <a:gd name="connsiteY1" fmla="*/ 308355 h 316256"/>
                  <a:gd name="connsiteX2" fmla="*/ 247 w 15902"/>
                  <a:gd name="connsiteY2" fmla="*/ 7980 h 316256"/>
                  <a:gd name="connsiteX3" fmla="*/ 8199 w 15902"/>
                  <a:gd name="connsiteY3" fmla="*/ 38 h 316256"/>
                  <a:gd name="connsiteX4" fmla="*/ 16150 w 15902"/>
                  <a:gd name="connsiteY4" fmla="*/ 7980 h 316256"/>
                  <a:gd name="connsiteX5" fmla="*/ 16150 w 15902"/>
                  <a:gd name="connsiteY5" fmla="*/ 308355 h 316256"/>
                  <a:gd name="connsiteX6" fmla="*/ 8199 w 15902"/>
                  <a:gd name="connsiteY6" fmla="*/ 316295 h 31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02" h="316256">
                    <a:moveTo>
                      <a:pt x="8199" y="316295"/>
                    </a:moveTo>
                    <a:cubicBezTo>
                      <a:pt x="3812" y="316293"/>
                      <a:pt x="255" y="312741"/>
                      <a:pt x="247" y="308355"/>
                    </a:cubicBezTo>
                    <a:lnTo>
                      <a:pt x="247" y="7980"/>
                    </a:lnTo>
                    <a:cubicBezTo>
                      <a:pt x="250" y="3592"/>
                      <a:pt x="3810" y="36"/>
                      <a:pt x="8199" y="38"/>
                    </a:cubicBezTo>
                    <a:cubicBezTo>
                      <a:pt x="12587" y="36"/>
                      <a:pt x="16147" y="3592"/>
                      <a:pt x="16150" y="7980"/>
                    </a:cubicBezTo>
                    <a:lnTo>
                      <a:pt x="16150" y="308355"/>
                    </a:lnTo>
                    <a:cubicBezTo>
                      <a:pt x="16142" y="312741"/>
                      <a:pt x="12585" y="316293"/>
                      <a:pt x="8199" y="316295"/>
                    </a:cubicBezTo>
                  </a:path>
                </a:pathLst>
              </a:custGeom>
              <a:solidFill>
                <a:schemeClr val="bg1"/>
              </a:solidFill>
              <a:ln w="2965" cap="flat">
                <a:noFill/>
                <a:prstDash val="solid"/>
                <a:miter/>
              </a:ln>
            </p:spPr>
            <p:txBody>
              <a:bodyPr rtlCol="0" anchor="ctr"/>
              <a:lstStyle/>
              <a:p>
                <a:endParaRPr lang="de-DE"/>
              </a:p>
            </p:txBody>
          </p:sp>
        </p:grpSp>
        <p:sp>
          <p:nvSpPr>
            <p:cNvPr id="48" name="Freeform: Shape 47">
              <a:extLst>
                <a:ext uri="{FF2B5EF4-FFF2-40B4-BE49-F238E27FC236}">
                  <a16:creationId xmlns:a16="http://schemas.microsoft.com/office/drawing/2014/main" id="{690D5A6B-81A4-4345-9389-F5E72B080AAB}"/>
                </a:ext>
              </a:extLst>
            </p:cNvPr>
            <p:cNvSpPr/>
            <p:nvPr/>
          </p:nvSpPr>
          <p:spPr>
            <a:xfrm>
              <a:off x="10773834" y="5924496"/>
              <a:ext cx="1075613" cy="93936"/>
            </a:xfrm>
            <a:custGeom>
              <a:avLst/>
              <a:gdLst>
                <a:gd name="connsiteX0" fmla="*/ 28649 w 1075613"/>
                <a:gd name="connsiteY0" fmla="*/ 92452 h 93936"/>
                <a:gd name="connsiteX1" fmla="*/ 27311 w 1075613"/>
                <a:gd name="connsiteY1" fmla="*/ 91433 h 93936"/>
                <a:gd name="connsiteX2" fmla="*/ 27311 w 1075613"/>
                <a:gd name="connsiteY2" fmla="*/ 91114 h 93936"/>
                <a:gd name="connsiteX3" fmla="*/ 27311 w 1075613"/>
                <a:gd name="connsiteY3" fmla="*/ 13384 h 93936"/>
                <a:gd name="connsiteX4" fmla="*/ 26706 w 1075613"/>
                <a:gd name="connsiteY4" fmla="*/ 12581 h 93936"/>
                <a:gd name="connsiteX5" fmla="*/ 26508 w 1075613"/>
                <a:gd name="connsiteY5" fmla="*/ 12581 h 93936"/>
                <a:gd name="connsiteX6" fmla="*/ 1629 w 1075613"/>
                <a:gd name="connsiteY6" fmla="*/ 12581 h 93936"/>
                <a:gd name="connsiteX7" fmla="*/ 291 w 1075613"/>
                <a:gd name="connsiteY7" fmla="*/ 11563 h 93936"/>
                <a:gd name="connsiteX8" fmla="*/ 291 w 1075613"/>
                <a:gd name="connsiteY8" fmla="*/ 11244 h 93936"/>
                <a:gd name="connsiteX9" fmla="*/ 291 w 1075613"/>
                <a:gd name="connsiteY9" fmla="*/ 2832 h 93936"/>
                <a:gd name="connsiteX10" fmla="*/ 1310 w 1075613"/>
                <a:gd name="connsiteY10" fmla="*/ 1494 h 93936"/>
                <a:gd name="connsiteX11" fmla="*/ 1629 w 1075613"/>
                <a:gd name="connsiteY11" fmla="*/ 1494 h 93936"/>
                <a:gd name="connsiteX12" fmla="*/ 64898 w 1075613"/>
                <a:gd name="connsiteY12" fmla="*/ 1494 h 93936"/>
                <a:gd name="connsiteX13" fmla="*/ 66235 w 1075613"/>
                <a:gd name="connsiteY13" fmla="*/ 2513 h 93936"/>
                <a:gd name="connsiteX14" fmla="*/ 66235 w 1075613"/>
                <a:gd name="connsiteY14" fmla="*/ 2832 h 93936"/>
                <a:gd name="connsiteX15" fmla="*/ 66235 w 1075613"/>
                <a:gd name="connsiteY15" fmla="*/ 11259 h 93936"/>
                <a:gd name="connsiteX16" fmla="*/ 65217 w 1075613"/>
                <a:gd name="connsiteY16" fmla="*/ 12596 h 93936"/>
                <a:gd name="connsiteX17" fmla="*/ 64898 w 1075613"/>
                <a:gd name="connsiteY17" fmla="*/ 12596 h 93936"/>
                <a:gd name="connsiteX18" fmla="*/ 40018 w 1075613"/>
                <a:gd name="connsiteY18" fmla="*/ 12596 h 93936"/>
                <a:gd name="connsiteX19" fmla="*/ 39216 w 1075613"/>
                <a:gd name="connsiteY19" fmla="*/ 13201 h 93936"/>
                <a:gd name="connsiteX20" fmla="*/ 39216 w 1075613"/>
                <a:gd name="connsiteY20" fmla="*/ 13399 h 93936"/>
                <a:gd name="connsiteX21" fmla="*/ 39216 w 1075613"/>
                <a:gd name="connsiteY21" fmla="*/ 91114 h 93936"/>
                <a:gd name="connsiteX22" fmla="*/ 38197 w 1075613"/>
                <a:gd name="connsiteY22" fmla="*/ 92452 h 93936"/>
                <a:gd name="connsiteX23" fmla="*/ 37878 w 1075613"/>
                <a:gd name="connsiteY23" fmla="*/ 92452 h 93936"/>
                <a:gd name="connsiteX24" fmla="*/ 133116 w 1075613"/>
                <a:gd name="connsiteY24" fmla="*/ 92452 h 93936"/>
                <a:gd name="connsiteX25" fmla="*/ 131377 w 1075613"/>
                <a:gd name="connsiteY25" fmla="*/ 91114 h 93936"/>
                <a:gd name="connsiteX26" fmla="*/ 113186 w 1075613"/>
                <a:gd name="connsiteY26" fmla="*/ 53929 h 93936"/>
                <a:gd name="connsiteX27" fmla="*/ 93122 w 1075613"/>
                <a:gd name="connsiteY27" fmla="*/ 53929 h 93936"/>
                <a:gd name="connsiteX28" fmla="*/ 92319 w 1075613"/>
                <a:gd name="connsiteY28" fmla="*/ 54533 h 93936"/>
                <a:gd name="connsiteX29" fmla="*/ 92319 w 1075613"/>
                <a:gd name="connsiteY29" fmla="*/ 54731 h 93936"/>
                <a:gd name="connsiteX30" fmla="*/ 92319 w 1075613"/>
                <a:gd name="connsiteY30" fmla="*/ 91114 h 93936"/>
                <a:gd name="connsiteX31" fmla="*/ 91300 w 1075613"/>
                <a:gd name="connsiteY31" fmla="*/ 92452 h 93936"/>
                <a:gd name="connsiteX32" fmla="*/ 90981 w 1075613"/>
                <a:gd name="connsiteY32" fmla="*/ 92452 h 93936"/>
                <a:gd name="connsiteX33" fmla="*/ 81767 w 1075613"/>
                <a:gd name="connsiteY33" fmla="*/ 92452 h 93936"/>
                <a:gd name="connsiteX34" fmla="*/ 80429 w 1075613"/>
                <a:gd name="connsiteY34" fmla="*/ 91433 h 93936"/>
                <a:gd name="connsiteX35" fmla="*/ 80429 w 1075613"/>
                <a:gd name="connsiteY35" fmla="*/ 91114 h 93936"/>
                <a:gd name="connsiteX36" fmla="*/ 80429 w 1075613"/>
                <a:gd name="connsiteY36" fmla="*/ 2832 h 93936"/>
                <a:gd name="connsiteX37" fmla="*/ 81448 w 1075613"/>
                <a:gd name="connsiteY37" fmla="*/ 1494 h 93936"/>
                <a:gd name="connsiteX38" fmla="*/ 81767 w 1075613"/>
                <a:gd name="connsiteY38" fmla="*/ 1494 h 93936"/>
                <a:gd name="connsiteX39" fmla="*/ 114672 w 1075613"/>
                <a:gd name="connsiteY39" fmla="*/ 1494 h 93936"/>
                <a:gd name="connsiteX40" fmla="*/ 126309 w 1075613"/>
                <a:gd name="connsiteY40" fmla="*/ 3367 h 93936"/>
                <a:gd name="connsiteX41" fmla="*/ 135271 w 1075613"/>
                <a:gd name="connsiteY41" fmla="*/ 8649 h 93936"/>
                <a:gd name="connsiteX42" fmla="*/ 141077 w 1075613"/>
                <a:gd name="connsiteY42" fmla="*/ 16951 h 93936"/>
                <a:gd name="connsiteX43" fmla="*/ 143157 w 1075613"/>
                <a:gd name="connsiteY43" fmla="*/ 27717 h 93936"/>
                <a:gd name="connsiteX44" fmla="*/ 138342 w 1075613"/>
                <a:gd name="connsiteY44" fmla="*/ 43367 h 93936"/>
                <a:gd name="connsiteX45" fmla="*/ 125233 w 1075613"/>
                <a:gd name="connsiteY45" fmla="*/ 52463 h 93936"/>
                <a:gd name="connsiteX46" fmla="*/ 144620 w 1075613"/>
                <a:gd name="connsiteY46" fmla="*/ 90847 h 93936"/>
                <a:gd name="connsiteX47" fmla="*/ 144753 w 1075613"/>
                <a:gd name="connsiteY47" fmla="*/ 91982 h 93936"/>
                <a:gd name="connsiteX48" fmla="*/ 143817 w 1075613"/>
                <a:gd name="connsiteY48" fmla="*/ 92452 h 93936"/>
                <a:gd name="connsiteX49" fmla="*/ 114390 w 1075613"/>
                <a:gd name="connsiteY49" fmla="*/ 42826 h 93936"/>
                <a:gd name="connsiteX50" fmla="*/ 126829 w 1075613"/>
                <a:gd name="connsiteY50" fmla="*/ 38882 h 93936"/>
                <a:gd name="connsiteX51" fmla="*/ 131244 w 1075613"/>
                <a:gd name="connsiteY51" fmla="*/ 27711 h 93936"/>
                <a:gd name="connsiteX52" fmla="*/ 126829 w 1075613"/>
                <a:gd name="connsiteY52" fmla="*/ 16541 h 93936"/>
                <a:gd name="connsiteX53" fmla="*/ 114390 w 1075613"/>
                <a:gd name="connsiteY53" fmla="*/ 12596 h 93936"/>
                <a:gd name="connsiteX54" fmla="*/ 93122 w 1075613"/>
                <a:gd name="connsiteY54" fmla="*/ 12596 h 93936"/>
                <a:gd name="connsiteX55" fmla="*/ 92319 w 1075613"/>
                <a:gd name="connsiteY55" fmla="*/ 13201 h 93936"/>
                <a:gd name="connsiteX56" fmla="*/ 92319 w 1075613"/>
                <a:gd name="connsiteY56" fmla="*/ 13399 h 93936"/>
                <a:gd name="connsiteX57" fmla="*/ 92319 w 1075613"/>
                <a:gd name="connsiteY57" fmla="*/ 42024 h 93936"/>
                <a:gd name="connsiteX58" fmla="*/ 92923 w 1075613"/>
                <a:gd name="connsiteY58" fmla="*/ 42826 h 93936"/>
                <a:gd name="connsiteX59" fmla="*/ 93122 w 1075613"/>
                <a:gd name="connsiteY59" fmla="*/ 42826 h 93936"/>
                <a:gd name="connsiteX60" fmla="*/ 186487 w 1075613"/>
                <a:gd name="connsiteY60" fmla="*/ 2832 h 93936"/>
                <a:gd name="connsiteX61" fmla="*/ 188092 w 1075613"/>
                <a:gd name="connsiteY61" fmla="*/ 1494 h 93936"/>
                <a:gd name="connsiteX62" fmla="*/ 196802 w 1075613"/>
                <a:gd name="connsiteY62" fmla="*/ 1494 h 93936"/>
                <a:gd name="connsiteX63" fmla="*/ 198540 w 1075613"/>
                <a:gd name="connsiteY63" fmla="*/ 2832 h 93936"/>
                <a:gd name="connsiteX64" fmla="*/ 229707 w 1075613"/>
                <a:gd name="connsiteY64" fmla="*/ 91114 h 93936"/>
                <a:gd name="connsiteX65" fmla="*/ 228771 w 1075613"/>
                <a:gd name="connsiteY65" fmla="*/ 92452 h 93936"/>
                <a:gd name="connsiteX66" fmla="*/ 219392 w 1075613"/>
                <a:gd name="connsiteY66" fmla="*/ 92452 h 93936"/>
                <a:gd name="connsiteX67" fmla="*/ 217654 w 1075613"/>
                <a:gd name="connsiteY67" fmla="*/ 91114 h 93936"/>
                <a:gd name="connsiteX68" fmla="*/ 210698 w 1075613"/>
                <a:gd name="connsiteY68" fmla="*/ 71318 h 93936"/>
                <a:gd name="connsiteX69" fmla="*/ 173914 w 1075613"/>
                <a:gd name="connsiteY69" fmla="*/ 71318 h 93936"/>
                <a:gd name="connsiteX70" fmla="*/ 166958 w 1075613"/>
                <a:gd name="connsiteY70" fmla="*/ 91114 h 93936"/>
                <a:gd name="connsiteX71" fmla="*/ 165219 w 1075613"/>
                <a:gd name="connsiteY71" fmla="*/ 92452 h 93936"/>
                <a:gd name="connsiteX72" fmla="*/ 155856 w 1075613"/>
                <a:gd name="connsiteY72" fmla="*/ 92452 h 93936"/>
                <a:gd name="connsiteX73" fmla="*/ 154919 w 1075613"/>
                <a:gd name="connsiteY73" fmla="*/ 91114 h 93936"/>
                <a:gd name="connsiteX74" fmla="*/ 206819 w 1075613"/>
                <a:gd name="connsiteY74" fmla="*/ 60349 h 93936"/>
                <a:gd name="connsiteX75" fmla="*/ 192506 w 1075613"/>
                <a:gd name="connsiteY75" fmla="*/ 19017 h 93936"/>
                <a:gd name="connsiteX76" fmla="*/ 192239 w 1075613"/>
                <a:gd name="connsiteY76" fmla="*/ 19017 h 93936"/>
                <a:gd name="connsiteX77" fmla="*/ 177793 w 1075613"/>
                <a:gd name="connsiteY77" fmla="*/ 60349 h 93936"/>
                <a:gd name="connsiteX78" fmla="*/ 244138 w 1075613"/>
                <a:gd name="connsiteY78" fmla="*/ 2832 h 93936"/>
                <a:gd name="connsiteX79" fmla="*/ 245157 w 1075613"/>
                <a:gd name="connsiteY79" fmla="*/ 1494 h 93936"/>
                <a:gd name="connsiteX80" fmla="*/ 245476 w 1075613"/>
                <a:gd name="connsiteY80" fmla="*/ 1494 h 93936"/>
                <a:gd name="connsiteX81" fmla="*/ 254037 w 1075613"/>
                <a:gd name="connsiteY81" fmla="*/ 1494 h 93936"/>
                <a:gd name="connsiteX82" fmla="*/ 256311 w 1075613"/>
                <a:gd name="connsiteY82" fmla="*/ 2832 h 93936"/>
                <a:gd name="connsiteX83" fmla="*/ 297509 w 1075613"/>
                <a:gd name="connsiteY83" fmla="*/ 71050 h 93936"/>
                <a:gd name="connsiteX84" fmla="*/ 298044 w 1075613"/>
                <a:gd name="connsiteY84" fmla="*/ 71050 h 93936"/>
                <a:gd name="connsiteX85" fmla="*/ 298044 w 1075613"/>
                <a:gd name="connsiteY85" fmla="*/ 2832 h 93936"/>
                <a:gd name="connsiteX86" fmla="*/ 299064 w 1075613"/>
                <a:gd name="connsiteY86" fmla="*/ 1494 h 93936"/>
                <a:gd name="connsiteX87" fmla="*/ 299382 w 1075613"/>
                <a:gd name="connsiteY87" fmla="*/ 1494 h 93936"/>
                <a:gd name="connsiteX88" fmla="*/ 307809 w 1075613"/>
                <a:gd name="connsiteY88" fmla="*/ 1494 h 93936"/>
                <a:gd name="connsiteX89" fmla="*/ 309146 w 1075613"/>
                <a:gd name="connsiteY89" fmla="*/ 2513 h 93936"/>
                <a:gd name="connsiteX90" fmla="*/ 309146 w 1075613"/>
                <a:gd name="connsiteY90" fmla="*/ 2832 h 93936"/>
                <a:gd name="connsiteX91" fmla="*/ 309146 w 1075613"/>
                <a:gd name="connsiteY91" fmla="*/ 91114 h 93936"/>
                <a:gd name="connsiteX92" fmla="*/ 308127 w 1075613"/>
                <a:gd name="connsiteY92" fmla="*/ 92452 h 93936"/>
                <a:gd name="connsiteX93" fmla="*/ 307809 w 1075613"/>
                <a:gd name="connsiteY93" fmla="*/ 92452 h 93936"/>
                <a:gd name="connsiteX94" fmla="*/ 299248 w 1075613"/>
                <a:gd name="connsiteY94" fmla="*/ 92452 h 93936"/>
                <a:gd name="connsiteX95" fmla="*/ 296974 w 1075613"/>
                <a:gd name="connsiteY95" fmla="*/ 91114 h 93936"/>
                <a:gd name="connsiteX96" fmla="*/ 255657 w 1075613"/>
                <a:gd name="connsiteY96" fmla="*/ 23164 h 93936"/>
                <a:gd name="connsiteX97" fmla="*/ 255240 w 1075613"/>
                <a:gd name="connsiteY97" fmla="*/ 23164 h 93936"/>
                <a:gd name="connsiteX98" fmla="*/ 255240 w 1075613"/>
                <a:gd name="connsiteY98" fmla="*/ 91114 h 93936"/>
                <a:gd name="connsiteX99" fmla="*/ 254222 w 1075613"/>
                <a:gd name="connsiteY99" fmla="*/ 92452 h 93936"/>
                <a:gd name="connsiteX100" fmla="*/ 253903 w 1075613"/>
                <a:gd name="connsiteY100" fmla="*/ 92452 h 93936"/>
                <a:gd name="connsiteX101" fmla="*/ 245476 w 1075613"/>
                <a:gd name="connsiteY101" fmla="*/ 92452 h 93936"/>
                <a:gd name="connsiteX102" fmla="*/ 244138 w 1075613"/>
                <a:gd name="connsiteY102" fmla="*/ 91433 h 93936"/>
                <a:gd name="connsiteX103" fmla="*/ 244138 w 1075613"/>
                <a:gd name="connsiteY103" fmla="*/ 91114 h 93936"/>
                <a:gd name="connsiteX104" fmla="*/ 359173 w 1075613"/>
                <a:gd name="connsiteY104" fmla="*/ 93923 h 93936"/>
                <a:gd name="connsiteX105" fmla="*/ 349661 w 1075613"/>
                <a:gd name="connsiteY105" fmla="*/ 92987 h 93936"/>
                <a:gd name="connsiteX106" fmla="*/ 340833 w 1075613"/>
                <a:gd name="connsiteY106" fmla="*/ 90511 h 93936"/>
                <a:gd name="connsiteX107" fmla="*/ 333238 w 1075613"/>
                <a:gd name="connsiteY107" fmla="*/ 86899 h 93936"/>
                <a:gd name="connsiteX108" fmla="*/ 327219 w 1075613"/>
                <a:gd name="connsiteY108" fmla="*/ 82554 h 93936"/>
                <a:gd name="connsiteX109" fmla="*/ 327023 w 1075613"/>
                <a:gd name="connsiteY109" fmla="*/ 80617 h 93936"/>
                <a:gd name="connsiteX110" fmla="*/ 327085 w 1075613"/>
                <a:gd name="connsiteY110" fmla="*/ 80547 h 93936"/>
                <a:gd name="connsiteX111" fmla="*/ 332971 w 1075613"/>
                <a:gd name="connsiteY111" fmla="*/ 73592 h 93936"/>
                <a:gd name="connsiteX112" fmla="*/ 334680 w 1075613"/>
                <a:gd name="connsiteY112" fmla="*/ 73317 h 93936"/>
                <a:gd name="connsiteX113" fmla="*/ 334843 w 1075613"/>
                <a:gd name="connsiteY113" fmla="*/ 73458 h 93936"/>
                <a:gd name="connsiteX114" fmla="*/ 345812 w 1075613"/>
                <a:gd name="connsiteY114" fmla="*/ 79878 h 93936"/>
                <a:gd name="connsiteX115" fmla="*/ 360258 w 1075613"/>
                <a:gd name="connsiteY115" fmla="*/ 82821 h 93936"/>
                <a:gd name="connsiteX116" fmla="*/ 375037 w 1075613"/>
                <a:gd name="connsiteY116" fmla="*/ 78541 h 93936"/>
                <a:gd name="connsiteX117" fmla="*/ 380322 w 1075613"/>
                <a:gd name="connsiteY117" fmla="*/ 67305 h 93936"/>
                <a:gd name="connsiteX118" fmla="*/ 379386 w 1075613"/>
                <a:gd name="connsiteY118" fmla="*/ 61954 h 93936"/>
                <a:gd name="connsiteX119" fmla="*/ 376241 w 1075613"/>
                <a:gd name="connsiteY119" fmla="*/ 57674 h 93936"/>
                <a:gd name="connsiteX120" fmla="*/ 370424 w 1075613"/>
                <a:gd name="connsiteY120" fmla="*/ 54464 h 93936"/>
                <a:gd name="connsiteX121" fmla="*/ 361328 w 1075613"/>
                <a:gd name="connsiteY121" fmla="*/ 52457 h 93936"/>
                <a:gd name="connsiteX122" fmla="*/ 356780 w 1075613"/>
                <a:gd name="connsiteY122" fmla="*/ 51788 h 93936"/>
                <a:gd name="connsiteX123" fmla="*/ 330028 w 1075613"/>
                <a:gd name="connsiteY123" fmla="*/ 26641 h 93936"/>
                <a:gd name="connsiteX124" fmla="*/ 332109 w 1075613"/>
                <a:gd name="connsiteY124" fmla="*/ 15673 h 93936"/>
                <a:gd name="connsiteX125" fmla="*/ 338054 w 1075613"/>
                <a:gd name="connsiteY125" fmla="*/ 7246 h 93936"/>
                <a:gd name="connsiteX126" fmla="*/ 347417 w 1075613"/>
                <a:gd name="connsiteY126" fmla="*/ 1895 h 93936"/>
                <a:gd name="connsiteX127" fmla="*/ 359723 w 1075613"/>
                <a:gd name="connsiteY127" fmla="*/ 23 h 93936"/>
                <a:gd name="connsiteX128" fmla="*/ 375040 w 1075613"/>
                <a:gd name="connsiteY128" fmla="*/ 2362 h 93936"/>
                <a:gd name="connsiteX129" fmla="*/ 387397 w 1075613"/>
                <a:gd name="connsiteY129" fmla="*/ 8450 h 93936"/>
                <a:gd name="connsiteX130" fmla="*/ 387855 w 1075613"/>
                <a:gd name="connsiteY130" fmla="*/ 10067 h 93936"/>
                <a:gd name="connsiteX131" fmla="*/ 387664 w 1075613"/>
                <a:gd name="connsiteY131" fmla="*/ 10322 h 93936"/>
                <a:gd name="connsiteX132" fmla="*/ 383116 w 1075613"/>
                <a:gd name="connsiteY132" fmla="*/ 17679 h 93936"/>
                <a:gd name="connsiteX133" fmla="*/ 381300 w 1075613"/>
                <a:gd name="connsiteY133" fmla="*/ 17990 h 93936"/>
                <a:gd name="connsiteX134" fmla="*/ 381244 w 1075613"/>
                <a:gd name="connsiteY134" fmla="*/ 17947 h 93936"/>
                <a:gd name="connsiteX135" fmla="*/ 370409 w 1075613"/>
                <a:gd name="connsiteY135" fmla="*/ 12790 h 93936"/>
                <a:gd name="connsiteX136" fmla="*/ 359307 w 1075613"/>
                <a:gd name="connsiteY136" fmla="*/ 11119 h 93936"/>
                <a:gd name="connsiteX137" fmla="*/ 346466 w 1075613"/>
                <a:gd name="connsiteY137" fmla="*/ 15197 h 93936"/>
                <a:gd name="connsiteX138" fmla="*/ 342052 w 1075613"/>
                <a:gd name="connsiteY138" fmla="*/ 25830 h 93936"/>
                <a:gd name="connsiteX139" fmla="*/ 346332 w 1075613"/>
                <a:gd name="connsiteY139" fmla="*/ 35259 h 93936"/>
                <a:gd name="connsiteX140" fmla="*/ 361180 w 1075613"/>
                <a:gd name="connsiteY140" fmla="*/ 40434 h 93936"/>
                <a:gd name="connsiteX141" fmla="*/ 365594 w 1075613"/>
                <a:gd name="connsiteY141" fmla="*/ 41102 h 93936"/>
                <a:gd name="connsiteX142" fmla="*/ 385658 w 1075613"/>
                <a:gd name="connsiteY142" fmla="*/ 49128 h 93936"/>
                <a:gd name="connsiteX143" fmla="*/ 392346 w 1075613"/>
                <a:gd name="connsiteY143" fmla="*/ 66517 h 93936"/>
                <a:gd name="connsiteX144" fmla="*/ 390265 w 1075613"/>
                <a:gd name="connsiteY144" fmla="*/ 77551 h 93936"/>
                <a:gd name="connsiteX145" fmla="*/ 383979 w 1075613"/>
                <a:gd name="connsiteY145" fmla="*/ 86171 h 93936"/>
                <a:gd name="connsiteX146" fmla="*/ 373545 w 1075613"/>
                <a:gd name="connsiteY146" fmla="*/ 91857 h 93936"/>
                <a:gd name="connsiteX147" fmla="*/ 359173 w 1075613"/>
                <a:gd name="connsiteY147" fmla="*/ 93923 h 93936"/>
                <a:gd name="connsiteX148" fmla="*/ 412009 w 1075613"/>
                <a:gd name="connsiteY148" fmla="*/ 92452 h 93936"/>
                <a:gd name="connsiteX149" fmla="*/ 410671 w 1075613"/>
                <a:gd name="connsiteY149" fmla="*/ 91433 h 93936"/>
                <a:gd name="connsiteX150" fmla="*/ 410671 w 1075613"/>
                <a:gd name="connsiteY150" fmla="*/ 91114 h 93936"/>
                <a:gd name="connsiteX151" fmla="*/ 410671 w 1075613"/>
                <a:gd name="connsiteY151" fmla="*/ 2832 h 93936"/>
                <a:gd name="connsiteX152" fmla="*/ 411691 w 1075613"/>
                <a:gd name="connsiteY152" fmla="*/ 1494 h 93936"/>
                <a:gd name="connsiteX153" fmla="*/ 412009 w 1075613"/>
                <a:gd name="connsiteY153" fmla="*/ 1494 h 93936"/>
                <a:gd name="connsiteX154" fmla="*/ 444379 w 1075613"/>
                <a:gd name="connsiteY154" fmla="*/ 1494 h 93936"/>
                <a:gd name="connsiteX155" fmla="*/ 456284 w 1075613"/>
                <a:gd name="connsiteY155" fmla="*/ 3435 h 93936"/>
                <a:gd name="connsiteX156" fmla="*/ 465380 w 1075613"/>
                <a:gd name="connsiteY156" fmla="*/ 8919 h 93936"/>
                <a:gd name="connsiteX157" fmla="*/ 471200 w 1075613"/>
                <a:gd name="connsiteY157" fmla="*/ 17480 h 93936"/>
                <a:gd name="connsiteX158" fmla="*/ 473281 w 1075613"/>
                <a:gd name="connsiteY158" fmla="*/ 28651 h 93936"/>
                <a:gd name="connsiteX159" fmla="*/ 471200 w 1075613"/>
                <a:gd name="connsiteY159" fmla="*/ 39818 h 93936"/>
                <a:gd name="connsiteX160" fmla="*/ 465380 w 1075613"/>
                <a:gd name="connsiteY160" fmla="*/ 48379 h 93936"/>
                <a:gd name="connsiteX161" fmla="*/ 456284 w 1075613"/>
                <a:gd name="connsiteY161" fmla="*/ 53863 h 93936"/>
                <a:gd name="connsiteX162" fmla="*/ 444379 w 1075613"/>
                <a:gd name="connsiteY162" fmla="*/ 55804 h 93936"/>
                <a:gd name="connsiteX163" fmla="*/ 423379 w 1075613"/>
                <a:gd name="connsiteY163" fmla="*/ 55804 h 93936"/>
                <a:gd name="connsiteX164" fmla="*/ 422576 w 1075613"/>
                <a:gd name="connsiteY164" fmla="*/ 56409 h 93936"/>
                <a:gd name="connsiteX165" fmla="*/ 422576 w 1075613"/>
                <a:gd name="connsiteY165" fmla="*/ 56607 h 93936"/>
                <a:gd name="connsiteX166" fmla="*/ 422576 w 1075613"/>
                <a:gd name="connsiteY166" fmla="*/ 91114 h 93936"/>
                <a:gd name="connsiteX167" fmla="*/ 421557 w 1075613"/>
                <a:gd name="connsiteY167" fmla="*/ 92452 h 93936"/>
                <a:gd name="connsiteX168" fmla="*/ 421239 w 1075613"/>
                <a:gd name="connsiteY168" fmla="*/ 92452 h 93936"/>
                <a:gd name="connsiteX169" fmla="*/ 443710 w 1075613"/>
                <a:gd name="connsiteY169" fmla="*/ 44699 h 93936"/>
                <a:gd name="connsiteX170" fmla="*/ 456819 w 1075613"/>
                <a:gd name="connsiteY170" fmla="*/ 40419 h 93936"/>
                <a:gd name="connsiteX171" fmla="*/ 461501 w 1075613"/>
                <a:gd name="connsiteY171" fmla="*/ 28648 h 93936"/>
                <a:gd name="connsiteX172" fmla="*/ 456819 w 1075613"/>
                <a:gd name="connsiteY172" fmla="*/ 16877 h 93936"/>
                <a:gd name="connsiteX173" fmla="*/ 443710 w 1075613"/>
                <a:gd name="connsiteY173" fmla="*/ 12596 h 93936"/>
                <a:gd name="connsiteX174" fmla="*/ 423379 w 1075613"/>
                <a:gd name="connsiteY174" fmla="*/ 12596 h 93936"/>
                <a:gd name="connsiteX175" fmla="*/ 422576 w 1075613"/>
                <a:gd name="connsiteY175" fmla="*/ 13201 h 93936"/>
                <a:gd name="connsiteX176" fmla="*/ 422576 w 1075613"/>
                <a:gd name="connsiteY176" fmla="*/ 13399 h 93936"/>
                <a:gd name="connsiteX177" fmla="*/ 422576 w 1075613"/>
                <a:gd name="connsiteY177" fmla="*/ 43897 h 93936"/>
                <a:gd name="connsiteX178" fmla="*/ 423180 w 1075613"/>
                <a:gd name="connsiteY178" fmla="*/ 44699 h 93936"/>
                <a:gd name="connsiteX179" fmla="*/ 423379 w 1075613"/>
                <a:gd name="connsiteY179" fmla="*/ 44699 h 93936"/>
                <a:gd name="connsiteX180" fmla="*/ 519955 w 1075613"/>
                <a:gd name="connsiteY180" fmla="*/ 93923 h 93936"/>
                <a:gd name="connsiteX181" fmla="*/ 500491 w 1075613"/>
                <a:gd name="connsiteY181" fmla="*/ 88573 h 93936"/>
                <a:gd name="connsiteX182" fmla="*/ 489053 w 1075613"/>
                <a:gd name="connsiteY182" fmla="*/ 72655 h 93936"/>
                <a:gd name="connsiteX183" fmla="*/ 487917 w 1075613"/>
                <a:gd name="connsiteY183" fmla="*/ 68494 h 93936"/>
                <a:gd name="connsiteX184" fmla="*/ 487183 w 1075613"/>
                <a:gd name="connsiteY184" fmla="*/ 63479 h 93936"/>
                <a:gd name="connsiteX185" fmla="*/ 486782 w 1075613"/>
                <a:gd name="connsiteY185" fmla="*/ 56589 h 93936"/>
                <a:gd name="connsiteX186" fmla="*/ 486648 w 1075613"/>
                <a:gd name="connsiteY186" fmla="*/ 46958 h 93936"/>
                <a:gd name="connsiteX187" fmla="*/ 486782 w 1075613"/>
                <a:gd name="connsiteY187" fmla="*/ 37327 h 93936"/>
                <a:gd name="connsiteX188" fmla="*/ 487183 w 1075613"/>
                <a:gd name="connsiteY188" fmla="*/ 30440 h 93936"/>
                <a:gd name="connsiteX189" fmla="*/ 487917 w 1075613"/>
                <a:gd name="connsiteY189" fmla="*/ 25426 h 93936"/>
                <a:gd name="connsiteX190" fmla="*/ 489053 w 1075613"/>
                <a:gd name="connsiteY190" fmla="*/ 21264 h 93936"/>
                <a:gd name="connsiteX191" fmla="*/ 500494 w 1075613"/>
                <a:gd name="connsiteY191" fmla="*/ 5358 h 93936"/>
                <a:gd name="connsiteX192" fmla="*/ 539552 w 1075613"/>
                <a:gd name="connsiteY192" fmla="*/ 5358 h 93936"/>
                <a:gd name="connsiteX193" fmla="*/ 550990 w 1075613"/>
                <a:gd name="connsiteY193" fmla="*/ 21276 h 93936"/>
                <a:gd name="connsiteX194" fmla="*/ 552126 w 1075613"/>
                <a:gd name="connsiteY194" fmla="*/ 25437 h 93936"/>
                <a:gd name="connsiteX195" fmla="*/ 552863 w 1075613"/>
                <a:gd name="connsiteY195" fmla="*/ 30455 h 93936"/>
                <a:gd name="connsiteX196" fmla="*/ 553264 w 1075613"/>
                <a:gd name="connsiteY196" fmla="*/ 37342 h 93936"/>
                <a:gd name="connsiteX197" fmla="*/ 553398 w 1075613"/>
                <a:gd name="connsiteY197" fmla="*/ 46973 h 93936"/>
                <a:gd name="connsiteX198" fmla="*/ 553264 w 1075613"/>
                <a:gd name="connsiteY198" fmla="*/ 56604 h 93936"/>
                <a:gd name="connsiteX199" fmla="*/ 552863 w 1075613"/>
                <a:gd name="connsiteY199" fmla="*/ 63494 h 93936"/>
                <a:gd name="connsiteX200" fmla="*/ 552126 w 1075613"/>
                <a:gd name="connsiteY200" fmla="*/ 68512 h 93936"/>
                <a:gd name="connsiteX201" fmla="*/ 550990 w 1075613"/>
                <a:gd name="connsiteY201" fmla="*/ 72673 h 93936"/>
                <a:gd name="connsiteX202" fmla="*/ 539552 w 1075613"/>
                <a:gd name="connsiteY202" fmla="*/ 88591 h 93936"/>
                <a:gd name="connsiteX203" fmla="*/ 519955 w 1075613"/>
                <a:gd name="connsiteY203" fmla="*/ 93923 h 93936"/>
                <a:gd name="connsiteX204" fmla="*/ 519955 w 1075613"/>
                <a:gd name="connsiteY204" fmla="*/ 82821 h 93936"/>
                <a:gd name="connsiteX205" fmla="*/ 532394 w 1075613"/>
                <a:gd name="connsiteY205" fmla="*/ 79343 h 93936"/>
                <a:gd name="connsiteX206" fmla="*/ 539350 w 1075613"/>
                <a:gd name="connsiteY206" fmla="*/ 69311 h 93936"/>
                <a:gd name="connsiteX207" fmla="*/ 540087 w 1075613"/>
                <a:gd name="connsiteY207" fmla="*/ 66300 h 93936"/>
                <a:gd name="connsiteX208" fmla="*/ 540756 w 1075613"/>
                <a:gd name="connsiteY208" fmla="*/ 61821 h 93936"/>
                <a:gd name="connsiteX209" fmla="*/ 541226 w 1075613"/>
                <a:gd name="connsiteY209" fmla="*/ 55534 h 93936"/>
                <a:gd name="connsiteX210" fmla="*/ 541359 w 1075613"/>
                <a:gd name="connsiteY210" fmla="*/ 46973 h 93936"/>
                <a:gd name="connsiteX211" fmla="*/ 541226 w 1075613"/>
                <a:gd name="connsiteY211" fmla="*/ 38412 h 93936"/>
                <a:gd name="connsiteX212" fmla="*/ 540756 w 1075613"/>
                <a:gd name="connsiteY212" fmla="*/ 32126 h 93936"/>
                <a:gd name="connsiteX213" fmla="*/ 540087 w 1075613"/>
                <a:gd name="connsiteY213" fmla="*/ 27646 h 93936"/>
                <a:gd name="connsiteX214" fmla="*/ 539350 w 1075613"/>
                <a:gd name="connsiteY214" fmla="*/ 24635 h 93936"/>
                <a:gd name="connsiteX215" fmla="*/ 532394 w 1075613"/>
                <a:gd name="connsiteY215" fmla="*/ 14603 h 93936"/>
                <a:gd name="connsiteX216" fmla="*/ 519955 w 1075613"/>
                <a:gd name="connsiteY216" fmla="*/ 11125 h 93936"/>
                <a:gd name="connsiteX217" fmla="*/ 507580 w 1075613"/>
                <a:gd name="connsiteY217" fmla="*/ 14603 h 93936"/>
                <a:gd name="connsiteX218" fmla="*/ 500693 w 1075613"/>
                <a:gd name="connsiteY218" fmla="*/ 24635 h 93936"/>
                <a:gd name="connsiteX219" fmla="*/ 499959 w 1075613"/>
                <a:gd name="connsiteY219" fmla="*/ 27646 h 93936"/>
                <a:gd name="connsiteX220" fmla="*/ 499290 w 1075613"/>
                <a:gd name="connsiteY220" fmla="*/ 32126 h 93936"/>
                <a:gd name="connsiteX221" fmla="*/ 498820 w 1075613"/>
                <a:gd name="connsiteY221" fmla="*/ 38412 h 93936"/>
                <a:gd name="connsiteX222" fmla="*/ 498686 w 1075613"/>
                <a:gd name="connsiteY222" fmla="*/ 46973 h 93936"/>
                <a:gd name="connsiteX223" fmla="*/ 498820 w 1075613"/>
                <a:gd name="connsiteY223" fmla="*/ 55534 h 93936"/>
                <a:gd name="connsiteX224" fmla="*/ 499290 w 1075613"/>
                <a:gd name="connsiteY224" fmla="*/ 61821 h 93936"/>
                <a:gd name="connsiteX225" fmla="*/ 499959 w 1075613"/>
                <a:gd name="connsiteY225" fmla="*/ 66300 h 93936"/>
                <a:gd name="connsiteX226" fmla="*/ 500693 w 1075613"/>
                <a:gd name="connsiteY226" fmla="*/ 69311 h 93936"/>
                <a:gd name="connsiteX227" fmla="*/ 507580 w 1075613"/>
                <a:gd name="connsiteY227" fmla="*/ 79343 h 93936"/>
                <a:gd name="connsiteX228" fmla="*/ 519955 w 1075613"/>
                <a:gd name="connsiteY228" fmla="*/ 82821 h 93936"/>
                <a:gd name="connsiteX229" fmla="*/ 625359 w 1075613"/>
                <a:gd name="connsiteY229" fmla="*/ 92452 h 93936"/>
                <a:gd name="connsiteX230" fmla="*/ 623620 w 1075613"/>
                <a:gd name="connsiteY230" fmla="*/ 91114 h 93936"/>
                <a:gd name="connsiteX231" fmla="*/ 605428 w 1075613"/>
                <a:gd name="connsiteY231" fmla="*/ 53929 h 93936"/>
                <a:gd name="connsiteX232" fmla="*/ 585364 w 1075613"/>
                <a:gd name="connsiteY232" fmla="*/ 53929 h 93936"/>
                <a:gd name="connsiteX233" fmla="*/ 584561 w 1075613"/>
                <a:gd name="connsiteY233" fmla="*/ 54533 h 93936"/>
                <a:gd name="connsiteX234" fmla="*/ 584561 w 1075613"/>
                <a:gd name="connsiteY234" fmla="*/ 54731 h 93936"/>
                <a:gd name="connsiteX235" fmla="*/ 584561 w 1075613"/>
                <a:gd name="connsiteY235" fmla="*/ 91114 h 93936"/>
                <a:gd name="connsiteX236" fmla="*/ 583542 w 1075613"/>
                <a:gd name="connsiteY236" fmla="*/ 92452 h 93936"/>
                <a:gd name="connsiteX237" fmla="*/ 583224 w 1075613"/>
                <a:gd name="connsiteY237" fmla="*/ 92452 h 93936"/>
                <a:gd name="connsiteX238" fmla="*/ 573994 w 1075613"/>
                <a:gd name="connsiteY238" fmla="*/ 92452 h 93936"/>
                <a:gd name="connsiteX239" fmla="*/ 572657 w 1075613"/>
                <a:gd name="connsiteY239" fmla="*/ 91433 h 93936"/>
                <a:gd name="connsiteX240" fmla="*/ 572657 w 1075613"/>
                <a:gd name="connsiteY240" fmla="*/ 91114 h 93936"/>
                <a:gd name="connsiteX241" fmla="*/ 572657 w 1075613"/>
                <a:gd name="connsiteY241" fmla="*/ 2832 h 93936"/>
                <a:gd name="connsiteX242" fmla="*/ 573676 w 1075613"/>
                <a:gd name="connsiteY242" fmla="*/ 1494 h 93936"/>
                <a:gd name="connsiteX243" fmla="*/ 573994 w 1075613"/>
                <a:gd name="connsiteY243" fmla="*/ 1494 h 93936"/>
                <a:gd name="connsiteX244" fmla="*/ 606900 w 1075613"/>
                <a:gd name="connsiteY244" fmla="*/ 1494 h 93936"/>
                <a:gd name="connsiteX245" fmla="*/ 618537 w 1075613"/>
                <a:gd name="connsiteY245" fmla="*/ 3367 h 93936"/>
                <a:gd name="connsiteX246" fmla="*/ 627499 w 1075613"/>
                <a:gd name="connsiteY246" fmla="*/ 8652 h 93936"/>
                <a:gd name="connsiteX247" fmla="*/ 633319 w 1075613"/>
                <a:gd name="connsiteY247" fmla="*/ 16945 h 93936"/>
                <a:gd name="connsiteX248" fmla="*/ 635400 w 1075613"/>
                <a:gd name="connsiteY248" fmla="*/ 27711 h 93936"/>
                <a:gd name="connsiteX249" fmla="*/ 630584 w 1075613"/>
                <a:gd name="connsiteY249" fmla="*/ 43361 h 93936"/>
                <a:gd name="connsiteX250" fmla="*/ 617476 w 1075613"/>
                <a:gd name="connsiteY250" fmla="*/ 52457 h 93936"/>
                <a:gd name="connsiteX251" fmla="*/ 636871 w 1075613"/>
                <a:gd name="connsiteY251" fmla="*/ 90847 h 93936"/>
                <a:gd name="connsiteX252" fmla="*/ 637005 w 1075613"/>
                <a:gd name="connsiteY252" fmla="*/ 91982 h 93936"/>
                <a:gd name="connsiteX253" fmla="*/ 636068 w 1075613"/>
                <a:gd name="connsiteY253" fmla="*/ 92452 h 93936"/>
                <a:gd name="connsiteX254" fmla="*/ 606632 w 1075613"/>
                <a:gd name="connsiteY254" fmla="*/ 42826 h 93936"/>
                <a:gd name="connsiteX255" fmla="*/ 619072 w 1075613"/>
                <a:gd name="connsiteY255" fmla="*/ 38882 h 93936"/>
                <a:gd name="connsiteX256" fmla="*/ 623486 w 1075613"/>
                <a:gd name="connsiteY256" fmla="*/ 27711 h 93936"/>
                <a:gd name="connsiteX257" fmla="*/ 619072 w 1075613"/>
                <a:gd name="connsiteY257" fmla="*/ 16544 h 93936"/>
                <a:gd name="connsiteX258" fmla="*/ 606632 w 1075613"/>
                <a:gd name="connsiteY258" fmla="*/ 12599 h 93936"/>
                <a:gd name="connsiteX259" fmla="*/ 585364 w 1075613"/>
                <a:gd name="connsiteY259" fmla="*/ 12599 h 93936"/>
                <a:gd name="connsiteX260" fmla="*/ 584561 w 1075613"/>
                <a:gd name="connsiteY260" fmla="*/ 13204 h 93936"/>
                <a:gd name="connsiteX261" fmla="*/ 584561 w 1075613"/>
                <a:gd name="connsiteY261" fmla="*/ 13402 h 93936"/>
                <a:gd name="connsiteX262" fmla="*/ 584561 w 1075613"/>
                <a:gd name="connsiteY262" fmla="*/ 42027 h 93936"/>
                <a:gd name="connsiteX263" fmla="*/ 585165 w 1075613"/>
                <a:gd name="connsiteY263" fmla="*/ 42829 h 93936"/>
                <a:gd name="connsiteX264" fmla="*/ 585364 w 1075613"/>
                <a:gd name="connsiteY264" fmla="*/ 42829 h 93936"/>
                <a:gd name="connsiteX265" fmla="*/ 674717 w 1075613"/>
                <a:gd name="connsiteY265" fmla="*/ 92452 h 93936"/>
                <a:gd name="connsiteX266" fmla="*/ 673379 w 1075613"/>
                <a:gd name="connsiteY266" fmla="*/ 91433 h 93936"/>
                <a:gd name="connsiteX267" fmla="*/ 673379 w 1075613"/>
                <a:gd name="connsiteY267" fmla="*/ 91114 h 93936"/>
                <a:gd name="connsiteX268" fmla="*/ 673379 w 1075613"/>
                <a:gd name="connsiteY268" fmla="*/ 13384 h 93936"/>
                <a:gd name="connsiteX269" fmla="*/ 672776 w 1075613"/>
                <a:gd name="connsiteY269" fmla="*/ 12581 h 93936"/>
                <a:gd name="connsiteX270" fmla="*/ 672576 w 1075613"/>
                <a:gd name="connsiteY270" fmla="*/ 12581 h 93936"/>
                <a:gd name="connsiteX271" fmla="*/ 647697 w 1075613"/>
                <a:gd name="connsiteY271" fmla="*/ 12581 h 93936"/>
                <a:gd name="connsiteX272" fmla="*/ 646359 w 1075613"/>
                <a:gd name="connsiteY272" fmla="*/ 11563 h 93936"/>
                <a:gd name="connsiteX273" fmla="*/ 646359 w 1075613"/>
                <a:gd name="connsiteY273" fmla="*/ 11244 h 93936"/>
                <a:gd name="connsiteX274" fmla="*/ 646359 w 1075613"/>
                <a:gd name="connsiteY274" fmla="*/ 2832 h 93936"/>
                <a:gd name="connsiteX275" fmla="*/ 647379 w 1075613"/>
                <a:gd name="connsiteY275" fmla="*/ 1494 h 93936"/>
                <a:gd name="connsiteX276" fmla="*/ 647697 w 1075613"/>
                <a:gd name="connsiteY276" fmla="*/ 1494 h 93936"/>
                <a:gd name="connsiteX277" fmla="*/ 710966 w 1075613"/>
                <a:gd name="connsiteY277" fmla="*/ 1494 h 93936"/>
                <a:gd name="connsiteX278" fmla="*/ 712304 w 1075613"/>
                <a:gd name="connsiteY278" fmla="*/ 2513 h 93936"/>
                <a:gd name="connsiteX279" fmla="*/ 712304 w 1075613"/>
                <a:gd name="connsiteY279" fmla="*/ 2832 h 93936"/>
                <a:gd name="connsiteX280" fmla="*/ 712304 w 1075613"/>
                <a:gd name="connsiteY280" fmla="*/ 11259 h 93936"/>
                <a:gd name="connsiteX281" fmla="*/ 711284 w 1075613"/>
                <a:gd name="connsiteY281" fmla="*/ 12596 h 93936"/>
                <a:gd name="connsiteX282" fmla="*/ 710966 w 1075613"/>
                <a:gd name="connsiteY282" fmla="*/ 12596 h 93936"/>
                <a:gd name="connsiteX283" fmla="*/ 686086 w 1075613"/>
                <a:gd name="connsiteY283" fmla="*/ 12596 h 93936"/>
                <a:gd name="connsiteX284" fmla="*/ 685284 w 1075613"/>
                <a:gd name="connsiteY284" fmla="*/ 13201 h 93936"/>
                <a:gd name="connsiteX285" fmla="*/ 685284 w 1075613"/>
                <a:gd name="connsiteY285" fmla="*/ 13399 h 93936"/>
                <a:gd name="connsiteX286" fmla="*/ 685284 w 1075613"/>
                <a:gd name="connsiteY286" fmla="*/ 91114 h 93936"/>
                <a:gd name="connsiteX287" fmla="*/ 684264 w 1075613"/>
                <a:gd name="connsiteY287" fmla="*/ 92452 h 93936"/>
                <a:gd name="connsiteX288" fmla="*/ 683946 w 1075613"/>
                <a:gd name="connsiteY288" fmla="*/ 92452 h 93936"/>
                <a:gd name="connsiteX289" fmla="*/ 740393 w 1075613"/>
                <a:gd name="connsiteY289" fmla="*/ 2832 h 93936"/>
                <a:gd name="connsiteX290" fmla="*/ 741999 w 1075613"/>
                <a:gd name="connsiteY290" fmla="*/ 1494 h 93936"/>
                <a:gd name="connsiteX291" fmla="*/ 750693 w 1075613"/>
                <a:gd name="connsiteY291" fmla="*/ 1494 h 93936"/>
                <a:gd name="connsiteX292" fmla="*/ 752432 w 1075613"/>
                <a:gd name="connsiteY292" fmla="*/ 2832 h 93936"/>
                <a:gd name="connsiteX293" fmla="*/ 783598 w 1075613"/>
                <a:gd name="connsiteY293" fmla="*/ 91114 h 93936"/>
                <a:gd name="connsiteX294" fmla="*/ 782662 w 1075613"/>
                <a:gd name="connsiteY294" fmla="*/ 92452 h 93936"/>
                <a:gd name="connsiteX295" fmla="*/ 773299 w 1075613"/>
                <a:gd name="connsiteY295" fmla="*/ 92452 h 93936"/>
                <a:gd name="connsiteX296" fmla="*/ 771560 w 1075613"/>
                <a:gd name="connsiteY296" fmla="*/ 91114 h 93936"/>
                <a:gd name="connsiteX297" fmla="*/ 764604 w 1075613"/>
                <a:gd name="connsiteY297" fmla="*/ 71318 h 93936"/>
                <a:gd name="connsiteX298" fmla="*/ 727820 w 1075613"/>
                <a:gd name="connsiteY298" fmla="*/ 71318 h 93936"/>
                <a:gd name="connsiteX299" fmla="*/ 720864 w 1075613"/>
                <a:gd name="connsiteY299" fmla="*/ 91114 h 93936"/>
                <a:gd name="connsiteX300" fmla="*/ 719125 w 1075613"/>
                <a:gd name="connsiteY300" fmla="*/ 92452 h 93936"/>
                <a:gd name="connsiteX301" fmla="*/ 709762 w 1075613"/>
                <a:gd name="connsiteY301" fmla="*/ 92452 h 93936"/>
                <a:gd name="connsiteX302" fmla="*/ 708826 w 1075613"/>
                <a:gd name="connsiteY302" fmla="*/ 91114 h 93936"/>
                <a:gd name="connsiteX303" fmla="*/ 760725 w 1075613"/>
                <a:gd name="connsiteY303" fmla="*/ 60349 h 93936"/>
                <a:gd name="connsiteX304" fmla="*/ 746413 w 1075613"/>
                <a:gd name="connsiteY304" fmla="*/ 19017 h 93936"/>
                <a:gd name="connsiteX305" fmla="*/ 746145 w 1075613"/>
                <a:gd name="connsiteY305" fmla="*/ 19017 h 93936"/>
                <a:gd name="connsiteX306" fmla="*/ 731699 w 1075613"/>
                <a:gd name="connsiteY306" fmla="*/ 60349 h 93936"/>
                <a:gd name="connsiteX307" fmla="*/ 808478 w 1075613"/>
                <a:gd name="connsiteY307" fmla="*/ 92452 h 93936"/>
                <a:gd name="connsiteX308" fmla="*/ 807140 w 1075613"/>
                <a:gd name="connsiteY308" fmla="*/ 91433 h 93936"/>
                <a:gd name="connsiteX309" fmla="*/ 807140 w 1075613"/>
                <a:gd name="connsiteY309" fmla="*/ 91114 h 93936"/>
                <a:gd name="connsiteX310" fmla="*/ 807140 w 1075613"/>
                <a:gd name="connsiteY310" fmla="*/ 13384 h 93936"/>
                <a:gd name="connsiteX311" fmla="*/ 806537 w 1075613"/>
                <a:gd name="connsiteY311" fmla="*/ 12581 h 93936"/>
                <a:gd name="connsiteX312" fmla="*/ 806338 w 1075613"/>
                <a:gd name="connsiteY312" fmla="*/ 12581 h 93936"/>
                <a:gd name="connsiteX313" fmla="*/ 781458 w 1075613"/>
                <a:gd name="connsiteY313" fmla="*/ 12581 h 93936"/>
                <a:gd name="connsiteX314" fmla="*/ 780121 w 1075613"/>
                <a:gd name="connsiteY314" fmla="*/ 11563 h 93936"/>
                <a:gd name="connsiteX315" fmla="*/ 780121 w 1075613"/>
                <a:gd name="connsiteY315" fmla="*/ 11244 h 93936"/>
                <a:gd name="connsiteX316" fmla="*/ 780121 w 1075613"/>
                <a:gd name="connsiteY316" fmla="*/ 2832 h 93936"/>
                <a:gd name="connsiteX317" fmla="*/ 781140 w 1075613"/>
                <a:gd name="connsiteY317" fmla="*/ 1494 h 93936"/>
                <a:gd name="connsiteX318" fmla="*/ 781458 w 1075613"/>
                <a:gd name="connsiteY318" fmla="*/ 1494 h 93936"/>
                <a:gd name="connsiteX319" fmla="*/ 844727 w 1075613"/>
                <a:gd name="connsiteY319" fmla="*/ 1494 h 93936"/>
                <a:gd name="connsiteX320" fmla="*/ 846065 w 1075613"/>
                <a:gd name="connsiteY320" fmla="*/ 2513 h 93936"/>
                <a:gd name="connsiteX321" fmla="*/ 846065 w 1075613"/>
                <a:gd name="connsiteY321" fmla="*/ 2832 h 93936"/>
                <a:gd name="connsiteX322" fmla="*/ 846065 w 1075613"/>
                <a:gd name="connsiteY322" fmla="*/ 11259 h 93936"/>
                <a:gd name="connsiteX323" fmla="*/ 845046 w 1075613"/>
                <a:gd name="connsiteY323" fmla="*/ 12596 h 93936"/>
                <a:gd name="connsiteX324" fmla="*/ 844727 w 1075613"/>
                <a:gd name="connsiteY324" fmla="*/ 12596 h 93936"/>
                <a:gd name="connsiteX325" fmla="*/ 819848 w 1075613"/>
                <a:gd name="connsiteY325" fmla="*/ 12596 h 93936"/>
                <a:gd name="connsiteX326" fmla="*/ 819045 w 1075613"/>
                <a:gd name="connsiteY326" fmla="*/ 13201 h 93936"/>
                <a:gd name="connsiteX327" fmla="*/ 819045 w 1075613"/>
                <a:gd name="connsiteY327" fmla="*/ 13399 h 93936"/>
                <a:gd name="connsiteX328" fmla="*/ 819045 w 1075613"/>
                <a:gd name="connsiteY328" fmla="*/ 91114 h 93936"/>
                <a:gd name="connsiteX329" fmla="*/ 818026 w 1075613"/>
                <a:gd name="connsiteY329" fmla="*/ 92452 h 93936"/>
                <a:gd name="connsiteX330" fmla="*/ 817708 w 1075613"/>
                <a:gd name="connsiteY330" fmla="*/ 92452 h 93936"/>
                <a:gd name="connsiteX331" fmla="*/ 860259 w 1075613"/>
                <a:gd name="connsiteY331" fmla="*/ 2832 h 93936"/>
                <a:gd name="connsiteX332" fmla="*/ 861278 w 1075613"/>
                <a:gd name="connsiteY332" fmla="*/ 1494 h 93936"/>
                <a:gd name="connsiteX333" fmla="*/ 861596 w 1075613"/>
                <a:gd name="connsiteY333" fmla="*/ 1494 h 93936"/>
                <a:gd name="connsiteX334" fmla="*/ 870811 w 1075613"/>
                <a:gd name="connsiteY334" fmla="*/ 1494 h 93936"/>
                <a:gd name="connsiteX335" fmla="*/ 872149 w 1075613"/>
                <a:gd name="connsiteY335" fmla="*/ 2513 h 93936"/>
                <a:gd name="connsiteX336" fmla="*/ 872149 w 1075613"/>
                <a:gd name="connsiteY336" fmla="*/ 2832 h 93936"/>
                <a:gd name="connsiteX337" fmla="*/ 872149 w 1075613"/>
                <a:gd name="connsiteY337" fmla="*/ 91114 h 93936"/>
                <a:gd name="connsiteX338" fmla="*/ 871129 w 1075613"/>
                <a:gd name="connsiteY338" fmla="*/ 92452 h 93936"/>
                <a:gd name="connsiteX339" fmla="*/ 870811 w 1075613"/>
                <a:gd name="connsiteY339" fmla="*/ 92452 h 93936"/>
                <a:gd name="connsiteX340" fmla="*/ 861596 w 1075613"/>
                <a:gd name="connsiteY340" fmla="*/ 92452 h 93936"/>
                <a:gd name="connsiteX341" fmla="*/ 860259 w 1075613"/>
                <a:gd name="connsiteY341" fmla="*/ 91433 h 93936"/>
                <a:gd name="connsiteX342" fmla="*/ 860259 w 1075613"/>
                <a:gd name="connsiteY342" fmla="*/ 91114 h 93936"/>
                <a:gd name="connsiteX343" fmla="*/ 924732 w 1075613"/>
                <a:gd name="connsiteY343" fmla="*/ 93923 h 93936"/>
                <a:gd name="connsiteX344" fmla="*/ 905271 w 1075613"/>
                <a:gd name="connsiteY344" fmla="*/ 88573 h 93936"/>
                <a:gd name="connsiteX345" fmla="*/ 893833 w 1075613"/>
                <a:gd name="connsiteY345" fmla="*/ 72655 h 93936"/>
                <a:gd name="connsiteX346" fmla="*/ 892694 w 1075613"/>
                <a:gd name="connsiteY346" fmla="*/ 68494 h 93936"/>
                <a:gd name="connsiteX347" fmla="*/ 891960 w 1075613"/>
                <a:gd name="connsiteY347" fmla="*/ 63479 h 93936"/>
                <a:gd name="connsiteX348" fmla="*/ 891559 w 1075613"/>
                <a:gd name="connsiteY348" fmla="*/ 56589 h 93936"/>
                <a:gd name="connsiteX349" fmla="*/ 891425 w 1075613"/>
                <a:gd name="connsiteY349" fmla="*/ 46958 h 93936"/>
                <a:gd name="connsiteX350" fmla="*/ 891559 w 1075613"/>
                <a:gd name="connsiteY350" fmla="*/ 37327 h 93936"/>
                <a:gd name="connsiteX351" fmla="*/ 891960 w 1075613"/>
                <a:gd name="connsiteY351" fmla="*/ 30440 h 93936"/>
                <a:gd name="connsiteX352" fmla="*/ 892694 w 1075613"/>
                <a:gd name="connsiteY352" fmla="*/ 25426 h 93936"/>
                <a:gd name="connsiteX353" fmla="*/ 893833 w 1075613"/>
                <a:gd name="connsiteY353" fmla="*/ 21264 h 93936"/>
                <a:gd name="connsiteX354" fmla="*/ 905256 w 1075613"/>
                <a:gd name="connsiteY354" fmla="*/ 5358 h 93936"/>
                <a:gd name="connsiteX355" fmla="*/ 944314 w 1075613"/>
                <a:gd name="connsiteY355" fmla="*/ 5358 h 93936"/>
                <a:gd name="connsiteX356" fmla="*/ 955752 w 1075613"/>
                <a:gd name="connsiteY356" fmla="*/ 21276 h 93936"/>
                <a:gd name="connsiteX357" fmla="*/ 956891 w 1075613"/>
                <a:gd name="connsiteY357" fmla="*/ 25437 h 93936"/>
                <a:gd name="connsiteX358" fmla="*/ 957625 w 1075613"/>
                <a:gd name="connsiteY358" fmla="*/ 30455 h 93936"/>
                <a:gd name="connsiteX359" fmla="*/ 958026 w 1075613"/>
                <a:gd name="connsiteY359" fmla="*/ 37342 h 93936"/>
                <a:gd name="connsiteX360" fmla="*/ 958160 w 1075613"/>
                <a:gd name="connsiteY360" fmla="*/ 46973 h 93936"/>
                <a:gd name="connsiteX361" fmla="*/ 958026 w 1075613"/>
                <a:gd name="connsiteY361" fmla="*/ 56604 h 93936"/>
                <a:gd name="connsiteX362" fmla="*/ 957625 w 1075613"/>
                <a:gd name="connsiteY362" fmla="*/ 63494 h 93936"/>
                <a:gd name="connsiteX363" fmla="*/ 956891 w 1075613"/>
                <a:gd name="connsiteY363" fmla="*/ 68512 h 93936"/>
                <a:gd name="connsiteX364" fmla="*/ 955752 w 1075613"/>
                <a:gd name="connsiteY364" fmla="*/ 72673 h 93936"/>
                <a:gd name="connsiteX365" fmla="*/ 944314 w 1075613"/>
                <a:gd name="connsiteY365" fmla="*/ 88591 h 93936"/>
                <a:gd name="connsiteX366" fmla="*/ 924717 w 1075613"/>
                <a:gd name="connsiteY366" fmla="*/ 93923 h 93936"/>
                <a:gd name="connsiteX367" fmla="*/ 924732 w 1075613"/>
                <a:gd name="connsiteY367" fmla="*/ 82821 h 93936"/>
                <a:gd name="connsiteX368" fmla="*/ 937171 w 1075613"/>
                <a:gd name="connsiteY368" fmla="*/ 79343 h 93936"/>
                <a:gd name="connsiteX369" fmla="*/ 944127 w 1075613"/>
                <a:gd name="connsiteY369" fmla="*/ 69311 h 93936"/>
                <a:gd name="connsiteX370" fmla="*/ 944861 w 1075613"/>
                <a:gd name="connsiteY370" fmla="*/ 66300 h 93936"/>
                <a:gd name="connsiteX371" fmla="*/ 945530 w 1075613"/>
                <a:gd name="connsiteY371" fmla="*/ 61821 h 93936"/>
                <a:gd name="connsiteX372" fmla="*/ 946000 w 1075613"/>
                <a:gd name="connsiteY372" fmla="*/ 55534 h 93936"/>
                <a:gd name="connsiteX373" fmla="*/ 946134 w 1075613"/>
                <a:gd name="connsiteY373" fmla="*/ 46973 h 93936"/>
                <a:gd name="connsiteX374" fmla="*/ 946000 w 1075613"/>
                <a:gd name="connsiteY374" fmla="*/ 38412 h 93936"/>
                <a:gd name="connsiteX375" fmla="*/ 945530 w 1075613"/>
                <a:gd name="connsiteY375" fmla="*/ 32126 h 93936"/>
                <a:gd name="connsiteX376" fmla="*/ 944861 w 1075613"/>
                <a:gd name="connsiteY376" fmla="*/ 27646 h 93936"/>
                <a:gd name="connsiteX377" fmla="*/ 944127 w 1075613"/>
                <a:gd name="connsiteY377" fmla="*/ 24635 h 93936"/>
                <a:gd name="connsiteX378" fmla="*/ 937171 w 1075613"/>
                <a:gd name="connsiteY378" fmla="*/ 14603 h 93936"/>
                <a:gd name="connsiteX379" fmla="*/ 924732 w 1075613"/>
                <a:gd name="connsiteY379" fmla="*/ 11125 h 93936"/>
                <a:gd name="connsiteX380" fmla="*/ 912357 w 1075613"/>
                <a:gd name="connsiteY380" fmla="*/ 14603 h 93936"/>
                <a:gd name="connsiteX381" fmla="*/ 905467 w 1075613"/>
                <a:gd name="connsiteY381" fmla="*/ 24635 h 93936"/>
                <a:gd name="connsiteX382" fmla="*/ 904733 w 1075613"/>
                <a:gd name="connsiteY382" fmla="*/ 27646 h 93936"/>
                <a:gd name="connsiteX383" fmla="*/ 904064 w 1075613"/>
                <a:gd name="connsiteY383" fmla="*/ 32126 h 93936"/>
                <a:gd name="connsiteX384" fmla="*/ 903594 w 1075613"/>
                <a:gd name="connsiteY384" fmla="*/ 38412 h 93936"/>
                <a:gd name="connsiteX385" fmla="*/ 903461 w 1075613"/>
                <a:gd name="connsiteY385" fmla="*/ 46973 h 93936"/>
                <a:gd name="connsiteX386" fmla="*/ 903594 w 1075613"/>
                <a:gd name="connsiteY386" fmla="*/ 55534 h 93936"/>
                <a:gd name="connsiteX387" fmla="*/ 904064 w 1075613"/>
                <a:gd name="connsiteY387" fmla="*/ 61821 h 93936"/>
                <a:gd name="connsiteX388" fmla="*/ 904733 w 1075613"/>
                <a:gd name="connsiteY388" fmla="*/ 66300 h 93936"/>
                <a:gd name="connsiteX389" fmla="*/ 905467 w 1075613"/>
                <a:gd name="connsiteY389" fmla="*/ 69311 h 93936"/>
                <a:gd name="connsiteX390" fmla="*/ 912357 w 1075613"/>
                <a:gd name="connsiteY390" fmla="*/ 79343 h 93936"/>
                <a:gd name="connsiteX391" fmla="*/ 924717 w 1075613"/>
                <a:gd name="connsiteY391" fmla="*/ 82821 h 93936"/>
                <a:gd name="connsiteX392" fmla="*/ 977434 w 1075613"/>
                <a:gd name="connsiteY392" fmla="*/ 2832 h 93936"/>
                <a:gd name="connsiteX393" fmla="*/ 978453 w 1075613"/>
                <a:gd name="connsiteY393" fmla="*/ 1494 h 93936"/>
                <a:gd name="connsiteX394" fmla="*/ 978771 w 1075613"/>
                <a:gd name="connsiteY394" fmla="*/ 1494 h 93936"/>
                <a:gd name="connsiteX395" fmla="*/ 987332 w 1075613"/>
                <a:gd name="connsiteY395" fmla="*/ 1494 h 93936"/>
                <a:gd name="connsiteX396" fmla="*/ 989606 w 1075613"/>
                <a:gd name="connsiteY396" fmla="*/ 2832 h 93936"/>
                <a:gd name="connsiteX397" fmla="*/ 1030790 w 1075613"/>
                <a:gd name="connsiteY397" fmla="*/ 71050 h 93936"/>
                <a:gd name="connsiteX398" fmla="*/ 1031325 w 1075613"/>
                <a:gd name="connsiteY398" fmla="*/ 71050 h 93936"/>
                <a:gd name="connsiteX399" fmla="*/ 1031325 w 1075613"/>
                <a:gd name="connsiteY399" fmla="*/ 2832 h 93936"/>
                <a:gd name="connsiteX400" fmla="*/ 1032344 w 1075613"/>
                <a:gd name="connsiteY400" fmla="*/ 1494 h 93936"/>
                <a:gd name="connsiteX401" fmla="*/ 1032662 w 1075613"/>
                <a:gd name="connsiteY401" fmla="*/ 1494 h 93936"/>
                <a:gd name="connsiteX402" fmla="*/ 1041089 w 1075613"/>
                <a:gd name="connsiteY402" fmla="*/ 1494 h 93936"/>
                <a:gd name="connsiteX403" fmla="*/ 1042427 w 1075613"/>
                <a:gd name="connsiteY403" fmla="*/ 2513 h 93936"/>
                <a:gd name="connsiteX404" fmla="*/ 1042427 w 1075613"/>
                <a:gd name="connsiteY404" fmla="*/ 2832 h 93936"/>
                <a:gd name="connsiteX405" fmla="*/ 1042427 w 1075613"/>
                <a:gd name="connsiteY405" fmla="*/ 91114 h 93936"/>
                <a:gd name="connsiteX406" fmla="*/ 1041407 w 1075613"/>
                <a:gd name="connsiteY406" fmla="*/ 92452 h 93936"/>
                <a:gd name="connsiteX407" fmla="*/ 1041089 w 1075613"/>
                <a:gd name="connsiteY407" fmla="*/ 92452 h 93936"/>
                <a:gd name="connsiteX408" fmla="*/ 1032529 w 1075613"/>
                <a:gd name="connsiteY408" fmla="*/ 92452 h 93936"/>
                <a:gd name="connsiteX409" fmla="*/ 1030255 w 1075613"/>
                <a:gd name="connsiteY409" fmla="*/ 91114 h 93936"/>
                <a:gd name="connsiteX410" fmla="*/ 988937 w 1075613"/>
                <a:gd name="connsiteY410" fmla="*/ 23164 h 93936"/>
                <a:gd name="connsiteX411" fmla="*/ 988536 w 1075613"/>
                <a:gd name="connsiteY411" fmla="*/ 23164 h 93936"/>
                <a:gd name="connsiteX412" fmla="*/ 988536 w 1075613"/>
                <a:gd name="connsiteY412" fmla="*/ 91114 h 93936"/>
                <a:gd name="connsiteX413" fmla="*/ 987519 w 1075613"/>
                <a:gd name="connsiteY413" fmla="*/ 92454 h 93936"/>
                <a:gd name="connsiteX414" fmla="*/ 987183 w 1075613"/>
                <a:gd name="connsiteY414" fmla="*/ 92452 h 93936"/>
                <a:gd name="connsiteX415" fmla="*/ 978756 w 1075613"/>
                <a:gd name="connsiteY415" fmla="*/ 92452 h 93936"/>
                <a:gd name="connsiteX416" fmla="*/ 977419 w 1075613"/>
                <a:gd name="connsiteY416" fmla="*/ 91433 h 93936"/>
                <a:gd name="connsiteX417" fmla="*/ 977419 w 1075613"/>
                <a:gd name="connsiteY417" fmla="*/ 91114 h 93936"/>
                <a:gd name="connsiteX418" fmla="*/ 1063041 w 1075613"/>
                <a:gd name="connsiteY418" fmla="*/ 79611 h 93936"/>
                <a:gd name="connsiteX419" fmla="*/ 1064061 w 1075613"/>
                <a:gd name="connsiteY419" fmla="*/ 78273 h 93936"/>
                <a:gd name="connsiteX420" fmla="*/ 1064379 w 1075613"/>
                <a:gd name="connsiteY420" fmla="*/ 78273 h 93936"/>
                <a:gd name="connsiteX421" fmla="*/ 1074545 w 1075613"/>
                <a:gd name="connsiteY421" fmla="*/ 78273 h 93936"/>
                <a:gd name="connsiteX422" fmla="*/ 1075882 w 1075613"/>
                <a:gd name="connsiteY422" fmla="*/ 79292 h 93936"/>
                <a:gd name="connsiteX423" fmla="*/ 1075882 w 1075613"/>
                <a:gd name="connsiteY423" fmla="*/ 79611 h 93936"/>
                <a:gd name="connsiteX424" fmla="*/ 1075882 w 1075613"/>
                <a:gd name="connsiteY424" fmla="*/ 91114 h 93936"/>
                <a:gd name="connsiteX425" fmla="*/ 1074863 w 1075613"/>
                <a:gd name="connsiteY425" fmla="*/ 92452 h 93936"/>
                <a:gd name="connsiteX426" fmla="*/ 1074545 w 1075613"/>
                <a:gd name="connsiteY426" fmla="*/ 92452 h 93936"/>
                <a:gd name="connsiteX427" fmla="*/ 1064379 w 1075613"/>
                <a:gd name="connsiteY427" fmla="*/ 92452 h 93936"/>
                <a:gd name="connsiteX428" fmla="*/ 1063041 w 1075613"/>
                <a:gd name="connsiteY428" fmla="*/ 91433 h 93936"/>
                <a:gd name="connsiteX429" fmla="*/ 1063041 w 1075613"/>
                <a:gd name="connsiteY429" fmla="*/ 91114 h 9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Lst>
              <a:rect l="l" t="t" r="r" b="b"/>
              <a:pathLst>
                <a:path w="1075613" h="93936">
                  <a:moveTo>
                    <a:pt x="28649" y="92452"/>
                  </a:moveTo>
                  <a:cubicBezTo>
                    <a:pt x="27998" y="92540"/>
                    <a:pt x="27399" y="92084"/>
                    <a:pt x="27311" y="91433"/>
                  </a:cubicBezTo>
                  <a:cubicBezTo>
                    <a:pt x="27297" y="91327"/>
                    <a:pt x="27297" y="91220"/>
                    <a:pt x="27311" y="91114"/>
                  </a:cubicBezTo>
                  <a:lnTo>
                    <a:pt x="27311" y="13384"/>
                  </a:lnTo>
                  <a:cubicBezTo>
                    <a:pt x="27366" y="12996"/>
                    <a:pt x="27095" y="12636"/>
                    <a:pt x="26706" y="12581"/>
                  </a:cubicBezTo>
                  <a:cubicBezTo>
                    <a:pt x="26641" y="12572"/>
                    <a:pt x="26574" y="12572"/>
                    <a:pt x="26508" y="12581"/>
                  </a:cubicBezTo>
                  <a:lnTo>
                    <a:pt x="1629" y="12581"/>
                  </a:lnTo>
                  <a:cubicBezTo>
                    <a:pt x="978" y="12670"/>
                    <a:pt x="379" y="12213"/>
                    <a:pt x="291" y="11563"/>
                  </a:cubicBezTo>
                  <a:cubicBezTo>
                    <a:pt x="277" y="11457"/>
                    <a:pt x="277" y="11350"/>
                    <a:pt x="291" y="11244"/>
                  </a:cubicBezTo>
                  <a:lnTo>
                    <a:pt x="291" y="2832"/>
                  </a:lnTo>
                  <a:cubicBezTo>
                    <a:pt x="203" y="2181"/>
                    <a:pt x="659" y="1582"/>
                    <a:pt x="1310" y="1494"/>
                  </a:cubicBezTo>
                  <a:cubicBezTo>
                    <a:pt x="1416" y="1480"/>
                    <a:pt x="1523" y="1480"/>
                    <a:pt x="1629" y="1494"/>
                  </a:cubicBezTo>
                  <a:lnTo>
                    <a:pt x="64898" y="1494"/>
                  </a:lnTo>
                  <a:cubicBezTo>
                    <a:pt x="65549" y="1406"/>
                    <a:pt x="66147" y="1862"/>
                    <a:pt x="66235" y="2513"/>
                  </a:cubicBezTo>
                  <a:cubicBezTo>
                    <a:pt x="66250" y="2619"/>
                    <a:pt x="66250" y="2726"/>
                    <a:pt x="66235" y="2832"/>
                  </a:cubicBezTo>
                  <a:lnTo>
                    <a:pt x="66235" y="11259"/>
                  </a:lnTo>
                  <a:cubicBezTo>
                    <a:pt x="66323" y="11909"/>
                    <a:pt x="65867" y="12508"/>
                    <a:pt x="65217" y="12596"/>
                  </a:cubicBezTo>
                  <a:cubicBezTo>
                    <a:pt x="65111" y="12611"/>
                    <a:pt x="65004" y="12611"/>
                    <a:pt x="64898" y="12596"/>
                  </a:cubicBezTo>
                  <a:lnTo>
                    <a:pt x="40018" y="12596"/>
                  </a:lnTo>
                  <a:cubicBezTo>
                    <a:pt x="39630" y="12542"/>
                    <a:pt x="39270" y="12812"/>
                    <a:pt x="39216" y="13201"/>
                  </a:cubicBezTo>
                  <a:cubicBezTo>
                    <a:pt x="39206" y="13266"/>
                    <a:pt x="39206" y="13333"/>
                    <a:pt x="39216" y="13399"/>
                  </a:cubicBezTo>
                  <a:lnTo>
                    <a:pt x="39216" y="91114"/>
                  </a:lnTo>
                  <a:cubicBezTo>
                    <a:pt x="39304" y="91765"/>
                    <a:pt x="38847" y="92364"/>
                    <a:pt x="38197" y="92452"/>
                  </a:cubicBezTo>
                  <a:cubicBezTo>
                    <a:pt x="38091" y="92466"/>
                    <a:pt x="37984" y="92466"/>
                    <a:pt x="37878" y="92452"/>
                  </a:cubicBezTo>
                  <a:close/>
                  <a:moveTo>
                    <a:pt x="133116" y="92452"/>
                  </a:moveTo>
                  <a:cubicBezTo>
                    <a:pt x="132302" y="92446"/>
                    <a:pt x="131592" y="91899"/>
                    <a:pt x="131377" y="91114"/>
                  </a:cubicBezTo>
                  <a:lnTo>
                    <a:pt x="113186" y="53929"/>
                  </a:lnTo>
                  <a:lnTo>
                    <a:pt x="93122" y="53929"/>
                  </a:lnTo>
                  <a:cubicBezTo>
                    <a:pt x="92733" y="53874"/>
                    <a:pt x="92374" y="54144"/>
                    <a:pt x="92319" y="54533"/>
                  </a:cubicBezTo>
                  <a:cubicBezTo>
                    <a:pt x="92310" y="54599"/>
                    <a:pt x="92310" y="54666"/>
                    <a:pt x="92319" y="54731"/>
                  </a:cubicBezTo>
                  <a:lnTo>
                    <a:pt x="92319" y="91114"/>
                  </a:lnTo>
                  <a:cubicBezTo>
                    <a:pt x="92407" y="91765"/>
                    <a:pt x="91951" y="92364"/>
                    <a:pt x="91300" y="92452"/>
                  </a:cubicBezTo>
                  <a:cubicBezTo>
                    <a:pt x="91194" y="92466"/>
                    <a:pt x="91087" y="92466"/>
                    <a:pt x="90981" y="92452"/>
                  </a:cubicBezTo>
                  <a:lnTo>
                    <a:pt x="81767" y="92452"/>
                  </a:lnTo>
                  <a:cubicBezTo>
                    <a:pt x="81116" y="92540"/>
                    <a:pt x="80517" y="92084"/>
                    <a:pt x="80429" y="91433"/>
                  </a:cubicBezTo>
                  <a:cubicBezTo>
                    <a:pt x="80415" y="91327"/>
                    <a:pt x="80415" y="91220"/>
                    <a:pt x="80429" y="91114"/>
                  </a:cubicBezTo>
                  <a:lnTo>
                    <a:pt x="80429" y="2832"/>
                  </a:lnTo>
                  <a:cubicBezTo>
                    <a:pt x="80341" y="2181"/>
                    <a:pt x="80797" y="1582"/>
                    <a:pt x="81448" y="1494"/>
                  </a:cubicBezTo>
                  <a:cubicBezTo>
                    <a:pt x="81554" y="1480"/>
                    <a:pt x="81661" y="1480"/>
                    <a:pt x="81767" y="1494"/>
                  </a:cubicBezTo>
                  <a:lnTo>
                    <a:pt x="114672" y="1494"/>
                  </a:lnTo>
                  <a:cubicBezTo>
                    <a:pt x="118630" y="1441"/>
                    <a:pt x="122568" y="2075"/>
                    <a:pt x="126309" y="3367"/>
                  </a:cubicBezTo>
                  <a:cubicBezTo>
                    <a:pt x="129618" y="4515"/>
                    <a:pt x="132664" y="6310"/>
                    <a:pt x="135271" y="8649"/>
                  </a:cubicBezTo>
                  <a:cubicBezTo>
                    <a:pt x="137788" y="10960"/>
                    <a:pt x="139769" y="13794"/>
                    <a:pt x="141077" y="16951"/>
                  </a:cubicBezTo>
                  <a:cubicBezTo>
                    <a:pt x="142492" y="20362"/>
                    <a:pt x="143200" y="24025"/>
                    <a:pt x="143157" y="27717"/>
                  </a:cubicBezTo>
                  <a:cubicBezTo>
                    <a:pt x="143328" y="33323"/>
                    <a:pt x="141635" y="38828"/>
                    <a:pt x="138342" y="43367"/>
                  </a:cubicBezTo>
                  <a:cubicBezTo>
                    <a:pt x="135044" y="47709"/>
                    <a:pt x="130455" y="50894"/>
                    <a:pt x="125233" y="52463"/>
                  </a:cubicBezTo>
                  <a:lnTo>
                    <a:pt x="144620" y="90847"/>
                  </a:lnTo>
                  <a:cubicBezTo>
                    <a:pt x="144875" y="91170"/>
                    <a:pt x="144927" y="91609"/>
                    <a:pt x="144753" y="91982"/>
                  </a:cubicBezTo>
                  <a:cubicBezTo>
                    <a:pt x="144557" y="92305"/>
                    <a:pt x="144193" y="92488"/>
                    <a:pt x="143817" y="92452"/>
                  </a:cubicBezTo>
                  <a:close/>
                  <a:moveTo>
                    <a:pt x="114390" y="42826"/>
                  </a:moveTo>
                  <a:cubicBezTo>
                    <a:pt x="118883" y="43111"/>
                    <a:pt x="123321" y="41704"/>
                    <a:pt x="126829" y="38882"/>
                  </a:cubicBezTo>
                  <a:cubicBezTo>
                    <a:pt x="129880" y="35995"/>
                    <a:pt x="131497" y="31904"/>
                    <a:pt x="131244" y="27711"/>
                  </a:cubicBezTo>
                  <a:cubicBezTo>
                    <a:pt x="131497" y="23518"/>
                    <a:pt x="129880" y="19428"/>
                    <a:pt x="126829" y="16541"/>
                  </a:cubicBezTo>
                  <a:cubicBezTo>
                    <a:pt x="123321" y="13719"/>
                    <a:pt x="118883" y="12312"/>
                    <a:pt x="114390" y="12596"/>
                  </a:cubicBezTo>
                  <a:lnTo>
                    <a:pt x="93122" y="12596"/>
                  </a:lnTo>
                  <a:cubicBezTo>
                    <a:pt x="92733" y="12542"/>
                    <a:pt x="92374" y="12812"/>
                    <a:pt x="92319" y="13201"/>
                  </a:cubicBezTo>
                  <a:cubicBezTo>
                    <a:pt x="92310" y="13266"/>
                    <a:pt x="92310" y="13333"/>
                    <a:pt x="92319" y="13399"/>
                  </a:cubicBezTo>
                  <a:lnTo>
                    <a:pt x="92319" y="42024"/>
                  </a:lnTo>
                  <a:cubicBezTo>
                    <a:pt x="92264" y="42412"/>
                    <a:pt x="92535" y="42772"/>
                    <a:pt x="92923" y="42826"/>
                  </a:cubicBezTo>
                  <a:cubicBezTo>
                    <a:pt x="92989" y="42836"/>
                    <a:pt x="93056" y="42836"/>
                    <a:pt x="93122" y="42826"/>
                  </a:cubicBezTo>
                  <a:close/>
                  <a:moveTo>
                    <a:pt x="186487" y="2832"/>
                  </a:moveTo>
                  <a:cubicBezTo>
                    <a:pt x="186619" y="2051"/>
                    <a:pt x="187300" y="1483"/>
                    <a:pt x="188092" y="1494"/>
                  </a:cubicBezTo>
                  <a:lnTo>
                    <a:pt x="196802" y="1494"/>
                  </a:lnTo>
                  <a:cubicBezTo>
                    <a:pt x="197633" y="1448"/>
                    <a:pt x="198372" y="2017"/>
                    <a:pt x="198540" y="2832"/>
                  </a:cubicBezTo>
                  <a:lnTo>
                    <a:pt x="229707" y="91114"/>
                  </a:lnTo>
                  <a:cubicBezTo>
                    <a:pt x="229974" y="92006"/>
                    <a:pt x="229662" y="92452"/>
                    <a:pt x="228771" y="92452"/>
                  </a:cubicBezTo>
                  <a:lnTo>
                    <a:pt x="219392" y="92452"/>
                  </a:lnTo>
                  <a:cubicBezTo>
                    <a:pt x="218561" y="92499"/>
                    <a:pt x="217821" y="91929"/>
                    <a:pt x="217654" y="91114"/>
                  </a:cubicBezTo>
                  <a:lnTo>
                    <a:pt x="210698" y="71318"/>
                  </a:lnTo>
                  <a:lnTo>
                    <a:pt x="173914" y="71318"/>
                  </a:lnTo>
                  <a:lnTo>
                    <a:pt x="166958" y="91114"/>
                  </a:lnTo>
                  <a:cubicBezTo>
                    <a:pt x="166744" y="91899"/>
                    <a:pt x="166033" y="92446"/>
                    <a:pt x="165219" y="92452"/>
                  </a:cubicBezTo>
                  <a:lnTo>
                    <a:pt x="155856" y="92452"/>
                  </a:lnTo>
                  <a:cubicBezTo>
                    <a:pt x="154964" y="92452"/>
                    <a:pt x="154652" y="92006"/>
                    <a:pt x="154919" y="91114"/>
                  </a:cubicBezTo>
                  <a:close/>
                  <a:moveTo>
                    <a:pt x="206819" y="60349"/>
                  </a:moveTo>
                  <a:lnTo>
                    <a:pt x="192506" y="19017"/>
                  </a:lnTo>
                  <a:lnTo>
                    <a:pt x="192239" y="19017"/>
                  </a:lnTo>
                  <a:lnTo>
                    <a:pt x="177793" y="60349"/>
                  </a:lnTo>
                  <a:close/>
                  <a:moveTo>
                    <a:pt x="244138" y="2832"/>
                  </a:moveTo>
                  <a:cubicBezTo>
                    <a:pt x="244050" y="2181"/>
                    <a:pt x="244507" y="1582"/>
                    <a:pt x="245157" y="1494"/>
                  </a:cubicBezTo>
                  <a:cubicBezTo>
                    <a:pt x="245263" y="1480"/>
                    <a:pt x="245370" y="1480"/>
                    <a:pt x="245476" y="1494"/>
                  </a:cubicBezTo>
                  <a:lnTo>
                    <a:pt x="254037" y="1494"/>
                  </a:lnTo>
                  <a:cubicBezTo>
                    <a:pt x="254998" y="1429"/>
                    <a:pt x="255900" y="1960"/>
                    <a:pt x="256311" y="2832"/>
                  </a:cubicBezTo>
                  <a:lnTo>
                    <a:pt x="297509" y="71050"/>
                  </a:lnTo>
                  <a:lnTo>
                    <a:pt x="298044" y="71050"/>
                  </a:lnTo>
                  <a:lnTo>
                    <a:pt x="298044" y="2832"/>
                  </a:lnTo>
                  <a:cubicBezTo>
                    <a:pt x="297955" y="2181"/>
                    <a:pt x="298413" y="1582"/>
                    <a:pt x="299064" y="1494"/>
                  </a:cubicBezTo>
                  <a:cubicBezTo>
                    <a:pt x="299168" y="1480"/>
                    <a:pt x="299275" y="1480"/>
                    <a:pt x="299382" y="1494"/>
                  </a:cubicBezTo>
                  <a:lnTo>
                    <a:pt x="307809" y="1494"/>
                  </a:lnTo>
                  <a:cubicBezTo>
                    <a:pt x="308460" y="1406"/>
                    <a:pt x="309057" y="1862"/>
                    <a:pt x="309146" y="2513"/>
                  </a:cubicBezTo>
                  <a:cubicBezTo>
                    <a:pt x="309161" y="2619"/>
                    <a:pt x="309161" y="2726"/>
                    <a:pt x="309146" y="2832"/>
                  </a:cubicBezTo>
                  <a:lnTo>
                    <a:pt x="309146" y="91114"/>
                  </a:lnTo>
                  <a:cubicBezTo>
                    <a:pt x="309236" y="91765"/>
                    <a:pt x="308778" y="92364"/>
                    <a:pt x="308127" y="92452"/>
                  </a:cubicBezTo>
                  <a:cubicBezTo>
                    <a:pt x="308023" y="92466"/>
                    <a:pt x="307916" y="92466"/>
                    <a:pt x="307809" y="92452"/>
                  </a:cubicBezTo>
                  <a:lnTo>
                    <a:pt x="299248" y="92452"/>
                  </a:lnTo>
                  <a:cubicBezTo>
                    <a:pt x="298288" y="92517"/>
                    <a:pt x="297384" y="91986"/>
                    <a:pt x="296974" y="91114"/>
                  </a:cubicBezTo>
                  <a:lnTo>
                    <a:pt x="255657" y="23164"/>
                  </a:lnTo>
                  <a:lnTo>
                    <a:pt x="255240" y="23164"/>
                  </a:lnTo>
                  <a:lnTo>
                    <a:pt x="255240" y="91114"/>
                  </a:lnTo>
                  <a:cubicBezTo>
                    <a:pt x="255328" y="91765"/>
                    <a:pt x="254872" y="92364"/>
                    <a:pt x="254222" y="92452"/>
                  </a:cubicBezTo>
                  <a:cubicBezTo>
                    <a:pt x="254116" y="92466"/>
                    <a:pt x="254009" y="92466"/>
                    <a:pt x="253903" y="92452"/>
                  </a:cubicBezTo>
                  <a:lnTo>
                    <a:pt x="245476" y="92452"/>
                  </a:lnTo>
                  <a:cubicBezTo>
                    <a:pt x="244825" y="92540"/>
                    <a:pt x="244226" y="92084"/>
                    <a:pt x="244138" y="91433"/>
                  </a:cubicBezTo>
                  <a:cubicBezTo>
                    <a:pt x="244124" y="91327"/>
                    <a:pt x="244124" y="91220"/>
                    <a:pt x="244138" y="91114"/>
                  </a:cubicBezTo>
                  <a:close/>
                  <a:moveTo>
                    <a:pt x="359173" y="93923"/>
                  </a:moveTo>
                  <a:cubicBezTo>
                    <a:pt x="355981" y="93926"/>
                    <a:pt x="352794" y="93613"/>
                    <a:pt x="349661" y="92987"/>
                  </a:cubicBezTo>
                  <a:cubicBezTo>
                    <a:pt x="346659" y="92395"/>
                    <a:pt x="343707" y="91567"/>
                    <a:pt x="340833" y="90511"/>
                  </a:cubicBezTo>
                  <a:cubicBezTo>
                    <a:pt x="338196" y="89540"/>
                    <a:pt x="335655" y="88331"/>
                    <a:pt x="333238" y="86899"/>
                  </a:cubicBezTo>
                  <a:cubicBezTo>
                    <a:pt x="331098" y="85646"/>
                    <a:pt x="329083" y="84191"/>
                    <a:pt x="327219" y="82554"/>
                  </a:cubicBezTo>
                  <a:cubicBezTo>
                    <a:pt x="326630" y="82073"/>
                    <a:pt x="326544" y="81206"/>
                    <a:pt x="327023" y="80617"/>
                  </a:cubicBezTo>
                  <a:cubicBezTo>
                    <a:pt x="327044" y="80593"/>
                    <a:pt x="327064" y="80570"/>
                    <a:pt x="327085" y="80547"/>
                  </a:cubicBezTo>
                  <a:lnTo>
                    <a:pt x="332971" y="73592"/>
                  </a:lnTo>
                  <a:cubicBezTo>
                    <a:pt x="333366" y="73043"/>
                    <a:pt x="334133" y="72920"/>
                    <a:pt x="334680" y="73317"/>
                  </a:cubicBezTo>
                  <a:cubicBezTo>
                    <a:pt x="334739" y="73359"/>
                    <a:pt x="334793" y="73406"/>
                    <a:pt x="334843" y="73458"/>
                  </a:cubicBezTo>
                  <a:cubicBezTo>
                    <a:pt x="338226" y="76036"/>
                    <a:pt x="341909" y="78192"/>
                    <a:pt x="345812" y="79878"/>
                  </a:cubicBezTo>
                  <a:cubicBezTo>
                    <a:pt x="350363" y="81878"/>
                    <a:pt x="355288" y="82881"/>
                    <a:pt x="360258" y="82821"/>
                  </a:cubicBezTo>
                  <a:cubicBezTo>
                    <a:pt x="365531" y="83142"/>
                    <a:pt x="370754" y="81630"/>
                    <a:pt x="375037" y="78541"/>
                  </a:cubicBezTo>
                  <a:cubicBezTo>
                    <a:pt x="378485" y="75848"/>
                    <a:pt x="380447" y="71677"/>
                    <a:pt x="380322" y="67305"/>
                  </a:cubicBezTo>
                  <a:cubicBezTo>
                    <a:pt x="380346" y="65479"/>
                    <a:pt x="380028" y="63664"/>
                    <a:pt x="379386" y="61954"/>
                  </a:cubicBezTo>
                  <a:cubicBezTo>
                    <a:pt x="378714" y="60285"/>
                    <a:pt x="377632" y="58813"/>
                    <a:pt x="376241" y="57674"/>
                  </a:cubicBezTo>
                  <a:cubicBezTo>
                    <a:pt x="374502" y="56275"/>
                    <a:pt x="372534" y="55189"/>
                    <a:pt x="370424" y="54464"/>
                  </a:cubicBezTo>
                  <a:cubicBezTo>
                    <a:pt x="367478" y="53450"/>
                    <a:pt x="364426" y="52777"/>
                    <a:pt x="361328" y="52457"/>
                  </a:cubicBezTo>
                  <a:lnTo>
                    <a:pt x="356780" y="51788"/>
                  </a:lnTo>
                  <a:cubicBezTo>
                    <a:pt x="338945" y="49381"/>
                    <a:pt x="330028" y="40998"/>
                    <a:pt x="330028" y="26641"/>
                  </a:cubicBezTo>
                  <a:cubicBezTo>
                    <a:pt x="329980" y="22883"/>
                    <a:pt x="330688" y="19153"/>
                    <a:pt x="332109" y="15673"/>
                  </a:cubicBezTo>
                  <a:cubicBezTo>
                    <a:pt x="333432" y="12453"/>
                    <a:pt x="335465" y="9573"/>
                    <a:pt x="338054" y="7246"/>
                  </a:cubicBezTo>
                  <a:cubicBezTo>
                    <a:pt x="340779" y="4847"/>
                    <a:pt x="343966" y="3026"/>
                    <a:pt x="347417" y="1895"/>
                  </a:cubicBezTo>
                  <a:cubicBezTo>
                    <a:pt x="351388" y="598"/>
                    <a:pt x="355547" y="-35"/>
                    <a:pt x="359723" y="23"/>
                  </a:cubicBezTo>
                  <a:cubicBezTo>
                    <a:pt x="364919" y="-2"/>
                    <a:pt x="370088" y="788"/>
                    <a:pt x="375040" y="2362"/>
                  </a:cubicBezTo>
                  <a:cubicBezTo>
                    <a:pt x="379460" y="3710"/>
                    <a:pt x="383634" y="5766"/>
                    <a:pt x="387397" y="8450"/>
                  </a:cubicBezTo>
                  <a:cubicBezTo>
                    <a:pt x="387971" y="8770"/>
                    <a:pt x="388176" y="9494"/>
                    <a:pt x="387855" y="10067"/>
                  </a:cubicBezTo>
                  <a:cubicBezTo>
                    <a:pt x="387804" y="10161"/>
                    <a:pt x="387739" y="10246"/>
                    <a:pt x="387664" y="10322"/>
                  </a:cubicBezTo>
                  <a:lnTo>
                    <a:pt x="383116" y="17679"/>
                  </a:lnTo>
                  <a:cubicBezTo>
                    <a:pt x="382700" y="18266"/>
                    <a:pt x="381889" y="18405"/>
                    <a:pt x="381300" y="17990"/>
                  </a:cubicBezTo>
                  <a:cubicBezTo>
                    <a:pt x="381282" y="17976"/>
                    <a:pt x="381262" y="17962"/>
                    <a:pt x="381244" y="17947"/>
                  </a:cubicBezTo>
                  <a:cubicBezTo>
                    <a:pt x="377855" y="15794"/>
                    <a:pt x="374217" y="14062"/>
                    <a:pt x="370409" y="12790"/>
                  </a:cubicBezTo>
                  <a:cubicBezTo>
                    <a:pt x="366818" y="11658"/>
                    <a:pt x="363073" y="11095"/>
                    <a:pt x="359307" y="11119"/>
                  </a:cubicBezTo>
                  <a:cubicBezTo>
                    <a:pt x="354664" y="10793"/>
                    <a:pt x="350071" y="12252"/>
                    <a:pt x="346466" y="15197"/>
                  </a:cubicBezTo>
                  <a:cubicBezTo>
                    <a:pt x="343517" y="17930"/>
                    <a:pt x="341906" y="21812"/>
                    <a:pt x="342052" y="25830"/>
                  </a:cubicBezTo>
                  <a:cubicBezTo>
                    <a:pt x="341960" y="29462"/>
                    <a:pt x="343538" y="32936"/>
                    <a:pt x="346332" y="35259"/>
                  </a:cubicBezTo>
                  <a:cubicBezTo>
                    <a:pt x="350722" y="38294"/>
                    <a:pt x="355853" y="40083"/>
                    <a:pt x="361180" y="40434"/>
                  </a:cubicBezTo>
                  <a:lnTo>
                    <a:pt x="365594" y="41102"/>
                  </a:lnTo>
                  <a:cubicBezTo>
                    <a:pt x="372939" y="41695"/>
                    <a:pt x="379930" y="44492"/>
                    <a:pt x="385658" y="49128"/>
                  </a:cubicBezTo>
                  <a:cubicBezTo>
                    <a:pt x="390301" y="53682"/>
                    <a:pt x="392741" y="60025"/>
                    <a:pt x="392346" y="66517"/>
                  </a:cubicBezTo>
                  <a:cubicBezTo>
                    <a:pt x="392388" y="70296"/>
                    <a:pt x="391680" y="74046"/>
                    <a:pt x="390265" y="77551"/>
                  </a:cubicBezTo>
                  <a:cubicBezTo>
                    <a:pt x="388889" y="80885"/>
                    <a:pt x="386731" y="83841"/>
                    <a:pt x="383979" y="86171"/>
                  </a:cubicBezTo>
                  <a:cubicBezTo>
                    <a:pt x="380902" y="88726"/>
                    <a:pt x="377359" y="90658"/>
                    <a:pt x="373545" y="91857"/>
                  </a:cubicBezTo>
                  <a:cubicBezTo>
                    <a:pt x="368896" y="93311"/>
                    <a:pt x="364042" y="94009"/>
                    <a:pt x="359173" y="93923"/>
                  </a:cubicBezTo>
                  <a:close/>
                  <a:moveTo>
                    <a:pt x="412009" y="92452"/>
                  </a:moveTo>
                  <a:cubicBezTo>
                    <a:pt x="411358" y="92540"/>
                    <a:pt x="410761" y="92084"/>
                    <a:pt x="410671" y="91433"/>
                  </a:cubicBezTo>
                  <a:cubicBezTo>
                    <a:pt x="410656" y="91327"/>
                    <a:pt x="410656" y="91220"/>
                    <a:pt x="410671" y="91114"/>
                  </a:cubicBezTo>
                  <a:lnTo>
                    <a:pt x="410671" y="2832"/>
                  </a:lnTo>
                  <a:cubicBezTo>
                    <a:pt x="410582" y="2181"/>
                    <a:pt x="411040" y="1582"/>
                    <a:pt x="411691" y="1494"/>
                  </a:cubicBezTo>
                  <a:cubicBezTo>
                    <a:pt x="411795" y="1480"/>
                    <a:pt x="411902" y="1480"/>
                    <a:pt x="412009" y="1494"/>
                  </a:cubicBezTo>
                  <a:lnTo>
                    <a:pt x="444379" y="1494"/>
                  </a:lnTo>
                  <a:cubicBezTo>
                    <a:pt x="448431" y="1442"/>
                    <a:pt x="452458" y="2099"/>
                    <a:pt x="456284" y="3435"/>
                  </a:cubicBezTo>
                  <a:cubicBezTo>
                    <a:pt x="459664" y="4614"/>
                    <a:pt x="462761" y="6482"/>
                    <a:pt x="465380" y="8919"/>
                  </a:cubicBezTo>
                  <a:cubicBezTo>
                    <a:pt x="467906" y="11326"/>
                    <a:pt x="469892" y="14245"/>
                    <a:pt x="471200" y="17480"/>
                  </a:cubicBezTo>
                  <a:cubicBezTo>
                    <a:pt x="472624" y="21030"/>
                    <a:pt x="473331" y="24826"/>
                    <a:pt x="473281" y="28651"/>
                  </a:cubicBezTo>
                  <a:cubicBezTo>
                    <a:pt x="473331" y="32474"/>
                    <a:pt x="472624" y="36269"/>
                    <a:pt x="471200" y="39818"/>
                  </a:cubicBezTo>
                  <a:cubicBezTo>
                    <a:pt x="469892" y="43054"/>
                    <a:pt x="467906" y="45972"/>
                    <a:pt x="465380" y="48379"/>
                  </a:cubicBezTo>
                  <a:cubicBezTo>
                    <a:pt x="462761" y="50817"/>
                    <a:pt x="459664" y="52684"/>
                    <a:pt x="456284" y="53863"/>
                  </a:cubicBezTo>
                  <a:cubicBezTo>
                    <a:pt x="452458" y="55200"/>
                    <a:pt x="448431" y="55857"/>
                    <a:pt x="444379" y="55804"/>
                  </a:cubicBezTo>
                  <a:lnTo>
                    <a:pt x="423379" y="55804"/>
                  </a:lnTo>
                  <a:cubicBezTo>
                    <a:pt x="422989" y="55750"/>
                    <a:pt x="422630" y="56020"/>
                    <a:pt x="422576" y="56409"/>
                  </a:cubicBezTo>
                  <a:cubicBezTo>
                    <a:pt x="422567" y="56474"/>
                    <a:pt x="422567" y="56541"/>
                    <a:pt x="422576" y="56607"/>
                  </a:cubicBezTo>
                  <a:lnTo>
                    <a:pt x="422576" y="91114"/>
                  </a:lnTo>
                  <a:cubicBezTo>
                    <a:pt x="422665" y="91765"/>
                    <a:pt x="422208" y="92364"/>
                    <a:pt x="421557" y="92452"/>
                  </a:cubicBezTo>
                  <a:cubicBezTo>
                    <a:pt x="421453" y="92466"/>
                    <a:pt x="421346" y="92466"/>
                    <a:pt x="421239" y="92452"/>
                  </a:cubicBezTo>
                  <a:close/>
                  <a:moveTo>
                    <a:pt x="443710" y="44699"/>
                  </a:moveTo>
                  <a:cubicBezTo>
                    <a:pt x="448466" y="44992"/>
                    <a:pt x="453154" y="43461"/>
                    <a:pt x="456819" y="40419"/>
                  </a:cubicBezTo>
                  <a:cubicBezTo>
                    <a:pt x="460023" y="37366"/>
                    <a:pt x="461733" y="33067"/>
                    <a:pt x="461501" y="28648"/>
                  </a:cubicBezTo>
                  <a:cubicBezTo>
                    <a:pt x="461733" y="24229"/>
                    <a:pt x="460023" y="19929"/>
                    <a:pt x="456819" y="16877"/>
                  </a:cubicBezTo>
                  <a:cubicBezTo>
                    <a:pt x="453154" y="13835"/>
                    <a:pt x="448466" y="12304"/>
                    <a:pt x="443710" y="12596"/>
                  </a:cubicBezTo>
                  <a:lnTo>
                    <a:pt x="423379" y="12596"/>
                  </a:lnTo>
                  <a:cubicBezTo>
                    <a:pt x="422989" y="12542"/>
                    <a:pt x="422630" y="12812"/>
                    <a:pt x="422576" y="13201"/>
                  </a:cubicBezTo>
                  <a:cubicBezTo>
                    <a:pt x="422567" y="13266"/>
                    <a:pt x="422567" y="13333"/>
                    <a:pt x="422576" y="13399"/>
                  </a:cubicBezTo>
                  <a:lnTo>
                    <a:pt x="422576" y="43897"/>
                  </a:lnTo>
                  <a:cubicBezTo>
                    <a:pt x="422523" y="44285"/>
                    <a:pt x="422793" y="44644"/>
                    <a:pt x="423180" y="44699"/>
                  </a:cubicBezTo>
                  <a:cubicBezTo>
                    <a:pt x="423245" y="44708"/>
                    <a:pt x="423313" y="44708"/>
                    <a:pt x="423379" y="44699"/>
                  </a:cubicBezTo>
                  <a:close/>
                  <a:moveTo>
                    <a:pt x="519955" y="93923"/>
                  </a:moveTo>
                  <a:cubicBezTo>
                    <a:pt x="513076" y="94146"/>
                    <a:pt x="506290" y="92281"/>
                    <a:pt x="500491" y="88573"/>
                  </a:cubicBezTo>
                  <a:cubicBezTo>
                    <a:pt x="494977" y="84724"/>
                    <a:pt x="490943" y="79109"/>
                    <a:pt x="489053" y="72655"/>
                  </a:cubicBezTo>
                  <a:cubicBezTo>
                    <a:pt x="488601" y="71289"/>
                    <a:pt x="488220" y="69900"/>
                    <a:pt x="487917" y="68494"/>
                  </a:cubicBezTo>
                  <a:cubicBezTo>
                    <a:pt x="487572" y="66839"/>
                    <a:pt x="487326" y="65164"/>
                    <a:pt x="487183" y="63479"/>
                  </a:cubicBezTo>
                  <a:cubicBezTo>
                    <a:pt x="487005" y="61563"/>
                    <a:pt x="486871" y="59266"/>
                    <a:pt x="486782" y="56589"/>
                  </a:cubicBezTo>
                  <a:cubicBezTo>
                    <a:pt x="486692" y="53912"/>
                    <a:pt x="486648" y="50701"/>
                    <a:pt x="486648" y="46958"/>
                  </a:cubicBezTo>
                  <a:cubicBezTo>
                    <a:pt x="486648" y="43213"/>
                    <a:pt x="486692" y="40003"/>
                    <a:pt x="486782" y="37327"/>
                  </a:cubicBezTo>
                  <a:cubicBezTo>
                    <a:pt x="486871" y="34652"/>
                    <a:pt x="487005" y="32356"/>
                    <a:pt x="487183" y="30440"/>
                  </a:cubicBezTo>
                  <a:cubicBezTo>
                    <a:pt x="487326" y="28755"/>
                    <a:pt x="487572" y="27081"/>
                    <a:pt x="487917" y="25426"/>
                  </a:cubicBezTo>
                  <a:cubicBezTo>
                    <a:pt x="488220" y="24019"/>
                    <a:pt x="488601" y="22630"/>
                    <a:pt x="489053" y="21264"/>
                  </a:cubicBezTo>
                  <a:cubicBezTo>
                    <a:pt x="490946" y="14815"/>
                    <a:pt x="494980" y="9204"/>
                    <a:pt x="500494" y="5358"/>
                  </a:cubicBezTo>
                  <a:cubicBezTo>
                    <a:pt x="512535" y="-1776"/>
                    <a:pt x="527511" y="-1776"/>
                    <a:pt x="539552" y="5358"/>
                  </a:cubicBezTo>
                  <a:cubicBezTo>
                    <a:pt x="545066" y="9207"/>
                    <a:pt x="549100" y="14823"/>
                    <a:pt x="550990" y="21276"/>
                  </a:cubicBezTo>
                  <a:cubicBezTo>
                    <a:pt x="551442" y="22642"/>
                    <a:pt x="551822" y="24031"/>
                    <a:pt x="552126" y="25437"/>
                  </a:cubicBezTo>
                  <a:cubicBezTo>
                    <a:pt x="552473" y="27093"/>
                    <a:pt x="552717" y="28769"/>
                    <a:pt x="552863" y="30455"/>
                  </a:cubicBezTo>
                  <a:cubicBezTo>
                    <a:pt x="553041" y="32373"/>
                    <a:pt x="553175" y="34669"/>
                    <a:pt x="553264" y="37342"/>
                  </a:cubicBezTo>
                  <a:cubicBezTo>
                    <a:pt x="553353" y="40015"/>
                    <a:pt x="553398" y="43226"/>
                    <a:pt x="553398" y="46973"/>
                  </a:cubicBezTo>
                  <a:cubicBezTo>
                    <a:pt x="553398" y="50718"/>
                    <a:pt x="553353" y="53929"/>
                    <a:pt x="553264" y="56604"/>
                  </a:cubicBezTo>
                  <a:cubicBezTo>
                    <a:pt x="553175" y="59279"/>
                    <a:pt x="553041" y="61576"/>
                    <a:pt x="552863" y="63494"/>
                  </a:cubicBezTo>
                  <a:cubicBezTo>
                    <a:pt x="552717" y="65180"/>
                    <a:pt x="552473" y="66855"/>
                    <a:pt x="552126" y="68512"/>
                  </a:cubicBezTo>
                  <a:cubicBezTo>
                    <a:pt x="551822" y="69918"/>
                    <a:pt x="551442" y="71307"/>
                    <a:pt x="550990" y="72673"/>
                  </a:cubicBezTo>
                  <a:cubicBezTo>
                    <a:pt x="549100" y="79126"/>
                    <a:pt x="545066" y="84742"/>
                    <a:pt x="539552" y="88591"/>
                  </a:cubicBezTo>
                  <a:cubicBezTo>
                    <a:pt x="533708" y="92304"/>
                    <a:pt x="526874" y="94163"/>
                    <a:pt x="519955" y="93923"/>
                  </a:cubicBezTo>
                  <a:close/>
                  <a:moveTo>
                    <a:pt x="519955" y="82821"/>
                  </a:moveTo>
                  <a:cubicBezTo>
                    <a:pt x="524366" y="83016"/>
                    <a:pt x="528723" y="81797"/>
                    <a:pt x="532394" y="79343"/>
                  </a:cubicBezTo>
                  <a:cubicBezTo>
                    <a:pt x="535735" y="76839"/>
                    <a:pt x="538176" y="73319"/>
                    <a:pt x="539350" y="69311"/>
                  </a:cubicBezTo>
                  <a:cubicBezTo>
                    <a:pt x="539662" y="68325"/>
                    <a:pt x="539909" y="67319"/>
                    <a:pt x="540087" y="66300"/>
                  </a:cubicBezTo>
                  <a:cubicBezTo>
                    <a:pt x="540310" y="65095"/>
                    <a:pt x="540533" y="63602"/>
                    <a:pt x="540756" y="61821"/>
                  </a:cubicBezTo>
                  <a:cubicBezTo>
                    <a:pt x="540979" y="60039"/>
                    <a:pt x="541136" y="57944"/>
                    <a:pt x="541226" y="55534"/>
                  </a:cubicBezTo>
                  <a:cubicBezTo>
                    <a:pt x="541315" y="53126"/>
                    <a:pt x="541359" y="50273"/>
                    <a:pt x="541359" y="46973"/>
                  </a:cubicBezTo>
                  <a:cubicBezTo>
                    <a:pt x="541359" y="43674"/>
                    <a:pt x="541315" y="40820"/>
                    <a:pt x="541226" y="38412"/>
                  </a:cubicBezTo>
                  <a:cubicBezTo>
                    <a:pt x="541136" y="36005"/>
                    <a:pt x="540979" y="33909"/>
                    <a:pt x="540756" y="32126"/>
                  </a:cubicBezTo>
                  <a:cubicBezTo>
                    <a:pt x="540533" y="30342"/>
                    <a:pt x="540310" y="28849"/>
                    <a:pt x="540087" y="27646"/>
                  </a:cubicBezTo>
                  <a:cubicBezTo>
                    <a:pt x="539909" y="26627"/>
                    <a:pt x="539662" y="25621"/>
                    <a:pt x="539350" y="24635"/>
                  </a:cubicBezTo>
                  <a:cubicBezTo>
                    <a:pt x="538176" y="20627"/>
                    <a:pt x="535735" y="17107"/>
                    <a:pt x="532394" y="14603"/>
                  </a:cubicBezTo>
                  <a:cubicBezTo>
                    <a:pt x="528723" y="12149"/>
                    <a:pt x="524366" y="10931"/>
                    <a:pt x="519955" y="11125"/>
                  </a:cubicBezTo>
                  <a:cubicBezTo>
                    <a:pt x="515564" y="10923"/>
                    <a:pt x="511224" y="12143"/>
                    <a:pt x="507580" y="14603"/>
                  </a:cubicBezTo>
                  <a:cubicBezTo>
                    <a:pt x="504272" y="17126"/>
                    <a:pt x="501858" y="20641"/>
                    <a:pt x="500693" y="24635"/>
                  </a:cubicBezTo>
                  <a:cubicBezTo>
                    <a:pt x="500381" y="25621"/>
                    <a:pt x="500134" y="26627"/>
                    <a:pt x="499959" y="27646"/>
                  </a:cubicBezTo>
                  <a:cubicBezTo>
                    <a:pt x="499736" y="28849"/>
                    <a:pt x="499513" y="30342"/>
                    <a:pt x="499290" y="32126"/>
                  </a:cubicBezTo>
                  <a:cubicBezTo>
                    <a:pt x="499067" y="33909"/>
                    <a:pt x="498909" y="36005"/>
                    <a:pt x="498820" y="38412"/>
                  </a:cubicBezTo>
                  <a:cubicBezTo>
                    <a:pt x="498731" y="40820"/>
                    <a:pt x="498686" y="43674"/>
                    <a:pt x="498686" y="46973"/>
                  </a:cubicBezTo>
                  <a:cubicBezTo>
                    <a:pt x="498686" y="50273"/>
                    <a:pt x="498731" y="53126"/>
                    <a:pt x="498820" y="55534"/>
                  </a:cubicBezTo>
                  <a:cubicBezTo>
                    <a:pt x="498909" y="57941"/>
                    <a:pt x="499067" y="60037"/>
                    <a:pt x="499290" y="61821"/>
                  </a:cubicBezTo>
                  <a:cubicBezTo>
                    <a:pt x="499513" y="63604"/>
                    <a:pt x="499736" y="65097"/>
                    <a:pt x="499959" y="66300"/>
                  </a:cubicBezTo>
                  <a:cubicBezTo>
                    <a:pt x="500134" y="67319"/>
                    <a:pt x="500381" y="68325"/>
                    <a:pt x="500693" y="69311"/>
                  </a:cubicBezTo>
                  <a:cubicBezTo>
                    <a:pt x="501858" y="73305"/>
                    <a:pt x="504272" y="76821"/>
                    <a:pt x="507580" y="79343"/>
                  </a:cubicBezTo>
                  <a:cubicBezTo>
                    <a:pt x="511224" y="81803"/>
                    <a:pt x="515564" y="83023"/>
                    <a:pt x="519955" y="82821"/>
                  </a:cubicBezTo>
                  <a:close/>
                  <a:moveTo>
                    <a:pt x="625359" y="92452"/>
                  </a:moveTo>
                  <a:cubicBezTo>
                    <a:pt x="624544" y="92446"/>
                    <a:pt x="623834" y="91899"/>
                    <a:pt x="623620" y="91114"/>
                  </a:cubicBezTo>
                  <a:lnTo>
                    <a:pt x="605428" y="53929"/>
                  </a:lnTo>
                  <a:lnTo>
                    <a:pt x="585364" y="53929"/>
                  </a:lnTo>
                  <a:cubicBezTo>
                    <a:pt x="584974" y="53874"/>
                    <a:pt x="584615" y="54144"/>
                    <a:pt x="584561" y="54533"/>
                  </a:cubicBezTo>
                  <a:cubicBezTo>
                    <a:pt x="584552" y="54599"/>
                    <a:pt x="584552" y="54666"/>
                    <a:pt x="584561" y="54731"/>
                  </a:cubicBezTo>
                  <a:lnTo>
                    <a:pt x="584561" y="91114"/>
                  </a:lnTo>
                  <a:cubicBezTo>
                    <a:pt x="584651" y="91765"/>
                    <a:pt x="584193" y="92364"/>
                    <a:pt x="583542" y="92452"/>
                  </a:cubicBezTo>
                  <a:cubicBezTo>
                    <a:pt x="583438" y="92466"/>
                    <a:pt x="583331" y="92466"/>
                    <a:pt x="583224" y="92452"/>
                  </a:cubicBezTo>
                  <a:lnTo>
                    <a:pt x="573994" y="92452"/>
                  </a:lnTo>
                  <a:cubicBezTo>
                    <a:pt x="573343" y="92540"/>
                    <a:pt x="572746" y="92084"/>
                    <a:pt x="572657" y="91433"/>
                  </a:cubicBezTo>
                  <a:cubicBezTo>
                    <a:pt x="572642" y="91327"/>
                    <a:pt x="572642" y="91220"/>
                    <a:pt x="572657" y="91114"/>
                  </a:cubicBezTo>
                  <a:lnTo>
                    <a:pt x="572657" y="2832"/>
                  </a:lnTo>
                  <a:cubicBezTo>
                    <a:pt x="572567" y="2181"/>
                    <a:pt x="573025" y="1582"/>
                    <a:pt x="573676" y="1494"/>
                  </a:cubicBezTo>
                  <a:cubicBezTo>
                    <a:pt x="573780" y="1480"/>
                    <a:pt x="573887" y="1480"/>
                    <a:pt x="573994" y="1494"/>
                  </a:cubicBezTo>
                  <a:lnTo>
                    <a:pt x="606900" y="1494"/>
                  </a:lnTo>
                  <a:cubicBezTo>
                    <a:pt x="610859" y="1441"/>
                    <a:pt x="614794" y="2075"/>
                    <a:pt x="618537" y="3367"/>
                  </a:cubicBezTo>
                  <a:cubicBezTo>
                    <a:pt x="621845" y="4516"/>
                    <a:pt x="624892" y="6312"/>
                    <a:pt x="627499" y="8652"/>
                  </a:cubicBezTo>
                  <a:cubicBezTo>
                    <a:pt x="630019" y="10959"/>
                    <a:pt x="632005" y="13790"/>
                    <a:pt x="633319" y="16945"/>
                  </a:cubicBezTo>
                  <a:cubicBezTo>
                    <a:pt x="634734" y="20356"/>
                    <a:pt x="635441" y="24019"/>
                    <a:pt x="635400" y="27711"/>
                  </a:cubicBezTo>
                  <a:cubicBezTo>
                    <a:pt x="635572" y="33317"/>
                    <a:pt x="633878" y="38822"/>
                    <a:pt x="630584" y="43361"/>
                  </a:cubicBezTo>
                  <a:cubicBezTo>
                    <a:pt x="627288" y="47703"/>
                    <a:pt x="622698" y="50888"/>
                    <a:pt x="617476" y="52457"/>
                  </a:cubicBezTo>
                  <a:lnTo>
                    <a:pt x="636871" y="90847"/>
                  </a:lnTo>
                  <a:cubicBezTo>
                    <a:pt x="637127" y="91170"/>
                    <a:pt x="637177" y="91609"/>
                    <a:pt x="637005" y="91982"/>
                  </a:cubicBezTo>
                  <a:cubicBezTo>
                    <a:pt x="636809" y="92305"/>
                    <a:pt x="636446" y="92488"/>
                    <a:pt x="636068" y="92452"/>
                  </a:cubicBezTo>
                  <a:close/>
                  <a:moveTo>
                    <a:pt x="606632" y="42826"/>
                  </a:moveTo>
                  <a:cubicBezTo>
                    <a:pt x="611126" y="43111"/>
                    <a:pt x="615564" y="41704"/>
                    <a:pt x="619072" y="38882"/>
                  </a:cubicBezTo>
                  <a:cubicBezTo>
                    <a:pt x="622122" y="35995"/>
                    <a:pt x="623739" y="31904"/>
                    <a:pt x="623486" y="27711"/>
                  </a:cubicBezTo>
                  <a:cubicBezTo>
                    <a:pt x="623739" y="23519"/>
                    <a:pt x="622122" y="19431"/>
                    <a:pt x="619072" y="16544"/>
                  </a:cubicBezTo>
                  <a:cubicBezTo>
                    <a:pt x="615564" y="13722"/>
                    <a:pt x="611126" y="12315"/>
                    <a:pt x="606632" y="12599"/>
                  </a:cubicBezTo>
                  <a:lnTo>
                    <a:pt x="585364" y="12599"/>
                  </a:lnTo>
                  <a:cubicBezTo>
                    <a:pt x="584974" y="12545"/>
                    <a:pt x="584615" y="12815"/>
                    <a:pt x="584561" y="13204"/>
                  </a:cubicBezTo>
                  <a:cubicBezTo>
                    <a:pt x="584552" y="13269"/>
                    <a:pt x="584552" y="13336"/>
                    <a:pt x="584561" y="13402"/>
                  </a:cubicBezTo>
                  <a:lnTo>
                    <a:pt x="584561" y="42027"/>
                  </a:lnTo>
                  <a:cubicBezTo>
                    <a:pt x="584508" y="42415"/>
                    <a:pt x="584778" y="42775"/>
                    <a:pt x="585165" y="42829"/>
                  </a:cubicBezTo>
                  <a:cubicBezTo>
                    <a:pt x="585230" y="42839"/>
                    <a:pt x="585299" y="42839"/>
                    <a:pt x="585364" y="42829"/>
                  </a:cubicBezTo>
                  <a:close/>
                  <a:moveTo>
                    <a:pt x="674717" y="92452"/>
                  </a:moveTo>
                  <a:cubicBezTo>
                    <a:pt x="674066" y="92540"/>
                    <a:pt x="673468" y="92084"/>
                    <a:pt x="673379" y="91433"/>
                  </a:cubicBezTo>
                  <a:cubicBezTo>
                    <a:pt x="673364" y="91327"/>
                    <a:pt x="673364" y="91220"/>
                    <a:pt x="673379" y="91114"/>
                  </a:cubicBezTo>
                  <a:lnTo>
                    <a:pt x="673379" y="13384"/>
                  </a:lnTo>
                  <a:cubicBezTo>
                    <a:pt x="673432" y="12996"/>
                    <a:pt x="673162" y="12636"/>
                    <a:pt x="672776" y="12581"/>
                  </a:cubicBezTo>
                  <a:cubicBezTo>
                    <a:pt x="672710" y="12572"/>
                    <a:pt x="672642" y="12572"/>
                    <a:pt x="672576" y="12581"/>
                  </a:cubicBezTo>
                  <a:lnTo>
                    <a:pt x="647697" y="12581"/>
                  </a:lnTo>
                  <a:cubicBezTo>
                    <a:pt x="647046" y="12670"/>
                    <a:pt x="646448" y="12213"/>
                    <a:pt x="646359" y="11563"/>
                  </a:cubicBezTo>
                  <a:cubicBezTo>
                    <a:pt x="646344" y="11457"/>
                    <a:pt x="646344" y="11350"/>
                    <a:pt x="646359" y="11244"/>
                  </a:cubicBezTo>
                  <a:lnTo>
                    <a:pt x="646359" y="2832"/>
                  </a:lnTo>
                  <a:cubicBezTo>
                    <a:pt x="646270" y="2181"/>
                    <a:pt x="646728" y="1582"/>
                    <a:pt x="647379" y="1494"/>
                  </a:cubicBezTo>
                  <a:cubicBezTo>
                    <a:pt x="647483" y="1480"/>
                    <a:pt x="647590" y="1480"/>
                    <a:pt x="647697" y="1494"/>
                  </a:cubicBezTo>
                  <a:lnTo>
                    <a:pt x="710966" y="1494"/>
                  </a:lnTo>
                  <a:cubicBezTo>
                    <a:pt x="711617" y="1406"/>
                    <a:pt x="712214" y="1862"/>
                    <a:pt x="712304" y="2513"/>
                  </a:cubicBezTo>
                  <a:cubicBezTo>
                    <a:pt x="712318" y="2619"/>
                    <a:pt x="712318" y="2726"/>
                    <a:pt x="712304" y="2832"/>
                  </a:cubicBezTo>
                  <a:lnTo>
                    <a:pt x="712304" y="11259"/>
                  </a:lnTo>
                  <a:cubicBezTo>
                    <a:pt x="712393" y="11909"/>
                    <a:pt x="711935" y="12508"/>
                    <a:pt x="711284" y="12596"/>
                  </a:cubicBezTo>
                  <a:cubicBezTo>
                    <a:pt x="711180" y="12611"/>
                    <a:pt x="711073" y="12611"/>
                    <a:pt x="710966" y="12596"/>
                  </a:cubicBezTo>
                  <a:lnTo>
                    <a:pt x="686086" y="12596"/>
                  </a:lnTo>
                  <a:cubicBezTo>
                    <a:pt x="685697" y="12542"/>
                    <a:pt x="685337" y="12812"/>
                    <a:pt x="685284" y="13201"/>
                  </a:cubicBezTo>
                  <a:cubicBezTo>
                    <a:pt x="685275" y="13266"/>
                    <a:pt x="685275" y="13333"/>
                    <a:pt x="685284" y="13399"/>
                  </a:cubicBezTo>
                  <a:lnTo>
                    <a:pt x="685284" y="91114"/>
                  </a:lnTo>
                  <a:cubicBezTo>
                    <a:pt x="685373" y="91765"/>
                    <a:pt x="684915" y="92364"/>
                    <a:pt x="684264" y="92452"/>
                  </a:cubicBezTo>
                  <a:cubicBezTo>
                    <a:pt x="684160" y="92466"/>
                    <a:pt x="684053" y="92466"/>
                    <a:pt x="683946" y="92452"/>
                  </a:cubicBezTo>
                  <a:close/>
                  <a:moveTo>
                    <a:pt x="740393" y="2832"/>
                  </a:moveTo>
                  <a:cubicBezTo>
                    <a:pt x="740524" y="2051"/>
                    <a:pt x="741208" y="1483"/>
                    <a:pt x="741999" y="1494"/>
                  </a:cubicBezTo>
                  <a:lnTo>
                    <a:pt x="750693" y="1494"/>
                  </a:lnTo>
                  <a:cubicBezTo>
                    <a:pt x="751525" y="1448"/>
                    <a:pt x="752263" y="2017"/>
                    <a:pt x="752432" y="2832"/>
                  </a:cubicBezTo>
                  <a:lnTo>
                    <a:pt x="783598" y="91114"/>
                  </a:lnTo>
                  <a:cubicBezTo>
                    <a:pt x="783866" y="92006"/>
                    <a:pt x="783554" y="92452"/>
                    <a:pt x="782662" y="92452"/>
                  </a:cubicBezTo>
                  <a:lnTo>
                    <a:pt x="773299" y="92452"/>
                  </a:lnTo>
                  <a:cubicBezTo>
                    <a:pt x="772467" y="92499"/>
                    <a:pt x="771729" y="91929"/>
                    <a:pt x="771560" y="91114"/>
                  </a:cubicBezTo>
                  <a:lnTo>
                    <a:pt x="764604" y="71318"/>
                  </a:lnTo>
                  <a:lnTo>
                    <a:pt x="727820" y="71318"/>
                  </a:lnTo>
                  <a:lnTo>
                    <a:pt x="720864" y="91114"/>
                  </a:lnTo>
                  <a:cubicBezTo>
                    <a:pt x="720650" y="91899"/>
                    <a:pt x="719940" y="92446"/>
                    <a:pt x="719125" y="92452"/>
                  </a:cubicBezTo>
                  <a:lnTo>
                    <a:pt x="709762" y="92452"/>
                  </a:lnTo>
                  <a:cubicBezTo>
                    <a:pt x="708870" y="92452"/>
                    <a:pt x="708558" y="92006"/>
                    <a:pt x="708826" y="91114"/>
                  </a:cubicBezTo>
                  <a:close/>
                  <a:moveTo>
                    <a:pt x="760725" y="60349"/>
                  </a:moveTo>
                  <a:lnTo>
                    <a:pt x="746413" y="19017"/>
                  </a:lnTo>
                  <a:lnTo>
                    <a:pt x="746145" y="19017"/>
                  </a:lnTo>
                  <a:lnTo>
                    <a:pt x="731699" y="60349"/>
                  </a:lnTo>
                  <a:close/>
                  <a:moveTo>
                    <a:pt x="808478" y="92452"/>
                  </a:moveTo>
                  <a:cubicBezTo>
                    <a:pt x="807827" y="92540"/>
                    <a:pt x="807230" y="92084"/>
                    <a:pt x="807140" y="91433"/>
                  </a:cubicBezTo>
                  <a:cubicBezTo>
                    <a:pt x="807126" y="91327"/>
                    <a:pt x="807126" y="91220"/>
                    <a:pt x="807140" y="91114"/>
                  </a:cubicBezTo>
                  <a:lnTo>
                    <a:pt x="807140" y="13384"/>
                  </a:lnTo>
                  <a:cubicBezTo>
                    <a:pt x="807194" y="12996"/>
                    <a:pt x="806923" y="12636"/>
                    <a:pt x="806537" y="12581"/>
                  </a:cubicBezTo>
                  <a:cubicBezTo>
                    <a:pt x="806472" y="12572"/>
                    <a:pt x="806403" y="12572"/>
                    <a:pt x="806338" y="12581"/>
                  </a:cubicBezTo>
                  <a:lnTo>
                    <a:pt x="781458" y="12581"/>
                  </a:lnTo>
                  <a:cubicBezTo>
                    <a:pt x="780807" y="12670"/>
                    <a:pt x="780210" y="12213"/>
                    <a:pt x="780121" y="11563"/>
                  </a:cubicBezTo>
                  <a:cubicBezTo>
                    <a:pt x="780106" y="11457"/>
                    <a:pt x="780106" y="11350"/>
                    <a:pt x="780121" y="11244"/>
                  </a:cubicBezTo>
                  <a:lnTo>
                    <a:pt x="780121" y="2832"/>
                  </a:lnTo>
                  <a:cubicBezTo>
                    <a:pt x="780031" y="2181"/>
                    <a:pt x="780489" y="1582"/>
                    <a:pt x="781140" y="1494"/>
                  </a:cubicBezTo>
                  <a:cubicBezTo>
                    <a:pt x="781244" y="1480"/>
                    <a:pt x="781351" y="1480"/>
                    <a:pt x="781458" y="1494"/>
                  </a:cubicBezTo>
                  <a:lnTo>
                    <a:pt x="844727" y="1494"/>
                  </a:lnTo>
                  <a:cubicBezTo>
                    <a:pt x="845378" y="1406"/>
                    <a:pt x="845976" y="1862"/>
                    <a:pt x="846065" y="2513"/>
                  </a:cubicBezTo>
                  <a:cubicBezTo>
                    <a:pt x="846080" y="2619"/>
                    <a:pt x="846080" y="2726"/>
                    <a:pt x="846065" y="2832"/>
                  </a:cubicBezTo>
                  <a:lnTo>
                    <a:pt x="846065" y="11259"/>
                  </a:lnTo>
                  <a:cubicBezTo>
                    <a:pt x="846154" y="11909"/>
                    <a:pt x="845696" y="12508"/>
                    <a:pt x="845046" y="12596"/>
                  </a:cubicBezTo>
                  <a:cubicBezTo>
                    <a:pt x="844941" y="12611"/>
                    <a:pt x="844834" y="12611"/>
                    <a:pt x="844727" y="12596"/>
                  </a:cubicBezTo>
                  <a:lnTo>
                    <a:pt x="819848" y="12596"/>
                  </a:lnTo>
                  <a:cubicBezTo>
                    <a:pt x="819458" y="12542"/>
                    <a:pt x="819099" y="12812"/>
                    <a:pt x="819045" y="13201"/>
                  </a:cubicBezTo>
                  <a:cubicBezTo>
                    <a:pt x="819036" y="13266"/>
                    <a:pt x="819036" y="13333"/>
                    <a:pt x="819045" y="13399"/>
                  </a:cubicBezTo>
                  <a:lnTo>
                    <a:pt x="819045" y="91114"/>
                  </a:lnTo>
                  <a:cubicBezTo>
                    <a:pt x="819134" y="91765"/>
                    <a:pt x="818677" y="92364"/>
                    <a:pt x="818026" y="92452"/>
                  </a:cubicBezTo>
                  <a:cubicBezTo>
                    <a:pt x="817922" y="92466"/>
                    <a:pt x="817815" y="92466"/>
                    <a:pt x="817708" y="92452"/>
                  </a:cubicBezTo>
                  <a:close/>
                  <a:moveTo>
                    <a:pt x="860259" y="2832"/>
                  </a:moveTo>
                  <a:cubicBezTo>
                    <a:pt x="860169" y="2181"/>
                    <a:pt x="860627" y="1582"/>
                    <a:pt x="861278" y="1494"/>
                  </a:cubicBezTo>
                  <a:cubicBezTo>
                    <a:pt x="861382" y="1480"/>
                    <a:pt x="861489" y="1480"/>
                    <a:pt x="861596" y="1494"/>
                  </a:cubicBezTo>
                  <a:lnTo>
                    <a:pt x="870811" y="1494"/>
                  </a:lnTo>
                  <a:cubicBezTo>
                    <a:pt x="871462" y="1406"/>
                    <a:pt x="872059" y="1862"/>
                    <a:pt x="872149" y="2513"/>
                  </a:cubicBezTo>
                  <a:cubicBezTo>
                    <a:pt x="872163" y="2619"/>
                    <a:pt x="872163" y="2726"/>
                    <a:pt x="872149" y="2832"/>
                  </a:cubicBezTo>
                  <a:lnTo>
                    <a:pt x="872149" y="91114"/>
                  </a:lnTo>
                  <a:cubicBezTo>
                    <a:pt x="872238" y="91765"/>
                    <a:pt x="871780" y="92364"/>
                    <a:pt x="871129" y="92452"/>
                  </a:cubicBezTo>
                  <a:cubicBezTo>
                    <a:pt x="871025" y="92466"/>
                    <a:pt x="870918" y="92466"/>
                    <a:pt x="870811" y="92452"/>
                  </a:cubicBezTo>
                  <a:lnTo>
                    <a:pt x="861596" y="92452"/>
                  </a:lnTo>
                  <a:cubicBezTo>
                    <a:pt x="860945" y="92540"/>
                    <a:pt x="860348" y="92084"/>
                    <a:pt x="860259" y="91433"/>
                  </a:cubicBezTo>
                  <a:cubicBezTo>
                    <a:pt x="860244" y="91327"/>
                    <a:pt x="860244" y="91220"/>
                    <a:pt x="860259" y="91114"/>
                  </a:cubicBezTo>
                  <a:close/>
                  <a:moveTo>
                    <a:pt x="924732" y="93923"/>
                  </a:moveTo>
                  <a:cubicBezTo>
                    <a:pt x="917853" y="94145"/>
                    <a:pt x="911070" y="92280"/>
                    <a:pt x="905271" y="88573"/>
                  </a:cubicBezTo>
                  <a:cubicBezTo>
                    <a:pt x="899757" y="84724"/>
                    <a:pt x="895723" y="79109"/>
                    <a:pt x="893833" y="72655"/>
                  </a:cubicBezTo>
                  <a:cubicBezTo>
                    <a:pt x="893381" y="71289"/>
                    <a:pt x="893000" y="69900"/>
                    <a:pt x="892694" y="68494"/>
                  </a:cubicBezTo>
                  <a:cubicBezTo>
                    <a:pt x="892350" y="66839"/>
                    <a:pt x="892103" y="65164"/>
                    <a:pt x="891960" y="63479"/>
                  </a:cubicBezTo>
                  <a:cubicBezTo>
                    <a:pt x="891782" y="61563"/>
                    <a:pt x="891648" y="59266"/>
                    <a:pt x="891559" y="56589"/>
                  </a:cubicBezTo>
                  <a:cubicBezTo>
                    <a:pt x="891470" y="53912"/>
                    <a:pt x="891425" y="50701"/>
                    <a:pt x="891425" y="46958"/>
                  </a:cubicBezTo>
                  <a:cubicBezTo>
                    <a:pt x="891425" y="43213"/>
                    <a:pt x="891470" y="40003"/>
                    <a:pt x="891559" y="37327"/>
                  </a:cubicBezTo>
                  <a:cubicBezTo>
                    <a:pt x="891648" y="34652"/>
                    <a:pt x="891782" y="32356"/>
                    <a:pt x="891960" y="30440"/>
                  </a:cubicBezTo>
                  <a:cubicBezTo>
                    <a:pt x="892103" y="28755"/>
                    <a:pt x="892350" y="27081"/>
                    <a:pt x="892694" y="25426"/>
                  </a:cubicBezTo>
                  <a:cubicBezTo>
                    <a:pt x="893000" y="24019"/>
                    <a:pt x="893381" y="22630"/>
                    <a:pt x="893833" y="21264"/>
                  </a:cubicBezTo>
                  <a:cubicBezTo>
                    <a:pt x="895720" y="14817"/>
                    <a:pt x="899751" y="9207"/>
                    <a:pt x="905256" y="5358"/>
                  </a:cubicBezTo>
                  <a:cubicBezTo>
                    <a:pt x="917298" y="-1776"/>
                    <a:pt x="932273" y="-1776"/>
                    <a:pt x="944314" y="5358"/>
                  </a:cubicBezTo>
                  <a:cubicBezTo>
                    <a:pt x="949828" y="9207"/>
                    <a:pt x="953862" y="14823"/>
                    <a:pt x="955752" y="21276"/>
                  </a:cubicBezTo>
                  <a:cubicBezTo>
                    <a:pt x="956204" y="22642"/>
                    <a:pt x="956585" y="24031"/>
                    <a:pt x="956891" y="25437"/>
                  </a:cubicBezTo>
                  <a:cubicBezTo>
                    <a:pt x="957236" y="27094"/>
                    <a:pt x="957482" y="28769"/>
                    <a:pt x="957625" y="30455"/>
                  </a:cubicBezTo>
                  <a:cubicBezTo>
                    <a:pt x="957803" y="32373"/>
                    <a:pt x="957937" y="34669"/>
                    <a:pt x="958026" y="37342"/>
                  </a:cubicBezTo>
                  <a:cubicBezTo>
                    <a:pt x="958116" y="40015"/>
                    <a:pt x="958160" y="43226"/>
                    <a:pt x="958160" y="46973"/>
                  </a:cubicBezTo>
                  <a:cubicBezTo>
                    <a:pt x="958160" y="50718"/>
                    <a:pt x="958116" y="53929"/>
                    <a:pt x="958026" y="56604"/>
                  </a:cubicBezTo>
                  <a:cubicBezTo>
                    <a:pt x="957937" y="59279"/>
                    <a:pt x="957803" y="61576"/>
                    <a:pt x="957625" y="63494"/>
                  </a:cubicBezTo>
                  <a:cubicBezTo>
                    <a:pt x="957482" y="65180"/>
                    <a:pt x="957236" y="66855"/>
                    <a:pt x="956891" y="68512"/>
                  </a:cubicBezTo>
                  <a:cubicBezTo>
                    <a:pt x="956585" y="69918"/>
                    <a:pt x="956204" y="71307"/>
                    <a:pt x="955752" y="72673"/>
                  </a:cubicBezTo>
                  <a:cubicBezTo>
                    <a:pt x="953862" y="79126"/>
                    <a:pt x="949828" y="84742"/>
                    <a:pt x="944314" y="88591"/>
                  </a:cubicBezTo>
                  <a:cubicBezTo>
                    <a:pt x="938470" y="92304"/>
                    <a:pt x="931637" y="94163"/>
                    <a:pt x="924717" y="93923"/>
                  </a:cubicBezTo>
                  <a:close/>
                  <a:moveTo>
                    <a:pt x="924732" y="82821"/>
                  </a:moveTo>
                  <a:cubicBezTo>
                    <a:pt x="929143" y="83016"/>
                    <a:pt x="933500" y="81797"/>
                    <a:pt x="937171" y="79343"/>
                  </a:cubicBezTo>
                  <a:cubicBezTo>
                    <a:pt x="940513" y="76839"/>
                    <a:pt x="942953" y="73319"/>
                    <a:pt x="944127" y="69311"/>
                  </a:cubicBezTo>
                  <a:cubicBezTo>
                    <a:pt x="944439" y="68325"/>
                    <a:pt x="944686" y="67319"/>
                    <a:pt x="944861" y="66300"/>
                  </a:cubicBezTo>
                  <a:cubicBezTo>
                    <a:pt x="945084" y="65095"/>
                    <a:pt x="945307" y="63602"/>
                    <a:pt x="945530" y="61821"/>
                  </a:cubicBezTo>
                  <a:cubicBezTo>
                    <a:pt x="945753" y="60039"/>
                    <a:pt x="945908" y="57944"/>
                    <a:pt x="946000" y="55534"/>
                  </a:cubicBezTo>
                  <a:cubicBezTo>
                    <a:pt x="946089" y="53126"/>
                    <a:pt x="946134" y="50273"/>
                    <a:pt x="946134" y="46973"/>
                  </a:cubicBezTo>
                  <a:cubicBezTo>
                    <a:pt x="946134" y="43674"/>
                    <a:pt x="946089" y="40820"/>
                    <a:pt x="946000" y="38412"/>
                  </a:cubicBezTo>
                  <a:cubicBezTo>
                    <a:pt x="945911" y="36005"/>
                    <a:pt x="945753" y="33909"/>
                    <a:pt x="945530" y="32126"/>
                  </a:cubicBezTo>
                  <a:cubicBezTo>
                    <a:pt x="945307" y="30342"/>
                    <a:pt x="945084" y="28849"/>
                    <a:pt x="944861" y="27646"/>
                  </a:cubicBezTo>
                  <a:cubicBezTo>
                    <a:pt x="944686" y="26627"/>
                    <a:pt x="944439" y="25621"/>
                    <a:pt x="944127" y="24635"/>
                  </a:cubicBezTo>
                  <a:cubicBezTo>
                    <a:pt x="942953" y="20627"/>
                    <a:pt x="940513" y="17107"/>
                    <a:pt x="937171" y="14603"/>
                  </a:cubicBezTo>
                  <a:cubicBezTo>
                    <a:pt x="933500" y="12149"/>
                    <a:pt x="929143" y="10931"/>
                    <a:pt x="924732" y="11125"/>
                  </a:cubicBezTo>
                  <a:cubicBezTo>
                    <a:pt x="920341" y="10923"/>
                    <a:pt x="916002" y="12143"/>
                    <a:pt x="912357" y="14603"/>
                  </a:cubicBezTo>
                  <a:cubicBezTo>
                    <a:pt x="909049" y="17125"/>
                    <a:pt x="906632" y="20641"/>
                    <a:pt x="905467" y="24635"/>
                  </a:cubicBezTo>
                  <a:cubicBezTo>
                    <a:pt x="905155" y="25621"/>
                    <a:pt x="904908" y="26627"/>
                    <a:pt x="904733" y="27646"/>
                  </a:cubicBezTo>
                  <a:cubicBezTo>
                    <a:pt x="904510" y="28849"/>
                    <a:pt x="904287" y="30342"/>
                    <a:pt x="904064" y="32126"/>
                  </a:cubicBezTo>
                  <a:cubicBezTo>
                    <a:pt x="903841" y="33909"/>
                    <a:pt x="903684" y="36005"/>
                    <a:pt x="903594" y="38412"/>
                  </a:cubicBezTo>
                  <a:cubicBezTo>
                    <a:pt x="903505" y="40820"/>
                    <a:pt x="903461" y="43674"/>
                    <a:pt x="903461" y="46973"/>
                  </a:cubicBezTo>
                  <a:cubicBezTo>
                    <a:pt x="903461" y="50273"/>
                    <a:pt x="903505" y="53126"/>
                    <a:pt x="903594" y="55534"/>
                  </a:cubicBezTo>
                  <a:cubicBezTo>
                    <a:pt x="903684" y="57941"/>
                    <a:pt x="903841" y="60037"/>
                    <a:pt x="904064" y="61821"/>
                  </a:cubicBezTo>
                  <a:cubicBezTo>
                    <a:pt x="904287" y="63604"/>
                    <a:pt x="904510" y="65097"/>
                    <a:pt x="904733" y="66300"/>
                  </a:cubicBezTo>
                  <a:cubicBezTo>
                    <a:pt x="904908" y="67319"/>
                    <a:pt x="905155" y="68325"/>
                    <a:pt x="905467" y="69311"/>
                  </a:cubicBezTo>
                  <a:cubicBezTo>
                    <a:pt x="906632" y="73305"/>
                    <a:pt x="909049" y="76821"/>
                    <a:pt x="912357" y="79343"/>
                  </a:cubicBezTo>
                  <a:cubicBezTo>
                    <a:pt x="915996" y="81800"/>
                    <a:pt x="920329" y="83020"/>
                    <a:pt x="924717" y="82821"/>
                  </a:cubicBezTo>
                  <a:close/>
                  <a:moveTo>
                    <a:pt x="977434" y="2832"/>
                  </a:moveTo>
                  <a:cubicBezTo>
                    <a:pt x="977345" y="2181"/>
                    <a:pt x="977802" y="1582"/>
                    <a:pt x="978453" y="1494"/>
                  </a:cubicBezTo>
                  <a:cubicBezTo>
                    <a:pt x="978557" y="1480"/>
                    <a:pt x="978664" y="1480"/>
                    <a:pt x="978771" y="1494"/>
                  </a:cubicBezTo>
                  <a:lnTo>
                    <a:pt x="987332" y="1494"/>
                  </a:lnTo>
                  <a:cubicBezTo>
                    <a:pt x="988292" y="1429"/>
                    <a:pt x="989196" y="1960"/>
                    <a:pt x="989606" y="2832"/>
                  </a:cubicBezTo>
                  <a:lnTo>
                    <a:pt x="1030790" y="71050"/>
                  </a:lnTo>
                  <a:lnTo>
                    <a:pt x="1031325" y="71050"/>
                  </a:lnTo>
                  <a:lnTo>
                    <a:pt x="1031325" y="2832"/>
                  </a:lnTo>
                  <a:cubicBezTo>
                    <a:pt x="1031236" y="2181"/>
                    <a:pt x="1031693" y="1582"/>
                    <a:pt x="1032344" y="1494"/>
                  </a:cubicBezTo>
                  <a:cubicBezTo>
                    <a:pt x="1032448" y="1480"/>
                    <a:pt x="1032555" y="1480"/>
                    <a:pt x="1032662" y="1494"/>
                  </a:cubicBezTo>
                  <a:lnTo>
                    <a:pt x="1041089" y="1494"/>
                  </a:lnTo>
                  <a:cubicBezTo>
                    <a:pt x="1041740" y="1406"/>
                    <a:pt x="1042338" y="1862"/>
                    <a:pt x="1042427" y="2513"/>
                  </a:cubicBezTo>
                  <a:cubicBezTo>
                    <a:pt x="1042442" y="2619"/>
                    <a:pt x="1042442" y="2726"/>
                    <a:pt x="1042427" y="2832"/>
                  </a:cubicBezTo>
                  <a:lnTo>
                    <a:pt x="1042427" y="91114"/>
                  </a:lnTo>
                  <a:cubicBezTo>
                    <a:pt x="1042516" y="91765"/>
                    <a:pt x="1042058" y="92364"/>
                    <a:pt x="1041407" y="92452"/>
                  </a:cubicBezTo>
                  <a:cubicBezTo>
                    <a:pt x="1041303" y="92466"/>
                    <a:pt x="1041196" y="92466"/>
                    <a:pt x="1041089" y="92452"/>
                  </a:cubicBezTo>
                  <a:lnTo>
                    <a:pt x="1032529" y="92452"/>
                  </a:lnTo>
                  <a:cubicBezTo>
                    <a:pt x="1031568" y="92517"/>
                    <a:pt x="1030665" y="91986"/>
                    <a:pt x="1030255" y="91114"/>
                  </a:cubicBezTo>
                  <a:lnTo>
                    <a:pt x="988937" y="23164"/>
                  </a:lnTo>
                  <a:lnTo>
                    <a:pt x="988536" y="23164"/>
                  </a:lnTo>
                  <a:lnTo>
                    <a:pt x="988536" y="91114"/>
                  </a:lnTo>
                  <a:cubicBezTo>
                    <a:pt x="988625" y="91765"/>
                    <a:pt x="988170" y="92365"/>
                    <a:pt x="987519" y="92454"/>
                  </a:cubicBezTo>
                  <a:cubicBezTo>
                    <a:pt x="987409" y="92469"/>
                    <a:pt x="987293" y="92469"/>
                    <a:pt x="987183" y="92452"/>
                  </a:cubicBezTo>
                  <a:lnTo>
                    <a:pt x="978756" y="92452"/>
                  </a:lnTo>
                  <a:cubicBezTo>
                    <a:pt x="978106" y="92540"/>
                    <a:pt x="977508" y="92084"/>
                    <a:pt x="977419" y="91433"/>
                  </a:cubicBezTo>
                  <a:cubicBezTo>
                    <a:pt x="977404" y="91327"/>
                    <a:pt x="977404" y="91220"/>
                    <a:pt x="977419" y="91114"/>
                  </a:cubicBezTo>
                  <a:close/>
                  <a:moveTo>
                    <a:pt x="1063041" y="79611"/>
                  </a:moveTo>
                  <a:cubicBezTo>
                    <a:pt x="1062952" y="78960"/>
                    <a:pt x="1063410" y="78361"/>
                    <a:pt x="1064061" y="78273"/>
                  </a:cubicBezTo>
                  <a:cubicBezTo>
                    <a:pt x="1064165" y="78259"/>
                    <a:pt x="1064272" y="78259"/>
                    <a:pt x="1064379" y="78273"/>
                  </a:cubicBezTo>
                  <a:lnTo>
                    <a:pt x="1074545" y="78273"/>
                  </a:lnTo>
                  <a:cubicBezTo>
                    <a:pt x="1075196" y="78185"/>
                    <a:pt x="1075793" y="78642"/>
                    <a:pt x="1075882" y="79292"/>
                  </a:cubicBezTo>
                  <a:cubicBezTo>
                    <a:pt x="1075897" y="79398"/>
                    <a:pt x="1075897" y="79505"/>
                    <a:pt x="1075882" y="79611"/>
                  </a:cubicBezTo>
                  <a:lnTo>
                    <a:pt x="1075882" y="91114"/>
                  </a:lnTo>
                  <a:cubicBezTo>
                    <a:pt x="1075971" y="91765"/>
                    <a:pt x="1075514" y="92364"/>
                    <a:pt x="1074863" y="92452"/>
                  </a:cubicBezTo>
                  <a:cubicBezTo>
                    <a:pt x="1074759" y="92466"/>
                    <a:pt x="1074652" y="92466"/>
                    <a:pt x="1074545" y="92452"/>
                  </a:cubicBezTo>
                  <a:lnTo>
                    <a:pt x="1064379" y="92452"/>
                  </a:lnTo>
                  <a:cubicBezTo>
                    <a:pt x="1063728" y="92540"/>
                    <a:pt x="1063130" y="92084"/>
                    <a:pt x="1063041" y="91433"/>
                  </a:cubicBezTo>
                  <a:cubicBezTo>
                    <a:pt x="1063026" y="91327"/>
                    <a:pt x="1063026" y="91220"/>
                    <a:pt x="1063041" y="91114"/>
                  </a:cubicBezTo>
                  <a:close/>
                </a:path>
              </a:pathLst>
            </a:custGeom>
            <a:solidFill>
              <a:schemeClr val="bg1"/>
            </a:solidFill>
            <a:ln w="2965" cap="flat">
              <a:noFill/>
              <a:prstDash val="solid"/>
              <a:miter/>
            </a:ln>
          </p:spPr>
          <p:txBody>
            <a:bodyPr rtlCol="0" anchor="ctr"/>
            <a:lstStyle/>
            <a:p>
              <a:endParaRPr lang="de-DE"/>
            </a:p>
          </p:txBody>
        </p:sp>
        <p:sp>
          <p:nvSpPr>
            <p:cNvPr id="49" name="Freeform: Shape 48">
              <a:extLst>
                <a:ext uri="{FF2B5EF4-FFF2-40B4-BE49-F238E27FC236}">
                  <a16:creationId xmlns:a16="http://schemas.microsoft.com/office/drawing/2014/main" id="{F9F4A67D-760E-44ED-87CB-6EFD1726DF48}"/>
                </a:ext>
              </a:extLst>
            </p:cNvPr>
            <p:cNvSpPr/>
            <p:nvPr/>
          </p:nvSpPr>
          <p:spPr>
            <a:xfrm>
              <a:off x="10774019" y="6084991"/>
              <a:ext cx="1193687" cy="93972"/>
            </a:xfrm>
            <a:custGeom>
              <a:avLst/>
              <a:gdLst>
                <a:gd name="connsiteX0" fmla="*/ 31941 w 1193687"/>
                <a:gd name="connsiteY0" fmla="*/ 2904 h 93972"/>
                <a:gd name="connsiteX1" fmla="*/ 33546 w 1193687"/>
                <a:gd name="connsiteY1" fmla="*/ 1567 h 93972"/>
                <a:gd name="connsiteX2" fmla="*/ 42240 w 1193687"/>
                <a:gd name="connsiteY2" fmla="*/ 1567 h 93972"/>
                <a:gd name="connsiteX3" fmla="*/ 43979 w 1193687"/>
                <a:gd name="connsiteY3" fmla="*/ 2904 h 93972"/>
                <a:gd name="connsiteX4" fmla="*/ 75145 w 1193687"/>
                <a:gd name="connsiteY4" fmla="*/ 91187 h 93972"/>
                <a:gd name="connsiteX5" fmla="*/ 74209 w 1193687"/>
                <a:gd name="connsiteY5" fmla="*/ 92524 h 93972"/>
                <a:gd name="connsiteX6" fmla="*/ 64846 w 1193687"/>
                <a:gd name="connsiteY6" fmla="*/ 92524 h 93972"/>
                <a:gd name="connsiteX7" fmla="*/ 63107 w 1193687"/>
                <a:gd name="connsiteY7" fmla="*/ 91187 h 93972"/>
                <a:gd name="connsiteX8" fmla="*/ 56151 w 1193687"/>
                <a:gd name="connsiteY8" fmla="*/ 71390 h 93972"/>
                <a:gd name="connsiteX9" fmla="*/ 19367 w 1193687"/>
                <a:gd name="connsiteY9" fmla="*/ 71390 h 93972"/>
                <a:gd name="connsiteX10" fmla="*/ 12411 w 1193687"/>
                <a:gd name="connsiteY10" fmla="*/ 91187 h 93972"/>
                <a:gd name="connsiteX11" fmla="*/ 10672 w 1193687"/>
                <a:gd name="connsiteY11" fmla="*/ 92524 h 93972"/>
                <a:gd name="connsiteX12" fmla="*/ 1309 w 1193687"/>
                <a:gd name="connsiteY12" fmla="*/ 92524 h 93972"/>
                <a:gd name="connsiteX13" fmla="*/ 373 w 1193687"/>
                <a:gd name="connsiteY13" fmla="*/ 91187 h 93972"/>
                <a:gd name="connsiteX14" fmla="*/ 52272 w 1193687"/>
                <a:gd name="connsiteY14" fmla="*/ 60422 h 93972"/>
                <a:gd name="connsiteX15" fmla="*/ 37960 w 1193687"/>
                <a:gd name="connsiteY15" fmla="*/ 19089 h 93972"/>
                <a:gd name="connsiteX16" fmla="*/ 37692 w 1193687"/>
                <a:gd name="connsiteY16" fmla="*/ 19089 h 93972"/>
                <a:gd name="connsiteX17" fmla="*/ 23246 w 1193687"/>
                <a:gd name="connsiteY17" fmla="*/ 60422 h 93972"/>
                <a:gd name="connsiteX18" fmla="*/ 105911 w 1193687"/>
                <a:gd name="connsiteY18" fmla="*/ 92524 h 93972"/>
                <a:gd name="connsiteX19" fmla="*/ 104305 w 1193687"/>
                <a:gd name="connsiteY19" fmla="*/ 91187 h 93972"/>
                <a:gd name="connsiteX20" fmla="*/ 74878 w 1193687"/>
                <a:gd name="connsiteY20" fmla="*/ 3172 h 93972"/>
                <a:gd name="connsiteX21" fmla="*/ 74878 w 1193687"/>
                <a:gd name="connsiteY21" fmla="*/ 1968 h 93972"/>
                <a:gd name="connsiteX22" fmla="*/ 75814 w 1193687"/>
                <a:gd name="connsiteY22" fmla="*/ 1567 h 93972"/>
                <a:gd name="connsiteX23" fmla="*/ 84910 w 1193687"/>
                <a:gd name="connsiteY23" fmla="*/ 1567 h 93972"/>
                <a:gd name="connsiteX24" fmla="*/ 86783 w 1193687"/>
                <a:gd name="connsiteY24" fmla="*/ 2904 h 93972"/>
                <a:gd name="connsiteX25" fmla="*/ 110057 w 1193687"/>
                <a:gd name="connsiteY25" fmla="*/ 73129 h 93972"/>
                <a:gd name="connsiteX26" fmla="*/ 110325 w 1193687"/>
                <a:gd name="connsiteY26" fmla="*/ 73129 h 93972"/>
                <a:gd name="connsiteX27" fmla="*/ 132797 w 1193687"/>
                <a:gd name="connsiteY27" fmla="*/ 2904 h 93972"/>
                <a:gd name="connsiteX28" fmla="*/ 134536 w 1193687"/>
                <a:gd name="connsiteY28" fmla="*/ 1567 h 93972"/>
                <a:gd name="connsiteX29" fmla="*/ 143750 w 1193687"/>
                <a:gd name="connsiteY29" fmla="*/ 1567 h 93972"/>
                <a:gd name="connsiteX30" fmla="*/ 144687 w 1193687"/>
                <a:gd name="connsiteY30" fmla="*/ 3172 h 93972"/>
                <a:gd name="connsiteX31" fmla="*/ 115408 w 1193687"/>
                <a:gd name="connsiteY31" fmla="*/ 91187 h 93972"/>
                <a:gd name="connsiteX32" fmla="*/ 113803 w 1193687"/>
                <a:gd name="connsiteY32" fmla="*/ 92524 h 93972"/>
                <a:gd name="connsiteX33" fmla="*/ 158613 w 1193687"/>
                <a:gd name="connsiteY33" fmla="*/ 2904 h 93972"/>
                <a:gd name="connsiteX34" fmla="*/ 159632 w 1193687"/>
                <a:gd name="connsiteY34" fmla="*/ 1567 h 93972"/>
                <a:gd name="connsiteX35" fmla="*/ 159950 w 1193687"/>
                <a:gd name="connsiteY35" fmla="*/ 1567 h 93972"/>
                <a:gd name="connsiteX36" fmla="*/ 169165 w 1193687"/>
                <a:gd name="connsiteY36" fmla="*/ 1567 h 93972"/>
                <a:gd name="connsiteX37" fmla="*/ 170503 w 1193687"/>
                <a:gd name="connsiteY37" fmla="*/ 2586 h 93972"/>
                <a:gd name="connsiteX38" fmla="*/ 170503 w 1193687"/>
                <a:gd name="connsiteY38" fmla="*/ 2904 h 93972"/>
                <a:gd name="connsiteX39" fmla="*/ 170503 w 1193687"/>
                <a:gd name="connsiteY39" fmla="*/ 91187 h 93972"/>
                <a:gd name="connsiteX40" fmla="*/ 169484 w 1193687"/>
                <a:gd name="connsiteY40" fmla="*/ 92524 h 93972"/>
                <a:gd name="connsiteX41" fmla="*/ 169165 w 1193687"/>
                <a:gd name="connsiteY41" fmla="*/ 92524 h 93972"/>
                <a:gd name="connsiteX42" fmla="*/ 159950 w 1193687"/>
                <a:gd name="connsiteY42" fmla="*/ 92524 h 93972"/>
                <a:gd name="connsiteX43" fmla="*/ 158613 w 1193687"/>
                <a:gd name="connsiteY43" fmla="*/ 91505 h 93972"/>
                <a:gd name="connsiteX44" fmla="*/ 158613 w 1193687"/>
                <a:gd name="connsiteY44" fmla="*/ 91187 h 93972"/>
                <a:gd name="connsiteX45" fmla="*/ 216531 w 1193687"/>
                <a:gd name="connsiteY45" fmla="*/ 2904 h 93972"/>
                <a:gd name="connsiteX46" fmla="*/ 218137 w 1193687"/>
                <a:gd name="connsiteY46" fmla="*/ 1567 h 93972"/>
                <a:gd name="connsiteX47" fmla="*/ 226831 w 1193687"/>
                <a:gd name="connsiteY47" fmla="*/ 1567 h 93972"/>
                <a:gd name="connsiteX48" fmla="*/ 228570 w 1193687"/>
                <a:gd name="connsiteY48" fmla="*/ 2904 h 93972"/>
                <a:gd name="connsiteX49" fmla="*/ 259736 w 1193687"/>
                <a:gd name="connsiteY49" fmla="*/ 91187 h 93972"/>
                <a:gd name="connsiteX50" fmla="*/ 258800 w 1193687"/>
                <a:gd name="connsiteY50" fmla="*/ 92524 h 93972"/>
                <a:gd name="connsiteX51" fmla="*/ 249437 w 1193687"/>
                <a:gd name="connsiteY51" fmla="*/ 92524 h 93972"/>
                <a:gd name="connsiteX52" fmla="*/ 247698 w 1193687"/>
                <a:gd name="connsiteY52" fmla="*/ 91187 h 93972"/>
                <a:gd name="connsiteX53" fmla="*/ 240742 w 1193687"/>
                <a:gd name="connsiteY53" fmla="*/ 71390 h 93972"/>
                <a:gd name="connsiteX54" fmla="*/ 203958 w 1193687"/>
                <a:gd name="connsiteY54" fmla="*/ 71390 h 93972"/>
                <a:gd name="connsiteX55" fmla="*/ 197002 w 1193687"/>
                <a:gd name="connsiteY55" fmla="*/ 91187 h 93972"/>
                <a:gd name="connsiteX56" fmla="*/ 195263 w 1193687"/>
                <a:gd name="connsiteY56" fmla="*/ 92524 h 93972"/>
                <a:gd name="connsiteX57" fmla="*/ 185900 w 1193687"/>
                <a:gd name="connsiteY57" fmla="*/ 92524 h 93972"/>
                <a:gd name="connsiteX58" fmla="*/ 184964 w 1193687"/>
                <a:gd name="connsiteY58" fmla="*/ 91187 h 93972"/>
                <a:gd name="connsiteX59" fmla="*/ 236863 w 1193687"/>
                <a:gd name="connsiteY59" fmla="*/ 60422 h 93972"/>
                <a:gd name="connsiteX60" fmla="*/ 222551 w 1193687"/>
                <a:gd name="connsiteY60" fmla="*/ 19089 h 93972"/>
                <a:gd name="connsiteX61" fmla="*/ 222283 w 1193687"/>
                <a:gd name="connsiteY61" fmla="*/ 19089 h 93972"/>
                <a:gd name="connsiteX62" fmla="*/ 207837 w 1193687"/>
                <a:gd name="connsiteY62" fmla="*/ 60422 h 93972"/>
                <a:gd name="connsiteX63" fmla="*/ 284616 w 1193687"/>
                <a:gd name="connsiteY63" fmla="*/ 92524 h 93972"/>
                <a:gd name="connsiteX64" fmla="*/ 283278 w 1193687"/>
                <a:gd name="connsiteY64" fmla="*/ 91505 h 93972"/>
                <a:gd name="connsiteX65" fmla="*/ 283278 w 1193687"/>
                <a:gd name="connsiteY65" fmla="*/ 91187 h 93972"/>
                <a:gd name="connsiteX66" fmla="*/ 283278 w 1193687"/>
                <a:gd name="connsiteY66" fmla="*/ 13457 h 93972"/>
                <a:gd name="connsiteX67" fmla="*/ 282674 w 1193687"/>
                <a:gd name="connsiteY67" fmla="*/ 12654 h 93972"/>
                <a:gd name="connsiteX68" fmla="*/ 282476 w 1193687"/>
                <a:gd name="connsiteY68" fmla="*/ 12654 h 93972"/>
                <a:gd name="connsiteX69" fmla="*/ 257596 w 1193687"/>
                <a:gd name="connsiteY69" fmla="*/ 12654 h 93972"/>
                <a:gd name="connsiteX70" fmla="*/ 256259 w 1193687"/>
                <a:gd name="connsiteY70" fmla="*/ 11635 h 93972"/>
                <a:gd name="connsiteX71" fmla="*/ 256259 w 1193687"/>
                <a:gd name="connsiteY71" fmla="*/ 11316 h 93972"/>
                <a:gd name="connsiteX72" fmla="*/ 256259 w 1193687"/>
                <a:gd name="connsiteY72" fmla="*/ 2904 h 93972"/>
                <a:gd name="connsiteX73" fmla="*/ 257278 w 1193687"/>
                <a:gd name="connsiteY73" fmla="*/ 1567 h 93972"/>
                <a:gd name="connsiteX74" fmla="*/ 257596 w 1193687"/>
                <a:gd name="connsiteY74" fmla="*/ 1567 h 93972"/>
                <a:gd name="connsiteX75" fmla="*/ 320865 w 1193687"/>
                <a:gd name="connsiteY75" fmla="*/ 1567 h 93972"/>
                <a:gd name="connsiteX76" fmla="*/ 322203 w 1193687"/>
                <a:gd name="connsiteY76" fmla="*/ 2586 h 93972"/>
                <a:gd name="connsiteX77" fmla="*/ 322203 w 1193687"/>
                <a:gd name="connsiteY77" fmla="*/ 2904 h 93972"/>
                <a:gd name="connsiteX78" fmla="*/ 322203 w 1193687"/>
                <a:gd name="connsiteY78" fmla="*/ 11331 h 93972"/>
                <a:gd name="connsiteX79" fmla="*/ 321183 w 1193687"/>
                <a:gd name="connsiteY79" fmla="*/ 12669 h 93972"/>
                <a:gd name="connsiteX80" fmla="*/ 320865 w 1193687"/>
                <a:gd name="connsiteY80" fmla="*/ 12669 h 93972"/>
                <a:gd name="connsiteX81" fmla="*/ 295986 w 1193687"/>
                <a:gd name="connsiteY81" fmla="*/ 12669 h 93972"/>
                <a:gd name="connsiteX82" fmla="*/ 295183 w 1193687"/>
                <a:gd name="connsiteY82" fmla="*/ 13273 h 93972"/>
                <a:gd name="connsiteX83" fmla="*/ 295183 w 1193687"/>
                <a:gd name="connsiteY83" fmla="*/ 13471 h 93972"/>
                <a:gd name="connsiteX84" fmla="*/ 295183 w 1193687"/>
                <a:gd name="connsiteY84" fmla="*/ 91187 h 93972"/>
                <a:gd name="connsiteX85" fmla="*/ 294164 w 1193687"/>
                <a:gd name="connsiteY85" fmla="*/ 92524 h 93972"/>
                <a:gd name="connsiteX86" fmla="*/ 293846 w 1193687"/>
                <a:gd name="connsiteY86" fmla="*/ 92524 h 93972"/>
                <a:gd name="connsiteX87" fmla="*/ 336382 w 1193687"/>
                <a:gd name="connsiteY87" fmla="*/ 2904 h 93972"/>
                <a:gd name="connsiteX88" fmla="*/ 337401 w 1193687"/>
                <a:gd name="connsiteY88" fmla="*/ 1567 h 93972"/>
                <a:gd name="connsiteX89" fmla="*/ 337719 w 1193687"/>
                <a:gd name="connsiteY89" fmla="*/ 1567 h 93972"/>
                <a:gd name="connsiteX90" fmla="*/ 346934 w 1193687"/>
                <a:gd name="connsiteY90" fmla="*/ 1567 h 93972"/>
                <a:gd name="connsiteX91" fmla="*/ 348272 w 1193687"/>
                <a:gd name="connsiteY91" fmla="*/ 2586 h 93972"/>
                <a:gd name="connsiteX92" fmla="*/ 348272 w 1193687"/>
                <a:gd name="connsiteY92" fmla="*/ 2904 h 93972"/>
                <a:gd name="connsiteX93" fmla="*/ 348272 w 1193687"/>
                <a:gd name="connsiteY93" fmla="*/ 91187 h 93972"/>
                <a:gd name="connsiteX94" fmla="*/ 347252 w 1193687"/>
                <a:gd name="connsiteY94" fmla="*/ 92524 h 93972"/>
                <a:gd name="connsiteX95" fmla="*/ 346934 w 1193687"/>
                <a:gd name="connsiteY95" fmla="*/ 92524 h 93972"/>
                <a:gd name="connsiteX96" fmla="*/ 337719 w 1193687"/>
                <a:gd name="connsiteY96" fmla="*/ 92524 h 93972"/>
                <a:gd name="connsiteX97" fmla="*/ 336382 w 1193687"/>
                <a:gd name="connsiteY97" fmla="*/ 91505 h 93972"/>
                <a:gd name="connsiteX98" fmla="*/ 336382 w 1193687"/>
                <a:gd name="connsiteY98" fmla="*/ 91187 h 93972"/>
                <a:gd name="connsiteX99" fmla="*/ 400855 w 1193687"/>
                <a:gd name="connsiteY99" fmla="*/ 93996 h 93972"/>
                <a:gd name="connsiteX100" fmla="*/ 381391 w 1193687"/>
                <a:gd name="connsiteY100" fmla="*/ 88645 h 93972"/>
                <a:gd name="connsiteX101" fmla="*/ 369956 w 1193687"/>
                <a:gd name="connsiteY101" fmla="*/ 72728 h 93972"/>
                <a:gd name="connsiteX102" fmla="*/ 368820 w 1193687"/>
                <a:gd name="connsiteY102" fmla="*/ 68566 h 93972"/>
                <a:gd name="connsiteX103" fmla="*/ 368083 w 1193687"/>
                <a:gd name="connsiteY103" fmla="*/ 63552 h 93972"/>
                <a:gd name="connsiteX104" fmla="*/ 367682 w 1193687"/>
                <a:gd name="connsiteY104" fmla="*/ 56661 h 93972"/>
                <a:gd name="connsiteX105" fmla="*/ 367533 w 1193687"/>
                <a:gd name="connsiteY105" fmla="*/ 47046 h 93972"/>
                <a:gd name="connsiteX106" fmla="*/ 367667 w 1193687"/>
                <a:gd name="connsiteY106" fmla="*/ 37415 h 93972"/>
                <a:gd name="connsiteX107" fmla="*/ 368068 w 1193687"/>
                <a:gd name="connsiteY107" fmla="*/ 30527 h 93972"/>
                <a:gd name="connsiteX108" fmla="*/ 368805 w 1193687"/>
                <a:gd name="connsiteY108" fmla="*/ 25513 h 93972"/>
                <a:gd name="connsiteX109" fmla="*/ 369941 w 1193687"/>
                <a:gd name="connsiteY109" fmla="*/ 21351 h 93972"/>
                <a:gd name="connsiteX110" fmla="*/ 381391 w 1193687"/>
                <a:gd name="connsiteY110" fmla="*/ 5431 h 93972"/>
                <a:gd name="connsiteX111" fmla="*/ 420449 w 1193687"/>
                <a:gd name="connsiteY111" fmla="*/ 5431 h 93972"/>
                <a:gd name="connsiteX112" fmla="*/ 431887 w 1193687"/>
                <a:gd name="connsiteY112" fmla="*/ 21348 h 93972"/>
                <a:gd name="connsiteX113" fmla="*/ 433023 w 1193687"/>
                <a:gd name="connsiteY113" fmla="*/ 25510 h 93972"/>
                <a:gd name="connsiteX114" fmla="*/ 433760 w 1193687"/>
                <a:gd name="connsiteY114" fmla="*/ 30527 h 93972"/>
                <a:gd name="connsiteX115" fmla="*/ 434161 w 1193687"/>
                <a:gd name="connsiteY115" fmla="*/ 37415 h 93972"/>
                <a:gd name="connsiteX116" fmla="*/ 434295 w 1193687"/>
                <a:gd name="connsiteY116" fmla="*/ 47046 h 93972"/>
                <a:gd name="connsiteX117" fmla="*/ 434161 w 1193687"/>
                <a:gd name="connsiteY117" fmla="*/ 56676 h 93972"/>
                <a:gd name="connsiteX118" fmla="*/ 433760 w 1193687"/>
                <a:gd name="connsiteY118" fmla="*/ 63567 h 93972"/>
                <a:gd name="connsiteX119" fmla="*/ 433023 w 1193687"/>
                <a:gd name="connsiteY119" fmla="*/ 68584 h 93972"/>
                <a:gd name="connsiteX120" fmla="*/ 431887 w 1193687"/>
                <a:gd name="connsiteY120" fmla="*/ 72746 h 93972"/>
                <a:gd name="connsiteX121" fmla="*/ 420449 w 1193687"/>
                <a:gd name="connsiteY121" fmla="*/ 88663 h 93972"/>
                <a:gd name="connsiteX122" fmla="*/ 400855 w 1193687"/>
                <a:gd name="connsiteY122" fmla="*/ 93996 h 93972"/>
                <a:gd name="connsiteX123" fmla="*/ 400855 w 1193687"/>
                <a:gd name="connsiteY123" fmla="*/ 82894 h 93972"/>
                <a:gd name="connsiteX124" fmla="*/ 413295 w 1193687"/>
                <a:gd name="connsiteY124" fmla="*/ 79416 h 93972"/>
                <a:gd name="connsiteX125" fmla="*/ 420250 w 1193687"/>
                <a:gd name="connsiteY125" fmla="*/ 69384 h 93972"/>
                <a:gd name="connsiteX126" fmla="*/ 420987 w 1193687"/>
                <a:gd name="connsiteY126" fmla="*/ 66373 h 93972"/>
                <a:gd name="connsiteX127" fmla="*/ 421656 w 1193687"/>
                <a:gd name="connsiteY127" fmla="*/ 61893 h 93972"/>
                <a:gd name="connsiteX128" fmla="*/ 422126 w 1193687"/>
                <a:gd name="connsiteY128" fmla="*/ 55606 h 93972"/>
                <a:gd name="connsiteX129" fmla="*/ 422260 w 1193687"/>
                <a:gd name="connsiteY129" fmla="*/ 47046 h 93972"/>
                <a:gd name="connsiteX130" fmla="*/ 422126 w 1193687"/>
                <a:gd name="connsiteY130" fmla="*/ 38485 h 93972"/>
                <a:gd name="connsiteX131" fmla="*/ 421656 w 1193687"/>
                <a:gd name="connsiteY131" fmla="*/ 32198 h 93972"/>
                <a:gd name="connsiteX132" fmla="*/ 420987 w 1193687"/>
                <a:gd name="connsiteY132" fmla="*/ 27718 h 93972"/>
                <a:gd name="connsiteX133" fmla="*/ 420250 w 1193687"/>
                <a:gd name="connsiteY133" fmla="*/ 24707 h 93972"/>
                <a:gd name="connsiteX134" fmla="*/ 413295 w 1193687"/>
                <a:gd name="connsiteY134" fmla="*/ 14675 h 93972"/>
                <a:gd name="connsiteX135" fmla="*/ 400855 w 1193687"/>
                <a:gd name="connsiteY135" fmla="*/ 11197 h 93972"/>
                <a:gd name="connsiteX136" fmla="*/ 388480 w 1193687"/>
                <a:gd name="connsiteY136" fmla="*/ 14675 h 93972"/>
                <a:gd name="connsiteX137" fmla="*/ 381593 w 1193687"/>
                <a:gd name="connsiteY137" fmla="*/ 24707 h 93972"/>
                <a:gd name="connsiteX138" fmla="*/ 380859 w 1193687"/>
                <a:gd name="connsiteY138" fmla="*/ 27718 h 93972"/>
                <a:gd name="connsiteX139" fmla="*/ 380190 w 1193687"/>
                <a:gd name="connsiteY139" fmla="*/ 32198 h 93972"/>
                <a:gd name="connsiteX140" fmla="*/ 379720 w 1193687"/>
                <a:gd name="connsiteY140" fmla="*/ 38485 h 93972"/>
                <a:gd name="connsiteX141" fmla="*/ 379587 w 1193687"/>
                <a:gd name="connsiteY141" fmla="*/ 47046 h 93972"/>
                <a:gd name="connsiteX142" fmla="*/ 379720 w 1193687"/>
                <a:gd name="connsiteY142" fmla="*/ 55606 h 93972"/>
                <a:gd name="connsiteX143" fmla="*/ 380190 w 1193687"/>
                <a:gd name="connsiteY143" fmla="*/ 61893 h 93972"/>
                <a:gd name="connsiteX144" fmla="*/ 380859 w 1193687"/>
                <a:gd name="connsiteY144" fmla="*/ 66373 h 93972"/>
                <a:gd name="connsiteX145" fmla="*/ 381593 w 1193687"/>
                <a:gd name="connsiteY145" fmla="*/ 69384 h 93972"/>
                <a:gd name="connsiteX146" fmla="*/ 388480 w 1193687"/>
                <a:gd name="connsiteY146" fmla="*/ 79416 h 93972"/>
                <a:gd name="connsiteX147" fmla="*/ 400855 w 1193687"/>
                <a:gd name="connsiteY147" fmla="*/ 82894 h 93972"/>
                <a:gd name="connsiteX148" fmla="*/ 453557 w 1193687"/>
                <a:gd name="connsiteY148" fmla="*/ 2904 h 93972"/>
                <a:gd name="connsiteX149" fmla="*/ 454576 w 1193687"/>
                <a:gd name="connsiteY149" fmla="*/ 1567 h 93972"/>
                <a:gd name="connsiteX150" fmla="*/ 454894 w 1193687"/>
                <a:gd name="connsiteY150" fmla="*/ 1567 h 93972"/>
                <a:gd name="connsiteX151" fmla="*/ 463455 w 1193687"/>
                <a:gd name="connsiteY151" fmla="*/ 1567 h 93972"/>
                <a:gd name="connsiteX152" fmla="*/ 465729 w 1193687"/>
                <a:gd name="connsiteY152" fmla="*/ 2904 h 93972"/>
                <a:gd name="connsiteX153" fmla="*/ 506928 w 1193687"/>
                <a:gd name="connsiteY153" fmla="*/ 71123 h 93972"/>
                <a:gd name="connsiteX154" fmla="*/ 507463 w 1193687"/>
                <a:gd name="connsiteY154" fmla="*/ 71123 h 93972"/>
                <a:gd name="connsiteX155" fmla="*/ 507463 w 1193687"/>
                <a:gd name="connsiteY155" fmla="*/ 2904 h 93972"/>
                <a:gd name="connsiteX156" fmla="*/ 508482 w 1193687"/>
                <a:gd name="connsiteY156" fmla="*/ 1567 h 93972"/>
                <a:gd name="connsiteX157" fmla="*/ 508800 w 1193687"/>
                <a:gd name="connsiteY157" fmla="*/ 1567 h 93972"/>
                <a:gd name="connsiteX158" fmla="*/ 517227 w 1193687"/>
                <a:gd name="connsiteY158" fmla="*/ 1567 h 93972"/>
                <a:gd name="connsiteX159" fmla="*/ 518565 w 1193687"/>
                <a:gd name="connsiteY159" fmla="*/ 2586 h 93972"/>
                <a:gd name="connsiteX160" fmla="*/ 518565 w 1193687"/>
                <a:gd name="connsiteY160" fmla="*/ 2904 h 93972"/>
                <a:gd name="connsiteX161" fmla="*/ 518565 w 1193687"/>
                <a:gd name="connsiteY161" fmla="*/ 91187 h 93972"/>
                <a:gd name="connsiteX162" fmla="*/ 517545 w 1193687"/>
                <a:gd name="connsiteY162" fmla="*/ 92524 h 93972"/>
                <a:gd name="connsiteX163" fmla="*/ 517227 w 1193687"/>
                <a:gd name="connsiteY163" fmla="*/ 92524 h 93972"/>
                <a:gd name="connsiteX164" fmla="*/ 508667 w 1193687"/>
                <a:gd name="connsiteY164" fmla="*/ 92524 h 93972"/>
                <a:gd name="connsiteX165" fmla="*/ 506393 w 1193687"/>
                <a:gd name="connsiteY165" fmla="*/ 91187 h 93972"/>
                <a:gd name="connsiteX166" fmla="*/ 465060 w 1193687"/>
                <a:gd name="connsiteY166" fmla="*/ 23236 h 93972"/>
                <a:gd name="connsiteX167" fmla="*/ 464659 w 1193687"/>
                <a:gd name="connsiteY167" fmla="*/ 23236 h 93972"/>
                <a:gd name="connsiteX168" fmla="*/ 464659 w 1193687"/>
                <a:gd name="connsiteY168" fmla="*/ 91187 h 93972"/>
                <a:gd name="connsiteX169" fmla="*/ 463639 w 1193687"/>
                <a:gd name="connsiteY169" fmla="*/ 92524 h 93972"/>
                <a:gd name="connsiteX170" fmla="*/ 463321 w 1193687"/>
                <a:gd name="connsiteY170" fmla="*/ 92524 h 93972"/>
                <a:gd name="connsiteX171" fmla="*/ 454894 w 1193687"/>
                <a:gd name="connsiteY171" fmla="*/ 92524 h 93972"/>
                <a:gd name="connsiteX172" fmla="*/ 453557 w 1193687"/>
                <a:gd name="connsiteY172" fmla="*/ 91505 h 93972"/>
                <a:gd name="connsiteX173" fmla="*/ 453557 w 1193687"/>
                <a:gd name="connsiteY173" fmla="*/ 91187 h 93972"/>
                <a:gd name="connsiteX174" fmla="*/ 539164 w 1193687"/>
                <a:gd name="connsiteY174" fmla="*/ 79683 h 93972"/>
                <a:gd name="connsiteX175" fmla="*/ 540184 w 1193687"/>
                <a:gd name="connsiteY175" fmla="*/ 78346 h 93972"/>
                <a:gd name="connsiteX176" fmla="*/ 540502 w 1193687"/>
                <a:gd name="connsiteY176" fmla="*/ 78346 h 93972"/>
                <a:gd name="connsiteX177" fmla="*/ 550668 w 1193687"/>
                <a:gd name="connsiteY177" fmla="*/ 78346 h 93972"/>
                <a:gd name="connsiteX178" fmla="*/ 552005 w 1193687"/>
                <a:gd name="connsiteY178" fmla="*/ 79365 h 93972"/>
                <a:gd name="connsiteX179" fmla="*/ 552005 w 1193687"/>
                <a:gd name="connsiteY179" fmla="*/ 79683 h 93972"/>
                <a:gd name="connsiteX180" fmla="*/ 552005 w 1193687"/>
                <a:gd name="connsiteY180" fmla="*/ 91187 h 93972"/>
                <a:gd name="connsiteX181" fmla="*/ 550986 w 1193687"/>
                <a:gd name="connsiteY181" fmla="*/ 92524 h 93972"/>
                <a:gd name="connsiteX182" fmla="*/ 550668 w 1193687"/>
                <a:gd name="connsiteY182" fmla="*/ 92524 h 93972"/>
                <a:gd name="connsiteX183" fmla="*/ 540502 w 1193687"/>
                <a:gd name="connsiteY183" fmla="*/ 92524 h 93972"/>
                <a:gd name="connsiteX184" fmla="*/ 539164 w 1193687"/>
                <a:gd name="connsiteY184" fmla="*/ 91505 h 93972"/>
                <a:gd name="connsiteX185" fmla="*/ 539164 w 1193687"/>
                <a:gd name="connsiteY185" fmla="*/ 91187 h 93972"/>
                <a:gd name="connsiteX186" fmla="*/ 601883 w 1193687"/>
                <a:gd name="connsiteY186" fmla="*/ 2904 h 93972"/>
                <a:gd name="connsiteX187" fmla="*/ 602903 w 1193687"/>
                <a:gd name="connsiteY187" fmla="*/ 1567 h 93972"/>
                <a:gd name="connsiteX188" fmla="*/ 603221 w 1193687"/>
                <a:gd name="connsiteY188" fmla="*/ 1567 h 93972"/>
                <a:gd name="connsiteX189" fmla="*/ 612465 w 1193687"/>
                <a:gd name="connsiteY189" fmla="*/ 1567 h 93972"/>
                <a:gd name="connsiteX190" fmla="*/ 613803 w 1193687"/>
                <a:gd name="connsiteY190" fmla="*/ 2586 h 93972"/>
                <a:gd name="connsiteX191" fmla="*/ 613803 w 1193687"/>
                <a:gd name="connsiteY191" fmla="*/ 2904 h 93972"/>
                <a:gd name="connsiteX192" fmla="*/ 613803 w 1193687"/>
                <a:gd name="connsiteY192" fmla="*/ 80620 h 93972"/>
                <a:gd name="connsiteX193" fmla="*/ 614406 w 1193687"/>
                <a:gd name="connsiteY193" fmla="*/ 81422 h 93972"/>
                <a:gd name="connsiteX194" fmla="*/ 614606 w 1193687"/>
                <a:gd name="connsiteY194" fmla="*/ 81422 h 93972"/>
                <a:gd name="connsiteX195" fmla="*/ 657944 w 1193687"/>
                <a:gd name="connsiteY195" fmla="*/ 81422 h 93972"/>
                <a:gd name="connsiteX196" fmla="*/ 659282 w 1193687"/>
                <a:gd name="connsiteY196" fmla="*/ 82441 h 93972"/>
                <a:gd name="connsiteX197" fmla="*/ 659282 w 1193687"/>
                <a:gd name="connsiteY197" fmla="*/ 82760 h 93972"/>
                <a:gd name="connsiteX198" fmla="*/ 659282 w 1193687"/>
                <a:gd name="connsiteY198" fmla="*/ 91187 h 93972"/>
                <a:gd name="connsiteX199" fmla="*/ 658262 w 1193687"/>
                <a:gd name="connsiteY199" fmla="*/ 92524 h 93972"/>
                <a:gd name="connsiteX200" fmla="*/ 657944 w 1193687"/>
                <a:gd name="connsiteY200" fmla="*/ 92524 h 93972"/>
                <a:gd name="connsiteX201" fmla="*/ 603251 w 1193687"/>
                <a:gd name="connsiteY201" fmla="*/ 92524 h 93972"/>
                <a:gd name="connsiteX202" fmla="*/ 601913 w 1193687"/>
                <a:gd name="connsiteY202" fmla="*/ 91505 h 93972"/>
                <a:gd name="connsiteX203" fmla="*/ 601913 w 1193687"/>
                <a:gd name="connsiteY203" fmla="*/ 91187 h 93972"/>
                <a:gd name="connsiteX204" fmla="*/ 703958 w 1193687"/>
                <a:gd name="connsiteY204" fmla="*/ 93996 h 93972"/>
                <a:gd name="connsiteX205" fmla="*/ 684495 w 1193687"/>
                <a:gd name="connsiteY205" fmla="*/ 88645 h 93972"/>
                <a:gd name="connsiteX206" fmla="*/ 673056 w 1193687"/>
                <a:gd name="connsiteY206" fmla="*/ 72728 h 93972"/>
                <a:gd name="connsiteX207" fmla="*/ 671921 w 1193687"/>
                <a:gd name="connsiteY207" fmla="*/ 68566 h 93972"/>
                <a:gd name="connsiteX208" fmla="*/ 671187 w 1193687"/>
                <a:gd name="connsiteY208" fmla="*/ 63552 h 93972"/>
                <a:gd name="connsiteX209" fmla="*/ 670785 w 1193687"/>
                <a:gd name="connsiteY209" fmla="*/ 56661 h 93972"/>
                <a:gd name="connsiteX210" fmla="*/ 670652 w 1193687"/>
                <a:gd name="connsiteY210" fmla="*/ 47031 h 93972"/>
                <a:gd name="connsiteX211" fmla="*/ 670785 w 1193687"/>
                <a:gd name="connsiteY211" fmla="*/ 37400 h 93972"/>
                <a:gd name="connsiteX212" fmla="*/ 671187 w 1193687"/>
                <a:gd name="connsiteY212" fmla="*/ 30513 h 93972"/>
                <a:gd name="connsiteX213" fmla="*/ 671915 w 1193687"/>
                <a:gd name="connsiteY213" fmla="*/ 25510 h 93972"/>
                <a:gd name="connsiteX214" fmla="*/ 673051 w 1193687"/>
                <a:gd name="connsiteY214" fmla="*/ 21348 h 93972"/>
                <a:gd name="connsiteX215" fmla="*/ 684495 w 1193687"/>
                <a:gd name="connsiteY215" fmla="*/ 5431 h 93972"/>
                <a:gd name="connsiteX216" fmla="*/ 723553 w 1193687"/>
                <a:gd name="connsiteY216" fmla="*/ 5431 h 93972"/>
                <a:gd name="connsiteX217" fmla="*/ 734991 w 1193687"/>
                <a:gd name="connsiteY217" fmla="*/ 21348 h 93972"/>
                <a:gd name="connsiteX218" fmla="*/ 736126 w 1193687"/>
                <a:gd name="connsiteY218" fmla="*/ 25510 h 93972"/>
                <a:gd name="connsiteX219" fmla="*/ 736864 w 1193687"/>
                <a:gd name="connsiteY219" fmla="*/ 30527 h 93972"/>
                <a:gd name="connsiteX220" fmla="*/ 737265 w 1193687"/>
                <a:gd name="connsiteY220" fmla="*/ 37415 h 93972"/>
                <a:gd name="connsiteX221" fmla="*/ 737399 w 1193687"/>
                <a:gd name="connsiteY221" fmla="*/ 47046 h 93972"/>
                <a:gd name="connsiteX222" fmla="*/ 737265 w 1193687"/>
                <a:gd name="connsiteY222" fmla="*/ 56676 h 93972"/>
                <a:gd name="connsiteX223" fmla="*/ 736864 w 1193687"/>
                <a:gd name="connsiteY223" fmla="*/ 63567 h 93972"/>
                <a:gd name="connsiteX224" fmla="*/ 736126 w 1193687"/>
                <a:gd name="connsiteY224" fmla="*/ 68584 h 93972"/>
                <a:gd name="connsiteX225" fmla="*/ 734991 w 1193687"/>
                <a:gd name="connsiteY225" fmla="*/ 72746 h 93972"/>
                <a:gd name="connsiteX226" fmla="*/ 723553 w 1193687"/>
                <a:gd name="connsiteY226" fmla="*/ 88663 h 93972"/>
                <a:gd name="connsiteX227" fmla="*/ 703958 w 1193687"/>
                <a:gd name="connsiteY227" fmla="*/ 93996 h 93972"/>
                <a:gd name="connsiteX228" fmla="*/ 703958 w 1193687"/>
                <a:gd name="connsiteY228" fmla="*/ 82894 h 93972"/>
                <a:gd name="connsiteX229" fmla="*/ 716398 w 1193687"/>
                <a:gd name="connsiteY229" fmla="*/ 79416 h 93972"/>
                <a:gd name="connsiteX230" fmla="*/ 723354 w 1193687"/>
                <a:gd name="connsiteY230" fmla="*/ 69384 h 93972"/>
                <a:gd name="connsiteX231" fmla="*/ 724091 w 1193687"/>
                <a:gd name="connsiteY231" fmla="*/ 66373 h 93972"/>
                <a:gd name="connsiteX232" fmla="*/ 724760 w 1193687"/>
                <a:gd name="connsiteY232" fmla="*/ 61893 h 93972"/>
                <a:gd name="connsiteX233" fmla="*/ 725229 w 1193687"/>
                <a:gd name="connsiteY233" fmla="*/ 55606 h 93972"/>
                <a:gd name="connsiteX234" fmla="*/ 725363 w 1193687"/>
                <a:gd name="connsiteY234" fmla="*/ 47046 h 93972"/>
                <a:gd name="connsiteX235" fmla="*/ 725229 w 1193687"/>
                <a:gd name="connsiteY235" fmla="*/ 38485 h 93972"/>
                <a:gd name="connsiteX236" fmla="*/ 724760 w 1193687"/>
                <a:gd name="connsiteY236" fmla="*/ 32198 h 93972"/>
                <a:gd name="connsiteX237" fmla="*/ 724091 w 1193687"/>
                <a:gd name="connsiteY237" fmla="*/ 27718 h 93972"/>
                <a:gd name="connsiteX238" fmla="*/ 723354 w 1193687"/>
                <a:gd name="connsiteY238" fmla="*/ 24707 h 93972"/>
                <a:gd name="connsiteX239" fmla="*/ 716398 w 1193687"/>
                <a:gd name="connsiteY239" fmla="*/ 14675 h 93972"/>
                <a:gd name="connsiteX240" fmla="*/ 703958 w 1193687"/>
                <a:gd name="connsiteY240" fmla="*/ 11197 h 93972"/>
                <a:gd name="connsiteX241" fmla="*/ 691584 w 1193687"/>
                <a:gd name="connsiteY241" fmla="*/ 14675 h 93972"/>
                <a:gd name="connsiteX242" fmla="*/ 684697 w 1193687"/>
                <a:gd name="connsiteY242" fmla="*/ 24707 h 93972"/>
                <a:gd name="connsiteX243" fmla="*/ 683962 w 1193687"/>
                <a:gd name="connsiteY243" fmla="*/ 27718 h 93972"/>
                <a:gd name="connsiteX244" fmla="*/ 683294 w 1193687"/>
                <a:gd name="connsiteY244" fmla="*/ 32198 h 93972"/>
                <a:gd name="connsiteX245" fmla="*/ 682824 w 1193687"/>
                <a:gd name="connsiteY245" fmla="*/ 38485 h 93972"/>
                <a:gd name="connsiteX246" fmla="*/ 682690 w 1193687"/>
                <a:gd name="connsiteY246" fmla="*/ 47046 h 93972"/>
                <a:gd name="connsiteX247" fmla="*/ 682824 w 1193687"/>
                <a:gd name="connsiteY247" fmla="*/ 55606 h 93972"/>
                <a:gd name="connsiteX248" fmla="*/ 683294 w 1193687"/>
                <a:gd name="connsiteY248" fmla="*/ 61893 h 93972"/>
                <a:gd name="connsiteX249" fmla="*/ 683962 w 1193687"/>
                <a:gd name="connsiteY249" fmla="*/ 66373 h 93972"/>
                <a:gd name="connsiteX250" fmla="*/ 684697 w 1193687"/>
                <a:gd name="connsiteY250" fmla="*/ 69384 h 93972"/>
                <a:gd name="connsiteX251" fmla="*/ 691584 w 1193687"/>
                <a:gd name="connsiteY251" fmla="*/ 79416 h 93972"/>
                <a:gd name="connsiteX252" fmla="*/ 703958 w 1193687"/>
                <a:gd name="connsiteY252" fmla="*/ 82894 h 93972"/>
                <a:gd name="connsiteX253" fmla="*/ 755858 w 1193687"/>
                <a:gd name="connsiteY253" fmla="*/ 72728 h 93972"/>
                <a:gd name="connsiteX254" fmla="*/ 754788 w 1193687"/>
                <a:gd name="connsiteY254" fmla="*/ 68566 h 93972"/>
                <a:gd name="connsiteX255" fmla="*/ 754053 w 1193687"/>
                <a:gd name="connsiteY255" fmla="*/ 63552 h 93972"/>
                <a:gd name="connsiteX256" fmla="*/ 753584 w 1193687"/>
                <a:gd name="connsiteY256" fmla="*/ 56661 h 93972"/>
                <a:gd name="connsiteX257" fmla="*/ 753450 w 1193687"/>
                <a:gd name="connsiteY257" fmla="*/ 47031 h 93972"/>
                <a:gd name="connsiteX258" fmla="*/ 753584 w 1193687"/>
                <a:gd name="connsiteY258" fmla="*/ 37400 h 93972"/>
                <a:gd name="connsiteX259" fmla="*/ 754053 w 1193687"/>
                <a:gd name="connsiteY259" fmla="*/ 30513 h 93972"/>
                <a:gd name="connsiteX260" fmla="*/ 754788 w 1193687"/>
                <a:gd name="connsiteY260" fmla="*/ 25498 h 93972"/>
                <a:gd name="connsiteX261" fmla="*/ 755858 w 1193687"/>
                <a:gd name="connsiteY261" fmla="*/ 21337 h 93972"/>
                <a:gd name="connsiteX262" fmla="*/ 767361 w 1193687"/>
                <a:gd name="connsiteY262" fmla="*/ 5431 h 93972"/>
                <a:gd name="connsiteX263" fmla="*/ 787024 w 1193687"/>
                <a:gd name="connsiteY263" fmla="*/ 80 h 93972"/>
                <a:gd name="connsiteX264" fmla="*/ 797859 w 1193687"/>
                <a:gd name="connsiteY264" fmla="*/ 1483 h 93972"/>
                <a:gd name="connsiteX265" fmla="*/ 806420 w 1193687"/>
                <a:gd name="connsiteY265" fmla="*/ 5362 h 93972"/>
                <a:gd name="connsiteX266" fmla="*/ 812840 w 1193687"/>
                <a:gd name="connsiteY266" fmla="*/ 11114 h 93972"/>
                <a:gd name="connsiteX267" fmla="*/ 817254 w 1193687"/>
                <a:gd name="connsiteY267" fmla="*/ 18135 h 93972"/>
                <a:gd name="connsiteX268" fmla="*/ 817061 w 1193687"/>
                <a:gd name="connsiteY268" fmla="*/ 19873 h 93972"/>
                <a:gd name="connsiteX269" fmla="*/ 816853 w 1193687"/>
                <a:gd name="connsiteY269" fmla="*/ 20008 h 93972"/>
                <a:gd name="connsiteX270" fmla="*/ 808827 w 1193687"/>
                <a:gd name="connsiteY270" fmla="*/ 23872 h 93972"/>
                <a:gd name="connsiteX271" fmla="*/ 806955 w 1193687"/>
                <a:gd name="connsiteY271" fmla="*/ 23203 h 93972"/>
                <a:gd name="connsiteX272" fmla="*/ 798929 w 1193687"/>
                <a:gd name="connsiteY272" fmla="*/ 14107 h 93972"/>
                <a:gd name="connsiteX273" fmla="*/ 787039 w 1193687"/>
                <a:gd name="connsiteY273" fmla="*/ 11165 h 93972"/>
                <a:gd name="connsiteX274" fmla="*/ 774397 w 1193687"/>
                <a:gd name="connsiteY274" fmla="*/ 14643 h 93972"/>
                <a:gd name="connsiteX275" fmla="*/ 767373 w 1193687"/>
                <a:gd name="connsiteY275" fmla="*/ 24675 h 93972"/>
                <a:gd name="connsiteX276" fmla="*/ 766571 w 1193687"/>
                <a:gd name="connsiteY276" fmla="*/ 27617 h 93972"/>
                <a:gd name="connsiteX277" fmla="*/ 765976 w 1193687"/>
                <a:gd name="connsiteY277" fmla="*/ 31898 h 93972"/>
                <a:gd name="connsiteX278" fmla="*/ 765643 w 1193687"/>
                <a:gd name="connsiteY278" fmla="*/ 38116 h 93972"/>
                <a:gd name="connsiteX279" fmla="*/ 765489 w 1193687"/>
                <a:gd name="connsiteY279" fmla="*/ 47046 h 93972"/>
                <a:gd name="connsiteX280" fmla="*/ 765622 w 1193687"/>
                <a:gd name="connsiteY280" fmla="*/ 55942 h 93972"/>
                <a:gd name="connsiteX281" fmla="*/ 765955 w 1193687"/>
                <a:gd name="connsiteY281" fmla="*/ 62161 h 93972"/>
                <a:gd name="connsiteX282" fmla="*/ 766550 w 1193687"/>
                <a:gd name="connsiteY282" fmla="*/ 66441 h 93972"/>
                <a:gd name="connsiteX283" fmla="*/ 767352 w 1193687"/>
                <a:gd name="connsiteY283" fmla="*/ 69384 h 93972"/>
                <a:gd name="connsiteX284" fmla="*/ 774376 w 1193687"/>
                <a:gd name="connsiteY284" fmla="*/ 79416 h 93972"/>
                <a:gd name="connsiteX285" fmla="*/ 787018 w 1193687"/>
                <a:gd name="connsiteY285" fmla="*/ 82894 h 93972"/>
                <a:gd name="connsiteX286" fmla="*/ 799205 w 1193687"/>
                <a:gd name="connsiteY286" fmla="*/ 79550 h 93972"/>
                <a:gd name="connsiteX287" fmla="*/ 806562 w 1193687"/>
                <a:gd name="connsiteY287" fmla="*/ 69785 h 93972"/>
                <a:gd name="connsiteX288" fmla="*/ 807751 w 1193687"/>
                <a:gd name="connsiteY288" fmla="*/ 64033 h 93972"/>
                <a:gd name="connsiteX289" fmla="*/ 808286 w 1193687"/>
                <a:gd name="connsiteY289" fmla="*/ 55472 h 93972"/>
                <a:gd name="connsiteX290" fmla="*/ 807683 w 1193687"/>
                <a:gd name="connsiteY290" fmla="*/ 54670 h 93972"/>
                <a:gd name="connsiteX291" fmla="*/ 807484 w 1193687"/>
                <a:gd name="connsiteY291" fmla="*/ 54670 h 93972"/>
                <a:gd name="connsiteX292" fmla="*/ 789827 w 1193687"/>
                <a:gd name="connsiteY292" fmla="*/ 54670 h 93972"/>
                <a:gd name="connsiteX293" fmla="*/ 788490 w 1193687"/>
                <a:gd name="connsiteY293" fmla="*/ 53651 h 93972"/>
                <a:gd name="connsiteX294" fmla="*/ 788490 w 1193687"/>
                <a:gd name="connsiteY294" fmla="*/ 53332 h 93972"/>
                <a:gd name="connsiteX295" fmla="*/ 788490 w 1193687"/>
                <a:gd name="connsiteY295" fmla="*/ 45559 h 93972"/>
                <a:gd name="connsiteX296" fmla="*/ 789509 w 1193687"/>
                <a:gd name="connsiteY296" fmla="*/ 44222 h 93972"/>
                <a:gd name="connsiteX297" fmla="*/ 789827 w 1193687"/>
                <a:gd name="connsiteY297" fmla="*/ 44222 h 93972"/>
                <a:gd name="connsiteX298" fmla="*/ 818854 w 1193687"/>
                <a:gd name="connsiteY298" fmla="*/ 44222 h 93972"/>
                <a:gd name="connsiteX299" fmla="*/ 820191 w 1193687"/>
                <a:gd name="connsiteY299" fmla="*/ 45241 h 93972"/>
                <a:gd name="connsiteX300" fmla="*/ 820191 w 1193687"/>
                <a:gd name="connsiteY300" fmla="*/ 45559 h 93972"/>
                <a:gd name="connsiteX301" fmla="*/ 820191 w 1193687"/>
                <a:gd name="connsiteY301" fmla="*/ 52396 h 93972"/>
                <a:gd name="connsiteX302" fmla="*/ 819597 w 1193687"/>
                <a:gd name="connsiteY302" fmla="*/ 63831 h 93972"/>
                <a:gd name="connsiteX303" fmla="*/ 817926 w 1193687"/>
                <a:gd name="connsiteY303" fmla="*/ 72451 h 93972"/>
                <a:gd name="connsiteX304" fmla="*/ 806488 w 1193687"/>
                <a:gd name="connsiteY304" fmla="*/ 88434 h 93972"/>
                <a:gd name="connsiteX305" fmla="*/ 787027 w 1193687"/>
                <a:gd name="connsiteY305" fmla="*/ 93987 h 93972"/>
                <a:gd name="connsiteX306" fmla="*/ 767364 w 1193687"/>
                <a:gd name="connsiteY306" fmla="*/ 88636 h 93972"/>
                <a:gd name="connsiteX307" fmla="*/ 755858 w 1193687"/>
                <a:gd name="connsiteY307" fmla="*/ 72728 h 93972"/>
                <a:gd name="connsiteX308" fmla="*/ 839459 w 1193687"/>
                <a:gd name="connsiteY308" fmla="*/ 2904 h 93972"/>
                <a:gd name="connsiteX309" fmla="*/ 840478 w 1193687"/>
                <a:gd name="connsiteY309" fmla="*/ 1567 h 93972"/>
                <a:gd name="connsiteX310" fmla="*/ 840796 w 1193687"/>
                <a:gd name="connsiteY310" fmla="*/ 1567 h 93972"/>
                <a:gd name="connsiteX311" fmla="*/ 850011 w 1193687"/>
                <a:gd name="connsiteY311" fmla="*/ 1567 h 93972"/>
                <a:gd name="connsiteX312" fmla="*/ 851349 w 1193687"/>
                <a:gd name="connsiteY312" fmla="*/ 2586 h 93972"/>
                <a:gd name="connsiteX313" fmla="*/ 851349 w 1193687"/>
                <a:gd name="connsiteY313" fmla="*/ 2904 h 93972"/>
                <a:gd name="connsiteX314" fmla="*/ 851349 w 1193687"/>
                <a:gd name="connsiteY314" fmla="*/ 91187 h 93972"/>
                <a:gd name="connsiteX315" fmla="*/ 850329 w 1193687"/>
                <a:gd name="connsiteY315" fmla="*/ 92524 h 93972"/>
                <a:gd name="connsiteX316" fmla="*/ 850011 w 1193687"/>
                <a:gd name="connsiteY316" fmla="*/ 92524 h 93972"/>
                <a:gd name="connsiteX317" fmla="*/ 840796 w 1193687"/>
                <a:gd name="connsiteY317" fmla="*/ 92524 h 93972"/>
                <a:gd name="connsiteX318" fmla="*/ 839459 w 1193687"/>
                <a:gd name="connsiteY318" fmla="*/ 91505 h 93972"/>
                <a:gd name="connsiteX319" fmla="*/ 839459 w 1193687"/>
                <a:gd name="connsiteY319" fmla="*/ 91187 h 93972"/>
                <a:gd name="connsiteX320" fmla="*/ 901390 w 1193687"/>
                <a:gd name="connsiteY320" fmla="*/ 93996 h 93972"/>
                <a:gd name="connsiteX321" fmla="*/ 891893 w 1193687"/>
                <a:gd name="connsiteY321" fmla="*/ 93059 h 93972"/>
                <a:gd name="connsiteX322" fmla="*/ 883065 w 1193687"/>
                <a:gd name="connsiteY322" fmla="*/ 90583 h 93972"/>
                <a:gd name="connsiteX323" fmla="*/ 875441 w 1193687"/>
                <a:gd name="connsiteY323" fmla="*/ 86972 h 93972"/>
                <a:gd name="connsiteX324" fmla="*/ 869421 w 1193687"/>
                <a:gd name="connsiteY324" fmla="*/ 82626 h 93972"/>
                <a:gd name="connsiteX325" fmla="*/ 869225 w 1193687"/>
                <a:gd name="connsiteY325" fmla="*/ 80689 h 93972"/>
                <a:gd name="connsiteX326" fmla="*/ 869288 w 1193687"/>
                <a:gd name="connsiteY326" fmla="*/ 80620 h 93972"/>
                <a:gd name="connsiteX327" fmla="*/ 875173 w 1193687"/>
                <a:gd name="connsiteY327" fmla="*/ 73664 h 93972"/>
                <a:gd name="connsiteX328" fmla="*/ 876882 w 1193687"/>
                <a:gd name="connsiteY328" fmla="*/ 73389 h 93972"/>
                <a:gd name="connsiteX329" fmla="*/ 877046 w 1193687"/>
                <a:gd name="connsiteY329" fmla="*/ 73530 h 93972"/>
                <a:gd name="connsiteX330" fmla="*/ 888014 w 1193687"/>
                <a:gd name="connsiteY330" fmla="*/ 79951 h 93972"/>
                <a:gd name="connsiteX331" fmla="*/ 902460 w 1193687"/>
                <a:gd name="connsiteY331" fmla="*/ 82894 h 93972"/>
                <a:gd name="connsiteX332" fmla="*/ 917242 w 1193687"/>
                <a:gd name="connsiteY332" fmla="*/ 78613 h 93972"/>
                <a:gd name="connsiteX333" fmla="*/ 922525 w 1193687"/>
                <a:gd name="connsiteY333" fmla="*/ 67377 h 93972"/>
                <a:gd name="connsiteX334" fmla="*/ 921588 w 1193687"/>
                <a:gd name="connsiteY334" fmla="*/ 62027 h 93972"/>
                <a:gd name="connsiteX335" fmla="*/ 918446 w 1193687"/>
                <a:gd name="connsiteY335" fmla="*/ 57746 h 93972"/>
                <a:gd name="connsiteX336" fmla="*/ 912626 w 1193687"/>
                <a:gd name="connsiteY336" fmla="*/ 54536 h 93972"/>
                <a:gd name="connsiteX337" fmla="*/ 903531 w 1193687"/>
                <a:gd name="connsiteY337" fmla="*/ 52530 h 93972"/>
                <a:gd name="connsiteX338" fmla="*/ 898983 w 1193687"/>
                <a:gd name="connsiteY338" fmla="*/ 51861 h 93972"/>
                <a:gd name="connsiteX339" fmla="*/ 872230 w 1193687"/>
                <a:gd name="connsiteY339" fmla="*/ 26714 h 93972"/>
                <a:gd name="connsiteX340" fmla="*/ 874311 w 1193687"/>
                <a:gd name="connsiteY340" fmla="*/ 15745 h 93972"/>
                <a:gd name="connsiteX341" fmla="*/ 880256 w 1193687"/>
                <a:gd name="connsiteY341" fmla="*/ 7318 h 93972"/>
                <a:gd name="connsiteX342" fmla="*/ 889619 w 1193687"/>
                <a:gd name="connsiteY342" fmla="*/ 1968 h 93972"/>
                <a:gd name="connsiteX343" fmla="*/ 901925 w 1193687"/>
                <a:gd name="connsiteY343" fmla="*/ 95 h 93972"/>
                <a:gd name="connsiteX344" fmla="*/ 917240 w 1193687"/>
                <a:gd name="connsiteY344" fmla="*/ 2435 h 93972"/>
                <a:gd name="connsiteX345" fmla="*/ 929629 w 1193687"/>
                <a:gd name="connsiteY345" fmla="*/ 8522 h 93972"/>
                <a:gd name="connsiteX346" fmla="*/ 930087 w 1193687"/>
                <a:gd name="connsiteY346" fmla="*/ 10140 h 93972"/>
                <a:gd name="connsiteX347" fmla="*/ 929896 w 1193687"/>
                <a:gd name="connsiteY347" fmla="*/ 10395 h 93972"/>
                <a:gd name="connsiteX348" fmla="*/ 925348 w 1193687"/>
                <a:gd name="connsiteY348" fmla="*/ 17752 h 93972"/>
                <a:gd name="connsiteX349" fmla="*/ 923532 w 1193687"/>
                <a:gd name="connsiteY349" fmla="*/ 18063 h 93972"/>
                <a:gd name="connsiteX350" fmla="*/ 923476 w 1193687"/>
                <a:gd name="connsiteY350" fmla="*/ 18019 h 93972"/>
                <a:gd name="connsiteX351" fmla="*/ 912626 w 1193687"/>
                <a:gd name="connsiteY351" fmla="*/ 12862 h 93972"/>
                <a:gd name="connsiteX352" fmla="*/ 901524 w 1193687"/>
                <a:gd name="connsiteY352" fmla="*/ 11191 h 93972"/>
                <a:gd name="connsiteX353" fmla="*/ 888683 w 1193687"/>
                <a:gd name="connsiteY353" fmla="*/ 15270 h 93972"/>
                <a:gd name="connsiteX354" fmla="*/ 884269 w 1193687"/>
                <a:gd name="connsiteY354" fmla="*/ 25902 h 93972"/>
                <a:gd name="connsiteX355" fmla="*/ 888549 w 1193687"/>
                <a:gd name="connsiteY355" fmla="*/ 35331 h 93972"/>
                <a:gd name="connsiteX356" fmla="*/ 903397 w 1193687"/>
                <a:gd name="connsiteY356" fmla="*/ 40482 h 93972"/>
                <a:gd name="connsiteX357" fmla="*/ 907811 w 1193687"/>
                <a:gd name="connsiteY357" fmla="*/ 41151 h 93972"/>
                <a:gd name="connsiteX358" fmla="*/ 927875 w 1193687"/>
                <a:gd name="connsiteY358" fmla="*/ 49177 h 93972"/>
                <a:gd name="connsiteX359" fmla="*/ 934563 w 1193687"/>
                <a:gd name="connsiteY359" fmla="*/ 66566 h 93972"/>
                <a:gd name="connsiteX360" fmla="*/ 932482 w 1193687"/>
                <a:gd name="connsiteY360" fmla="*/ 77600 h 93972"/>
                <a:gd name="connsiteX361" fmla="*/ 926196 w 1193687"/>
                <a:gd name="connsiteY361" fmla="*/ 86220 h 93972"/>
                <a:gd name="connsiteX362" fmla="*/ 915762 w 1193687"/>
                <a:gd name="connsiteY362" fmla="*/ 91906 h 93972"/>
                <a:gd name="connsiteX363" fmla="*/ 901390 w 1193687"/>
                <a:gd name="connsiteY363" fmla="*/ 93996 h 93972"/>
                <a:gd name="connsiteX364" fmla="*/ 971348 w 1193687"/>
                <a:gd name="connsiteY364" fmla="*/ 92524 h 93972"/>
                <a:gd name="connsiteX365" fmla="*/ 970010 w 1193687"/>
                <a:gd name="connsiteY365" fmla="*/ 91505 h 93972"/>
                <a:gd name="connsiteX366" fmla="*/ 970010 w 1193687"/>
                <a:gd name="connsiteY366" fmla="*/ 91187 h 93972"/>
                <a:gd name="connsiteX367" fmla="*/ 970010 w 1193687"/>
                <a:gd name="connsiteY367" fmla="*/ 13457 h 93972"/>
                <a:gd name="connsiteX368" fmla="*/ 969407 w 1193687"/>
                <a:gd name="connsiteY368" fmla="*/ 12654 h 93972"/>
                <a:gd name="connsiteX369" fmla="*/ 969207 w 1193687"/>
                <a:gd name="connsiteY369" fmla="*/ 12654 h 93972"/>
                <a:gd name="connsiteX370" fmla="*/ 944328 w 1193687"/>
                <a:gd name="connsiteY370" fmla="*/ 12654 h 93972"/>
                <a:gd name="connsiteX371" fmla="*/ 942990 w 1193687"/>
                <a:gd name="connsiteY371" fmla="*/ 11635 h 93972"/>
                <a:gd name="connsiteX372" fmla="*/ 942990 w 1193687"/>
                <a:gd name="connsiteY372" fmla="*/ 11316 h 93972"/>
                <a:gd name="connsiteX373" fmla="*/ 942990 w 1193687"/>
                <a:gd name="connsiteY373" fmla="*/ 2904 h 93972"/>
                <a:gd name="connsiteX374" fmla="*/ 944010 w 1193687"/>
                <a:gd name="connsiteY374" fmla="*/ 1567 h 93972"/>
                <a:gd name="connsiteX375" fmla="*/ 944328 w 1193687"/>
                <a:gd name="connsiteY375" fmla="*/ 1567 h 93972"/>
                <a:gd name="connsiteX376" fmla="*/ 1007597 w 1193687"/>
                <a:gd name="connsiteY376" fmla="*/ 1567 h 93972"/>
                <a:gd name="connsiteX377" fmla="*/ 1008935 w 1193687"/>
                <a:gd name="connsiteY377" fmla="*/ 2586 h 93972"/>
                <a:gd name="connsiteX378" fmla="*/ 1008935 w 1193687"/>
                <a:gd name="connsiteY378" fmla="*/ 2904 h 93972"/>
                <a:gd name="connsiteX379" fmla="*/ 1008935 w 1193687"/>
                <a:gd name="connsiteY379" fmla="*/ 11331 h 93972"/>
                <a:gd name="connsiteX380" fmla="*/ 1007915 w 1193687"/>
                <a:gd name="connsiteY380" fmla="*/ 12669 h 93972"/>
                <a:gd name="connsiteX381" fmla="*/ 1007597 w 1193687"/>
                <a:gd name="connsiteY381" fmla="*/ 12669 h 93972"/>
                <a:gd name="connsiteX382" fmla="*/ 982717 w 1193687"/>
                <a:gd name="connsiteY382" fmla="*/ 12669 h 93972"/>
                <a:gd name="connsiteX383" fmla="*/ 981915 w 1193687"/>
                <a:gd name="connsiteY383" fmla="*/ 13273 h 93972"/>
                <a:gd name="connsiteX384" fmla="*/ 981915 w 1193687"/>
                <a:gd name="connsiteY384" fmla="*/ 13471 h 93972"/>
                <a:gd name="connsiteX385" fmla="*/ 981915 w 1193687"/>
                <a:gd name="connsiteY385" fmla="*/ 91187 h 93972"/>
                <a:gd name="connsiteX386" fmla="*/ 980895 w 1193687"/>
                <a:gd name="connsiteY386" fmla="*/ 92524 h 93972"/>
                <a:gd name="connsiteX387" fmla="*/ 980577 w 1193687"/>
                <a:gd name="connsiteY387" fmla="*/ 92524 h 93972"/>
                <a:gd name="connsiteX388" fmla="*/ 1023113 w 1193687"/>
                <a:gd name="connsiteY388" fmla="*/ 2904 h 93972"/>
                <a:gd name="connsiteX389" fmla="*/ 1024133 w 1193687"/>
                <a:gd name="connsiteY389" fmla="*/ 1567 h 93972"/>
                <a:gd name="connsiteX390" fmla="*/ 1024451 w 1193687"/>
                <a:gd name="connsiteY390" fmla="*/ 1567 h 93972"/>
                <a:gd name="connsiteX391" fmla="*/ 1033666 w 1193687"/>
                <a:gd name="connsiteY391" fmla="*/ 1567 h 93972"/>
                <a:gd name="connsiteX392" fmla="*/ 1035003 w 1193687"/>
                <a:gd name="connsiteY392" fmla="*/ 2586 h 93972"/>
                <a:gd name="connsiteX393" fmla="*/ 1035003 w 1193687"/>
                <a:gd name="connsiteY393" fmla="*/ 2904 h 93972"/>
                <a:gd name="connsiteX394" fmla="*/ 1035003 w 1193687"/>
                <a:gd name="connsiteY394" fmla="*/ 91187 h 93972"/>
                <a:gd name="connsiteX395" fmla="*/ 1033984 w 1193687"/>
                <a:gd name="connsiteY395" fmla="*/ 92524 h 93972"/>
                <a:gd name="connsiteX396" fmla="*/ 1033666 w 1193687"/>
                <a:gd name="connsiteY396" fmla="*/ 92524 h 93972"/>
                <a:gd name="connsiteX397" fmla="*/ 1024451 w 1193687"/>
                <a:gd name="connsiteY397" fmla="*/ 92524 h 93972"/>
                <a:gd name="connsiteX398" fmla="*/ 1023113 w 1193687"/>
                <a:gd name="connsiteY398" fmla="*/ 91505 h 93972"/>
                <a:gd name="connsiteX399" fmla="*/ 1023113 w 1193687"/>
                <a:gd name="connsiteY399" fmla="*/ 91187 h 93972"/>
                <a:gd name="connsiteX400" fmla="*/ 1056702 w 1193687"/>
                <a:gd name="connsiteY400" fmla="*/ 72594 h 93972"/>
                <a:gd name="connsiteX401" fmla="*/ 1055564 w 1193687"/>
                <a:gd name="connsiteY401" fmla="*/ 68516 h 93972"/>
                <a:gd name="connsiteX402" fmla="*/ 1054830 w 1193687"/>
                <a:gd name="connsiteY402" fmla="*/ 63567 h 93972"/>
                <a:gd name="connsiteX403" fmla="*/ 1054428 w 1193687"/>
                <a:gd name="connsiteY403" fmla="*/ 56676 h 93972"/>
                <a:gd name="connsiteX404" fmla="*/ 1054295 w 1193687"/>
                <a:gd name="connsiteY404" fmla="*/ 47046 h 93972"/>
                <a:gd name="connsiteX405" fmla="*/ 1054428 w 1193687"/>
                <a:gd name="connsiteY405" fmla="*/ 37415 h 93972"/>
                <a:gd name="connsiteX406" fmla="*/ 1054830 w 1193687"/>
                <a:gd name="connsiteY406" fmla="*/ 30527 h 93972"/>
                <a:gd name="connsiteX407" fmla="*/ 1055564 w 1193687"/>
                <a:gd name="connsiteY407" fmla="*/ 25578 h 93972"/>
                <a:gd name="connsiteX408" fmla="*/ 1056702 w 1193687"/>
                <a:gd name="connsiteY408" fmla="*/ 21500 h 93972"/>
                <a:gd name="connsiteX409" fmla="*/ 1067938 w 1193687"/>
                <a:gd name="connsiteY409" fmla="*/ 5383 h 93972"/>
                <a:gd name="connsiteX410" fmla="*/ 1086932 w 1193687"/>
                <a:gd name="connsiteY410" fmla="*/ 98 h 93972"/>
                <a:gd name="connsiteX411" fmla="*/ 1104654 w 1193687"/>
                <a:gd name="connsiteY411" fmla="*/ 4854 h 93972"/>
                <a:gd name="connsiteX412" fmla="*/ 1116092 w 1193687"/>
                <a:gd name="connsiteY412" fmla="*/ 18429 h 93972"/>
                <a:gd name="connsiteX413" fmla="*/ 1115557 w 1193687"/>
                <a:gd name="connsiteY413" fmla="*/ 20168 h 93972"/>
                <a:gd name="connsiteX414" fmla="*/ 1107532 w 1193687"/>
                <a:gd name="connsiteY414" fmla="*/ 24047 h 93972"/>
                <a:gd name="connsiteX415" fmla="*/ 1105867 w 1193687"/>
                <a:gd name="connsiteY415" fmla="*/ 23816 h 93972"/>
                <a:gd name="connsiteX416" fmla="*/ 1105659 w 1193687"/>
                <a:gd name="connsiteY416" fmla="*/ 23379 h 93972"/>
                <a:gd name="connsiteX417" fmla="*/ 1098570 w 1193687"/>
                <a:gd name="connsiteY417" fmla="*/ 14619 h 93972"/>
                <a:gd name="connsiteX418" fmla="*/ 1086932 w 1193687"/>
                <a:gd name="connsiteY418" fmla="*/ 11209 h 93972"/>
                <a:gd name="connsiteX419" fmla="*/ 1074894 w 1193687"/>
                <a:gd name="connsiteY419" fmla="*/ 14687 h 93972"/>
                <a:gd name="connsiteX420" fmla="*/ 1068057 w 1193687"/>
                <a:gd name="connsiteY420" fmla="*/ 24585 h 93972"/>
                <a:gd name="connsiteX421" fmla="*/ 1067323 w 1193687"/>
                <a:gd name="connsiteY421" fmla="*/ 27730 h 93972"/>
                <a:gd name="connsiteX422" fmla="*/ 1066788 w 1193687"/>
                <a:gd name="connsiteY422" fmla="*/ 31892 h 93972"/>
                <a:gd name="connsiteX423" fmla="*/ 1066455 w 1193687"/>
                <a:gd name="connsiteY423" fmla="*/ 38045 h 93972"/>
                <a:gd name="connsiteX424" fmla="*/ 1066321 w 1193687"/>
                <a:gd name="connsiteY424" fmla="*/ 47075 h 93972"/>
                <a:gd name="connsiteX425" fmla="*/ 1066455 w 1193687"/>
                <a:gd name="connsiteY425" fmla="*/ 56103 h 93972"/>
                <a:gd name="connsiteX426" fmla="*/ 1066788 w 1193687"/>
                <a:gd name="connsiteY426" fmla="*/ 62256 h 93972"/>
                <a:gd name="connsiteX427" fmla="*/ 1067323 w 1193687"/>
                <a:gd name="connsiteY427" fmla="*/ 66471 h 93972"/>
                <a:gd name="connsiteX428" fmla="*/ 1068057 w 1193687"/>
                <a:gd name="connsiteY428" fmla="*/ 69547 h 93972"/>
                <a:gd name="connsiteX429" fmla="*/ 1074894 w 1193687"/>
                <a:gd name="connsiteY429" fmla="*/ 79446 h 93972"/>
                <a:gd name="connsiteX430" fmla="*/ 1086932 w 1193687"/>
                <a:gd name="connsiteY430" fmla="*/ 82923 h 93972"/>
                <a:gd name="connsiteX431" fmla="*/ 1098570 w 1193687"/>
                <a:gd name="connsiteY431" fmla="*/ 79511 h 93972"/>
                <a:gd name="connsiteX432" fmla="*/ 1105659 w 1193687"/>
                <a:gd name="connsiteY432" fmla="*/ 70751 h 93972"/>
                <a:gd name="connsiteX433" fmla="*/ 1107095 w 1193687"/>
                <a:gd name="connsiteY433" fmla="*/ 69875 h 93972"/>
                <a:gd name="connsiteX434" fmla="*/ 1107532 w 1193687"/>
                <a:gd name="connsiteY434" fmla="*/ 70082 h 93972"/>
                <a:gd name="connsiteX435" fmla="*/ 1115557 w 1193687"/>
                <a:gd name="connsiteY435" fmla="*/ 73946 h 93972"/>
                <a:gd name="connsiteX436" fmla="*/ 1116092 w 1193687"/>
                <a:gd name="connsiteY436" fmla="*/ 75685 h 93972"/>
                <a:gd name="connsiteX437" fmla="*/ 1104654 w 1193687"/>
                <a:gd name="connsiteY437" fmla="*/ 89261 h 93972"/>
                <a:gd name="connsiteX438" fmla="*/ 1086932 w 1193687"/>
                <a:gd name="connsiteY438" fmla="*/ 94017 h 93972"/>
                <a:gd name="connsiteX439" fmla="*/ 1067938 w 1193687"/>
                <a:gd name="connsiteY439" fmla="*/ 88732 h 93972"/>
                <a:gd name="connsiteX440" fmla="*/ 1056687 w 1193687"/>
                <a:gd name="connsiteY440" fmla="*/ 72609 h 93972"/>
                <a:gd name="connsiteX441" fmla="*/ 1160769 w 1193687"/>
                <a:gd name="connsiteY441" fmla="*/ 93996 h 93972"/>
                <a:gd name="connsiteX442" fmla="*/ 1151272 w 1193687"/>
                <a:gd name="connsiteY442" fmla="*/ 93059 h 93972"/>
                <a:gd name="connsiteX443" fmla="*/ 1142443 w 1193687"/>
                <a:gd name="connsiteY443" fmla="*/ 90583 h 93972"/>
                <a:gd name="connsiteX444" fmla="*/ 1134819 w 1193687"/>
                <a:gd name="connsiteY444" fmla="*/ 86972 h 93972"/>
                <a:gd name="connsiteX445" fmla="*/ 1128785 w 1193687"/>
                <a:gd name="connsiteY445" fmla="*/ 82626 h 93972"/>
                <a:gd name="connsiteX446" fmla="*/ 1128589 w 1193687"/>
                <a:gd name="connsiteY446" fmla="*/ 80689 h 93972"/>
                <a:gd name="connsiteX447" fmla="*/ 1128651 w 1193687"/>
                <a:gd name="connsiteY447" fmla="*/ 80620 h 93972"/>
                <a:gd name="connsiteX448" fmla="*/ 1134537 w 1193687"/>
                <a:gd name="connsiteY448" fmla="*/ 73664 h 93972"/>
                <a:gd name="connsiteX449" fmla="*/ 1136246 w 1193687"/>
                <a:gd name="connsiteY449" fmla="*/ 73389 h 93972"/>
                <a:gd name="connsiteX450" fmla="*/ 1136409 w 1193687"/>
                <a:gd name="connsiteY450" fmla="*/ 73530 h 93972"/>
                <a:gd name="connsiteX451" fmla="*/ 1147378 w 1193687"/>
                <a:gd name="connsiteY451" fmla="*/ 79951 h 93972"/>
                <a:gd name="connsiteX452" fmla="*/ 1161824 w 1193687"/>
                <a:gd name="connsiteY452" fmla="*/ 82894 h 93972"/>
                <a:gd name="connsiteX453" fmla="*/ 1176606 w 1193687"/>
                <a:gd name="connsiteY453" fmla="*/ 78613 h 93972"/>
                <a:gd name="connsiteX454" fmla="*/ 1181888 w 1193687"/>
                <a:gd name="connsiteY454" fmla="*/ 67377 h 93972"/>
                <a:gd name="connsiteX455" fmla="*/ 1180952 w 1193687"/>
                <a:gd name="connsiteY455" fmla="*/ 62027 h 93972"/>
                <a:gd name="connsiteX456" fmla="*/ 1177810 w 1193687"/>
                <a:gd name="connsiteY456" fmla="*/ 57746 h 93972"/>
                <a:gd name="connsiteX457" fmla="*/ 1171990 w 1193687"/>
                <a:gd name="connsiteY457" fmla="*/ 54536 h 93972"/>
                <a:gd name="connsiteX458" fmla="*/ 1162894 w 1193687"/>
                <a:gd name="connsiteY458" fmla="*/ 52530 h 93972"/>
                <a:gd name="connsiteX459" fmla="*/ 1158346 w 1193687"/>
                <a:gd name="connsiteY459" fmla="*/ 51861 h 93972"/>
                <a:gd name="connsiteX460" fmla="*/ 1131594 w 1193687"/>
                <a:gd name="connsiteY460" fmla="*/ 26714 h 93972"/>
                <a:gd name="connsiteX461" fmla="*/ 1133675 w 1193687"/>
                <a:gd name="connsiteY461" fmla="*/ 15745 h 93972"/>
                <a:gd name="connsiteX462" fmla="*/ 1139620 w 1193687"/>
                <a:gd name="connsiteY462" fmla="*/ 7318 h 93972"/>
                <a:gd name="connsiteX463" fmla="*/ 1148983 w 1193687"/>
                <a:gd name="connsiteY463" fmla="*/ 1968 h 93972"/>
                <a:gd name="connsiteX464" fmla="*/ 1161289 w 1193687"/>
                <a:gd name="connsiteY464" fmla="*/ 95 h 93972"/>
                <a:gd name="connsiteX465" fmla="*/ 1176603 w 1193687"/>
                <a:gd name="connsiteY465" fmla="*/ 2435 h 93972"/>
                <a:gd name="connsiteX466" fmla="*/ 1188978 w 1193687"/>
                <a:gd name="connsiteY466" fmla="*/ 8522 h 93972"/>
                <a:gd name="connsiteX467" fmla="*/ 1189435 w 1193687"/>
                <a:gd name="connsiteY467" fmla="*/ 10140 h 93972"/>
                <a:gd name="connsiteX468" fmla="*/ 1189245 w 1193687"/>
                <a:gd name="connsiteY468" fmla="*/ 10395 h 93972"/>
                <a:gd name="connsiteX469" fmla="*/ 1184697 w 1193687"/>
                <a:gd name="connsiteY469" fmla="*/ 17752 h 93972"/>
                <a:gd name="connsiteX470" fmla="*/ 1182881 w 1193687"/>
                <a:gd name="connsiteY470" fmla="*/ 18063 h 93972"/>
                <a:gd name="connsiteX471" fmla="*/ 1182825 w 1193687"/>
                <a:gd name="connsiteY471" fmla="*/ 18019 h 93972"/>
                <a:gd name="connsiteX472" fmla="*/ 1171990 w 1193687"/>
                <a:gd name="connsiteY472" fmla="*/ 12862 h 93972"/>
                <a:gd name="connsiteX473" fmla="*/ 1160888 w 1193687"/>
                <a:gd name="connsiteY473" fmla="*/ 11197 h 93972"/>
                <a:gd name="connsiteX474" fmla="*/ 1148047 w 1193687"/>
                <a:gd name="connsiteY474" fmla="*/ 15276 h 93972"/>
                <a:gd name="connsiteX475" fmla="*/ 1143647 w 1193687"/>
                <a:gd name="connsiteY475" fmla="*/ 25911 h 93972"/>
                <a:gd name="connsiteX476" fmla="*/ 1147928 w 1193687"/>
                <a:gd name="connsiteY476" fmla="*/ 35340 h 93972"/>
                <a:gd name="connsiteX477" fmla="*/ 1162760 w 1193687"/>
                <a:gd name="connsiteY477" fmla="*/ 40506 h 93972"/>
                <a:gd name="connsiteX478" fmla="*/ 1167174 w 1193687"/>
                <a:gd name="connsiteY478" fmla="*/ 41175 h 93972"/>
                <a:gd name="connsiteX479" fmla="*/ 1187239 w 1193687"/>
                <a:gd name="connsiteY479" fmla="*/ 49201 h 93972"/>
                <a:gd name="connsiteX480" fmla="*/ 1193927 w 1193687"/>
                <a:gd name="connsiteY480" fmla="*/ 66590 h 93972"/>
                <a:gd name="connsiteX481" fmla="*/ 1191846 w 1193687"/>
                <a:gd name="connsiteY481" fmla="*/ 77623 h 93972"/>
                <a:gd name="connsiteX482" fmla="*/ 1185559 w 1193687"/>
                <a:gd name="connsiteY482" fmla="*/ 86244 h 93972"/>
                <a:gd name="connsiteX483" fmla="*/ 1175126 w 1193687"/>
                <a:gd name="connsiteY483" fmla="*/ 91930 h 93972"/>
                <a:gd name="connsiteX484" fmla="*/ 1160754 w 1193687"/>
                <a:gd name="connsiteY484" fmla="*/ 93996 h 93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Lst>
              <a:rect l="l" t="t" r="r" b="b"/>
              <a:pathLst>
                <a:path w="1193687" h="93972">
                  <a:moveTo>
                    <a:pt x="31941" y="2904"/>
                  </a:moveTo>
                  <a:cubicBezTo>
                    <a:pt x="32072" y="2123"/>
                    <a:pt x="32754" y="1556"/>
                    <a:pt x="33546" y="1567"/>
                  </a:cubicBezTo>
                  <a:lnTo>
                    <a:pt x="42240" y="1567"/>
                  </a:lnTo>
                  <a:cubicBezTo>
                    <a:pt x="43071" y="1520"/>
                    <a:pt x="43811" y="2089"/>
                    <a:pt x="43979" y="2904"/>
                  </a:cubicBezTo>
                  <a:lnTo>
                    <a:pt x="75145" y="91187"/>
                  </a:lnTo>
                  <a:cubicBezTo>
                    <a:pt x="75413" y="92079"/>
                    <a:pt x="75101" y="92524"/>
                    <a:pt x="74209" y="92524"/>
                  </a:cubicBezTo>
                  <a:lnTo>
                    <a:pt x="64846" y="92524"/>
                  </a:lnTo>
                  <a:cubicBezTo>
                    <a:pt x="64015" y="92571"/>
                    <a:pt x="63275" y="92002"/>
                    <a:pt x="63107" y="91187"/>
                  </a:cubicBezTo>
                  <a:lnTo>
                    <a:pt x="56151" y="71390"/>
                  </a:lnTo>
                  <a:lnTo>
                    <a:pt x="19367" y="71390"/>
                  </a:lnTo>
                  <a:lnTo>
                    <a:pt x="12411" y="91187"/>
                  </a:lnTo>
                  <a:cubicBezTo>
                    <a:pt x="12197" y="91972"/>
                    <a:pt x="11486" y="92518"/>
                    <a:pt x="10672" y="92524"/>
                  </a:cubicBezTo>
                  <a:lnTo>
                    <a:pt x="1309" y="92524"/>
                  </a:lnTo>
                  <a:cubicBezTo>
                    <a:pt x="417" y="92524"/>
                    <a:pt x="105" y="92079"/>
                    <a:pt x="373" y="91187"/>
                  </a:cubicBezTo>
                  <a:close/>
                  <a:moveTo>
                    <a:pt x="52272" y="60422"/>
                  </a:moveTo>
                  <a:lnTo>
                    <a:pt x="37960" y="19089"/>
                  </a:lnTo>
                  <a:lnTo>
                    <a:pt x="37692" y="19089"/>
                  </a:lnTo>
                  <a:lnTo>
                    <a:pt x="23246" y="60422"/>
                  </a:lnTo>
                  <a:close/>
                  <a:moveTo>
                    <a:pt x="105911" y="92524"/>
                  </a:moveTo>
                  <a:cubicBezTo>
                    <a:pt x="105119" y="92535"/>
                    <a:pt x="104437" y="91968"/>
                    <a:pt x="104305" y="91187"/>
                  </a:cubicBezTo>
                  <a:lnTo>
                    <a:pt x="74878" y="3172"/>
                  </a:lnTo>
                  <a:cubicBezTo>
                    <a:pt x="74695" y="2791"/>
                    <a:pt x="74695" y="2348"/>
                    <a:pt x="74878" y="1968"/>
                  </a:cubicBezTo>
                  <a:cubicBezTo>
                    <a:pt x="75099" y="1680"/>
                    <a:pt x="75453" y="1528"/>
                    <a:pt x="75814" y="1567"/>
                  </a:cubicBezTo>
                  <a:lnTo>
                    <a:pt x="84910" y="1567"/>
                  </a:lnTo>
                  <a:cubicBezTo>
                    <a:pt x="85780" y="1487"/>
                    <a:pt x="86576" y="2056"/>
                    <a:pt x="86783" y="2904"/>
                  </a:cubicBezTo>
                  <a:lnTo>
                    <a:pt x="110057" y="73129"/>
                  </a:lnTo>
                  <a:lnTo>
                    <a:pt x="110325" y="73129"/>
                  </a:lnTo>
                  <a:lnTo>
                    <a:pt x="132797" y="2904"/>
                  </a:lnTo>
                  <a:cubicBezTo>
                    <a:pt x="132965" y="2089"/>
                    <a:pt x="133704" y="1520"/>
                    <a:pt x="134536" y="1567"/>
                  </a:cubicBezTo>
                  <a:lnTo>
                    <a:pt x="143750" y="1567"/>
                  </a:lnTo>
                  <a:cubicBezTo>
                    <a:pt x="144741" y="1567"/>
                    <a:pt x="145053" y="2102"/>
                    <a:pt x="144687" y="3172"/>
                  </a:cubicBezTo>
                  <a:lnTo>
                    <a:pt x="115408" y="91187"/>
                  </a:lnTo>
                  <a:cubicBezTo>
                    <a:pt x="115276" y="91968"/>
                    <a:pt x="114594" y="92535"/>
                    <a:pt x="113803" y="92524"/>
                  </a:cubicBezTo>
                  <a:close/>
                  <a:moveTo>
                    <a:pt x="158613" y="2904"/>
                  </a:moveTo>
                  <a:cubicBezTo>
                    <a:pt x="158525" y="2253"/>
                    <a:pt x="158981" y="1655"/>
                    <a:pt x="159632" y="1567"/>
                  </a:cubicBezTo>
                  <a:cubicBezTo>
                    <a:pt x="159737" y="1552"/>
                    <a:pt x="159844" y="1552"/>
                    <a:pt x="159950" y="1567"/>
                  </a:cubicBezTo>
                  <a:lnTo>
                    <a:pt x="169165" y="1567"/>
                  </a:lnTo>
                  <a:cubicBezTo>
                    <a:pt x="169816" y="1479"/>
                    <a:pt x="170415" y="1935"/>
                    <a:pt x="170503" y="2586"/>
                  </a:cubicBezTo>
                  <a:cubicBezTo>
                    <a:pt x="170517" y="2691"/>
                    <a:pt x="170517" y="2798"/>
                    <a:pt x="170503" y="2904"/>
                  </a:cubicBezTo>
                  <a:lnTo>
                    <a:pt x="170503" y="91187"/>
                  </a:lnTo>
                  <a:cubicBezTo>
                    <a:pt x="170591" y="91837"/>
                    <a:pt x="170134" y="92436"/>
                    <a:pt x="169484" y="92524"/>
                  </a:cubicBezTo>
                  <a:cubicBezTo>
                    <a:pt x="169378" y="92539"/>
                    <a:pt x="169271" y="92539"/>
                    <a:pt x="169165" y="92524"/>
                  </a:cubicBezTo>
                  <a:lnTo>
                    <a:pt x="159950" y="92524"/>
                  </a:lnTo>
                  <a:cubicBezTo>
                    <a:pt x="159300" y="92612"/>
                    <a:pt x="158701" y="92156"/>
                    <a:pt x="158613" y="91505"/>
                  </a:cubicBezTo>
                  <a:cubicBezTo>
                    <a:pt x="158598" y="91400"/>
                    <a:pt x="158598" y="91293"/>
                    <a:pt x="158613" y="91187"/>
                  </a:cubicBezTo>
                  <a:close/>
                  <a:moveTo>
                    <a:pt x="216531" y="2904"/>
                  </a:moveTo>
                  <a:cubicBezTo>
                    <a:pt x="216663" y="2123"/>
                    <a:pt x="217345" y="1556"/>
                    <a:pt x="218137" y="1567"/>
                  </a:cubicBezTo>
                  <a:lnTo>
                    <a:pt x="226831" y="1567"/>
                  </a:lnTo>
                  <a:cubicBezTo>
                    <a:pt x="227662" y="1520"/>
                    <a:pt x="228402" y="2089"/>
                    <a:pt x="228570" y="2904"/>
                  </a:cubicBezTo>
                  <a:lnTo>
                    <a:pt x="259736" y="91187"/>
                  </a:lnTo>
                  <a:cubicBezTo>
                    <a:pt x="260004" y="92079"/>
                    <a:pt x="259692" y="92524"/>
                    <a:pt x="258800" y="92524"/>
                  </a:cubicBezTo>
                  <a:lnTo>
                    <a:pt x="249437" y="92524"/>
                  </a:lnTo>
                  <a:cubicBezTo>
                    <a:pt x="248606" y="92571"/>
                    <a:pt x="247866" y="92002"/>
                    <a:pt x="247698" y="91187"/>
                  </a:cubicBezTo>
                  <a:lnTo>
                    <a:pt x="240742" y="71390"/>
                  </a:lnTo>
                  <a:lnTo>
                    <a:pt x="203958" y="71390"/>
                  </a:lnTo>
                  <a:lnTo>
                    <a:pt x="197002" y="91187"/>
                  </a:lnTo>
                  <a:cubicBezTo>
                    <a:pt x="196788" y="91972"/>
                    <a:pt x="196077" y="92518"/>
                    <a:pt x="195263" y="92524"/>
                  </a:cubicBezTo>
                  <a:lnTo>
                    <a:pt x="185900" y="92524"/>
                  </a:lnTo>
                  <a:cubicBezTo>
                    <a:pt x="185008" y="92524"/>
                    <a:pt x="184696" y="92079"/>
                    <a:pt x="184964" y="91187"/>
                  </a:cubicBezTo>
                  <a:close/>
                  <a:moveTo>
                    <a:pt x="236863" y="60422"/>
                  </a:moveTo>
                  <a:lnTo>
                    <a:pt x="222551" y="19089"/>
                  </a:lnTo>
                  <a:lnTo>
                    <a:pt x="222283" y="19089"/>
                  </a:lnTo>
                  <a:lnTo>
                    <a:pt x="207837" y="60422"/>
                  </a:lnTo>
                  <a:close/>
                  <a:moveTo>
                    <a:pt x="284616" y="92524"/>
                  </a:moveTo>
                  <a:cubicBezTo>
                    <a:pt x="283965" y="92612"/>
                    <a:pt x="283366" y="92156"/>
                    <a:pt x="283278" y="91505"/>
                  </a:cubicBezTo>
                  <a:cubicBezTo>
                    <a:pt x="283264" y="91400"/>
                    <a:pt x="283264" y="91293"/>
                    <a:pt x="283278" y="91187"/>
                  </a:cubicBezTo>
                  <a:lnTo>
                    <a:pt x="283278" y="13457"/>
                  </a:lnTo>
                  <a:cubicBezTo>
                    <a:pt x="283333" y="13068"/>
                    <a:pt x="283063" y="12709"/>
                    <a:pt x="282674" y="12654"/>
                  </a:cubicBezTo>
                  <a:cubicBezTo>
                    <a:pt x="282608" y="12645"/>
                    <a:pt x="282542" y="12645"/>
                    <a:pt x="282476" y="12654"/>
                  </a:cubicBezTo>
                  <a:lnTo>
                    <a:pt x="257596" y="12654"/>
                  </a:lnTo>
                  <a:cubicBezTo>
                    <a:pt x="256946" y="12742"/>
                    <a:pt x="256347" y="12286"/>
                    <a:pt x="256259" y="11635"/>
                  </a:cubicBezTo>
                  <a:cubicBezTo>
                    <a:pt x="256244" y="11529"/>
                    <a:pt x="256244" y="11422"/>
                    <a:pt x="256259" y="11316"/>
                  </a:cubicBezTo>
                  <a:lnTo>
                    <a:pt x="256259" y="2904"/>
                  </a:lnTo>
                  <a:cubicBezTo>
                    <a:pt x="256171" y="2253"/>
                    <a:pt x="256627" y="1655"/>
                    <a:pt x="257278" y="1567"/>
                  </a:cubicBezTo>
                  <a:cubicBezTo>
                    <a:pt x="257383" y="1552"/>
                    <a:pt x="257490" y="1552"/>
                    <a:pt x="257596" y="1567"/>
                  </a:cubicBezTo>
                  <a:lnTo>
                    <a:pt x="320865" y="1567"/>
                  </a:lnTo>
                  <a:cubicBezTo>
                    <a:pt x="321516" y="1479"/>
                    <a:pt x="322114" y="1935"/>
                    <a:pt x="322203" y="2586"/>
                  </a:cubicBezTo>
                  <a:cubicBezTo>
                    <a:pt x="322218" y="2691"/>
                    <a:pt x="322218" y="2798"/>
                    <a:pt x="322203" y="2904"/>
                  </a:cubicBezTo>
                  <a:lnTo>
                    <a:pt x="322203" y="11331"/>
                  </a:lnTo>
                  <a:cubicBezTo>
                    <a:pt x="322292" y="11982"/>
                    <a:pt x="321834" y="12581"/>
                    <a:pt x="321183" y="12669"/>
                  </a:cubicBezTo>
                  <a:cubicBezTo>
                    <a:pt x="321079" y="12683"/>
                    <a:pt x="320972" y="12683"/>
                    <a:pt x="320865" y="12669"/>
                  </a:cubicBezTo>
                  <a:lnTo>
                    <a:pt x="295986" y="12669"/>
                  </a:lnTo>
                  <a:cubicBezTo>
                    <a:pt x="295596" y="12614"/>
                    <a:pt x="295237" y="12885"/>
                    <a:pt x="295183" y="13273"/>
                  </a:cubicBezTo>
                  <a:cubicBezTo>
                    <a:pt x="295174" y="13339"/>
                    <a:pt x="295174" y="13406"/>
                    <a:pt x="295183" y="13471"/>
                  </a:cubicBezTo>
                  <a:lnTo>
                    <a:pt x="295183" y="91187"/>
                  </a:lnTo>
                  <a:cubicBezTo>
                    <a:pt x="295272" y="91837"/>
                    <a:pt x="294815" y="92436"/>
                    <a:pt x="294164" y="92524"/>
                  </a:cubicBezTo>
                  <a:cubicBezTo>
                    <a:pt x="294058" y="92539"/>
                    <a:pt x="293951" y="92539"/>
                    <a:pt x="293846" y="92524"/>
                  </a:cubicBezTo>
                  <a:close/>
                  <a:moveTo>
                    <a:pt x="336382" y="2904"/>
                  </a:moveTo>
                  <a:cubicBezTo>
                    <a:pt x="336293" y="2253"/>
                    <a:pt x="336750" y="1655"/>
                    <a:pt x="337401" y="1567"/>
                  </a:cubicBezTo>
                  <a:cubicBezTo>
                    <a:pt x="337505" y="1552"/>
                    <a:pt x="337612" y="1552"/>
                    <a:pt x="337719" y="1567"/>
                  </a:cubicBezTo>
                  <a:lnTo>
                    <a:pt x="346934" y="1567"/>
                  </a:lnTo>
                  <a:cubicBezTo>
                    <a:pt x="347585" y="1479"/>
                    <a:pt x="348182" y="1935"/>
                    <a:pt x="348272" y="2586"/>
                  </a:cubicBezTo>
                  <a:cubicBezTo>
                    <a:pt x="348286" y="2691"/>
                    <a:pt x="348286" y="2798"/>
                    <a:pt x="348272" y="2904"/>
                  </a:cubicBezTo>
                  <a:lnTo>
                    <a:pt x="348272" y="91187"/>
                  </a:lnTo>
                  <a:cubicBezTo>
                    <a:pt x="348361" y="91837"/>
                    <a:pt x="347903" y="92436"/>
                    <a:pt x="347252" y="92524"/>
                  </a:cubicBezTo>
                  <a:cubicBezTo>
                    <a:pt x="347148" y="92539"/>
                    <a:pt x="347041" y="92539"/>
                    <a:pt x="346934" y="92524"/>
                  </a:cubicBezTo>
                  <a:lnTo>
                    <a:pt x="337719" y="92524"/>
                  </a:lnTo>
                  <a:cubicBezTo>
                    <a:pt x="337068" y="92612"/>
                    <a:pt x="336471" y="92156"/>
                    <a:pt x="336382" y="91505"/>
                  </a:cubicBezTo>
                  <a:cubicBezTo>
                    <a:pt x="336367" y="91400"/>
                    <a:pt x="336367" y="91293"/>
                    <a:pt x="336382" y="91187"/>
                  </a:cubicBezTo>
                  <a:close/>
                  <a:moveTo>
                    <a:pt x="400855" y="93996"/>
                  </a:moveTo>
                  <a:cubicBezTo>
                    <a:pt x="393976" y="94218"/>
                    <a:pt x="387190" y="92353"/>
                    <a:pt x="381391" y="88645"/>
                  </a:cubicBezTo>
                  <a:cubicBezTo>
                    <a:pt x="375877" y="84796"/>
                    <a:pt x="371843" y="79181"/>
                    <a:pt x="369956" y="72728"/>
                  </a:cubicBezTo>
                  <a:cubicBezTo>
                    <a:pt x="369504" y="71362"/>
                    <a:pt x="369124" y="69973"/>
                    <a:pt x="368820" y="68566"/>
                  </a:cubicBezTo>
                  <a:cubicBezTo>
                    <a:pt x="368473" y="66911"/>
                    <a:pt x="368229" y="65236"/>
                    <a:pt x="368083" y="63552"/>
                  </a:cubicBezTo>
                  <a:cubicBezTo>
                    <a:pt x="367905" y="61635"/>
                    <a:pt x="367771" y="59339"/>
                    <a:pt x="367682" y="56661"/>
                  </a:cubicBezTo>
                  <a:cubicBezTo>
                    <a:pt x="367593" y="53984"/>
                    <a:pt x="367542" y="50779"/>
                    <a:pt x="367533" y="47046"/>
                  </a:cubicBezTo>
                  <a:cubicBezTo>
                    <a:pt x="367533" y="43300"/>
                    <a:pt x="367578" y="40090"/>
                    <a:pt x="367667" y="37415"/>
                  </a:cubicBezTo>
                  <a:cubicBezTo>
                    <a:pt x="367756" y="34739"/>
                    <a:pt x="367890" y="32444"/>
                    <a:pt x="368068" y="30527"/>
                  </a:cubicBezTo>
                  <a:cubicBezTo>
                    <a:pt x="368214" y="28843"/>
                    <a:pt x="368458" y="27168"/>
                    <a:pt x="368805" y="25513"/>
                  </a:cubicBezTo>
                  <a:cubicBezTo>
                    <a:pt x="369109" y="24107"/>
                    <a:pt x="369489" y="22717"/>
                    <a:pt x="369941" y="21351"/>
                  </a:cubicBezTo>
                  <a:cubicBezTo>
                    <a:pt x="371831" y="14895"/>
                    <a:pt x="375871" y="9279"/>
                    <a:pt x="381391" y="5431"/>
                  </a:cubicBezTo>
                  <a:cubicBezTo>
                    <a:pt x="393432" y="-1703"/>
                    <a:pt x="408408" y="-1703"/>
                    <a:pt x="420449" y="5431"/>
                  </a:cubicBezTo>
                  <a:cubicBezTo>
                    <a:pt x="425963" y="9280"/>
                    <a:pt x="429997" y="14895"/>
                    <a:pt x="431887" y="21348"/>
                  </a:cubicBezTo>
                  <a:cubicBezTo>
                    <a:pt x="432339" y="22714"/>
                    <a:pt x="432720" y="24104"/>
                    <a:pt x="433023" y="25510"/>
                  </a:cubicBezTo>
                  <a:cubicBezTo>
                    <a:pt x="433371" y="27166"/>
                    <a:pt x="433614" y="28841"/>
                    <a:pt x="433760" y="30527"/>
                  </a:cubicBezTo>
                  <a:cubicBezTo>
                    <a:pt x="433938" y="32446"/>
                    <a:pt x="434072" y="34742"/>
                    <a:pt x="434161" y="37415"/>
                  </a:cubicBezTo>
                  <a:cubicBezTo>
                    <a:pt x="434251" y="40088"/>
                    <a:pt x="434295" y="43298"/>
                    <a:pt x="434295" y="47046"/>
                  </a:cubicBezTo>
                  <a:cubicBezTo>
                    <a:pt x="434295" y="50791"/>
                    <a:pt x="434251" y="54001"/>
                    <a:pt x="434161" y="56676"/>
                  </a:cubicBezTo>
                  <a:cubicBezTo>
                    <a:pt x="434072" y="59352"/>
                    <a:pt x="433938" y="61648"/>
                    <a:pt x="433760" y="63567"/>
                  </a:cubicBezTo>
                  <a:cubicBezTo>
                    <a:pt x="433614" y="65253"/>
                    <a:pt x="433371" y="66928"/>
                    <a:pt x="433023" y="68584"/>
                  </a:cubicBezTo>
                  <a:cubicBezTo>
                    <a:pt x="432720" y="69990"/>
                    <a:pt x="432339" y="71380"/>
                    <a:pt x="431887" y="72746"/>
                  </a:cubicBezTo>
                  <a:cubicBezTo>
                    <a:pt x="429997" y="79199"/>
                    <a:pt x="425963" y="84814"/>
                    <a:pt x="420449" y="88663"/>
                  </a:cubicBezTo>
                  <a:cubicBezTo>
                    <a:pt x="414605" y="92376"/>
                    <a:pt x="407775" y="94235"/>
                    <a:pt x="400855" y="93996"/>
                  </a:cubicBezTo>
                  <a:close/>
                  <a:moveTo>
                    <a:pt x="400855" y="82894"/>
                  </a:moveTo>
                  <a:cubicBezTo>
                    <a:pt x="405266" y="83088"/>
                    <a:pt x="409624" y="81870"/>
                    <a:pt x="413295" y="79416"/>
                  </a:cubicBezTo>
                  <a:cubicBezTo>
                    <a:pt x="416636" y="76911"/>
                    <a:pt x="419076" y="73391"/>
                    <a:pt x="420250" y="69384"/>
                  </a:cubicBezTo>
                  <a:cubicBezTo>
                    <a:pt x="420562" y="68398"/>
                    <a:pt x="420809" y="67392"/>
                    <a:pt x="420987" y="66373"/>
                  </a:cubicBezTo>
                  <a:cubicBezTo>
                    <a:pt x="421210" y="65168"/>
                    <a:pt x="421433" y="63674"/>
                    <a:pt x="421656" y="61893"/>
                  </a:cubicBezTo>
                  <a:cubicBezTo>
                    <a:pt x="421879" y="60112"/>
                    <a:pt x="422037" y="58016"/>
                    <a:pt x="422126" y="55606"/>
                  </a:cubicBezTo>
                  <a:cubicBezTo>
                    <a:pt x="422215" y="53199"/>
                    <a:pt x="422260" y="50345"/>
                    <a:pt x="422260" y="47046"/>
                  </a:cubicBezTo>
                  <a:cubicBezTo>
                    <a:pt x="422260" y="43746"/>
                    <a:pt x="422215" y="40892"/>
                    <a:pt x="422126" y="38485"/>
                  </a:cubicBezTo>
                  <a:cubicBezTo>
                    <a:pt x="422037" y="36077"/>
                    <a:pt x="421879" y="33981"/>
                    <a:pt x="421656" y="32198"/>
                  </a:cubicBezTo>
                  <a:cubicBezTo>
                    <a:pt x="421433" y="30415"/>
                    <a:pt x="421210" y="28921"/>
                    <a:pt x="420987" y="27718"/>
                  </a:cubicBezTo>
                  <a:cubicBezTo>
                    <a:pt x="420809" y="26699"/>
                    <a:pt x="420562" y="25693"/>
                    <a:pt x="420250" y="24707"/>
                  </a:cubicBezTo>
                  <a:cubicBezTo>
                    <a:pt x="419076" y="20699"/>
                    <a:pt x="416636" y="17180"/>
                    <a:pt x="413295" y="14675"/>
                  </a:cubicBezTo>
                  <a:cubicBezTo>
                    <a:pt x="409624" y="12221"/>
                    <a:pt x="405266" y="11003"/>
                    <a:pt x="400855" y="11197"/>
                  </a:cubicBezTo>
                  <a:cubicBezTo>
                    <a:pt x="396464" y="10996"/>
                    <a:pt x="392125" y="12215"/>
                    <a:pt x="388480" y="14675"/>
                  </a:cubicBezTo>
                  <a:cubicBezTo>
                    <a:pt x="385172" y="17198"/>
                    <a:pt x="382758" y="20714"/>
                    <a:pt x="381593" y="24707"/>
                  </a:cubicBezTo>
                  <a:cubicBezTo>
                    <a:pt x="381281" y="25693"/>
                    <a:pt x="381034" y="26699"/>
                    <a:pt x="380859" y="27718"/>
                  </a:cubicBezTo>
                  <a:cubicBezTo>
                    <a:pt x="380636" y="28921"/>
                    <a:pt x="380413" y="30415"/>
                    <a:pt x="380190" y="32198"/>
                  </a:cubicBezTo>
                  <a:cubicBezTo>
                    <a:pt x="379967" y="33981"/>
                    <a:pt x="379810" y="36077"/>
                    <a:pt x="379720" y="38485"/>
                  </a:cubicBezTo>
                  <a:cubicBezTo>
                    <a:pt x="379631" y="40892"/>
                    <a:pt x="379587" y="43746"/>
                    <a:pt x="379587" y="47046"/>
                  </a:cubicBezTo>
                  <a:cubicBezTo>
                    <a:pt x="379587" y="50345"/>
                    <a:pt x="379631" y="53199"/>
                    <a:pt x="379720" y="55606"/>
                  </a:cubicBezTo>
                  <a:cubicBezTo>
                    <a:pt x="379810" y="58014"/>
                    <a:pt x="379967" y="60110"/>
                    <a:pt x="380190" y="61893"/>
                  </a:cubicBezTo>
                  <a:cubicBezTo>
                    <a:pt x="380413" y="63677"/>
                    <a:pt x="380636" y="65170"/>
                    <a:pt x="380859" y="66373"/>
                  </a:cubicBezTo>
                  <a:cubicBezTo>
                    <a:pt x="381034" y="67392"/>
                    <a:pt x="381281" y="68398"/>
                    <a:pt x="381593" y="69384"/>
                  </a:cubicBezTo>
                  <a:cubicBezTo>
                    <a:pt x="382758" y="73377"/>
                    <a:pt x="385172" y="76893"/>
                    <a:pt x="388480" y="79416"/>
                  </a:cubicBezTo>
                  <a:cubicBezTo>
                    <a:pt x="392125" y="81876"/>
                    <a:pt x="396464" y="83095"/>
                    <a:pt x="400855" y="82894"/>
                  </a:cubicBezTo>
                  <a:close/>
                  <a:moveTo>
                    <a:pt x="453557" y="2904"/>
                  </a:moveTo>
                  <a:cubicBezTo>
                    <a:pt x="453468" y="2253"/>
                    <a:pt x="453925" y="1655"/>
                    <a:pt x="454576" y="1567"/>
                  </a:cubicBezTo>
                  <a:cubicBezTo>
                    <a:pt x="454680" y="1552"/>
                    <a:pt x="454787" y="1552"/>
                    <a:pt x="454894" y="1567"/>
                  </a:cubicBezTo>
                  <a:lnTo>
                    <a:pt x="463455" y="1567"/>
                  </a:lnTo>
                  <a:cubicBezTo>
                    <a:pt x="464415" y="1502"/>
                    <a:pt x="465319" y="2033"/>
                    <a:pt x="465729" y="2904"/>
                  </a:cubicBezTo>
                  <a:lnTo>
                    <a:pt x="506928" y="71123"/>
                  </a:lnTo>
                  <a:lnTo>
                    <a:pt x="507463" y="71123"/>
                  </a:lnTo>
                  <a:lnTo>
                    <a:pt x="507463" y="2904"/>
                  </a:lnTo>
                  <a:cubicBezTo>
                    <a:pt x="507373" y="2253"/>
                    <a:pt x="507831" y="1655"/>
                    <a:pt x="508482" y="1567"/>
                  </a:cubicBezTo>
                  <a:cubicBezTo>
                    <a:pt x="508586" y="1552"/>
                    <a:pt x="508693" y="1552"/>
                    <a:pt x="508800" y="1567"/>
                  </a:cubicBezTo>
                  <a:lnTo>
                    <a:pt x="517227" y="1567"/>
                  </a:lnTo>
                  <a:cubicBezTo>
                    <a:pt x="517878" y="1479"/>
                    <a:pt x="518476" y="1935"/>
                    <a:pt x="518565" y="2586"/>
                  </a:cubicBezTo>
                  <a:cubicBezTo>
                    <a:pt x="518580" y="2691"/>
                    <a:pt x="518580" y="2798"/>
                    <a:pt x="518565" y="2904"/>
                  </a:cubicBezTo>
                  <a:lnTo>
                    <a:pt x="518565" y="91187"/>
                  </a:lnTo>
                  <a:cubicBezTo>
                    <a:pt x="518654" y="91837"/>
                    <a:pt x="518196" y="92436"/>
                    <a:pt x="517545" y="92524"/>
                  </a:cubicBezTo>
                  <a:cubicBezTo>
                    <a:pt x="517441" y="92539"/>
                    <a:pt x="517334" y="92539"/>
                    <a:pt x="517227" y="92524"/>
                  </a:cubicBezTo>
                  <a:lnTo>
                    <a:pt x="508667" y="92524"/>
                  </a:lnTo>
                  <a:cubicBezTo>
                    <a:pt x="507706" y="92589"/>
                    <a:pt x="506803" y="92058"/>
                    <a:pt x="506393" y="91187"/>
                  </a:cubicBezTo>
                  <a:lnTo>
                    <a:pt x="465060" y="23236"/>
                  </a:lnTo>
                  <a:lnTo>
                    <a:pt x="464659" y="23236"/>
                  </a:lnTo>
                  <a:lnTo>
                    <a:pt x="464659" y="91187"/>
                  </a:lnTo>
                  <a:cubicBezTo>
                    <a:pt x="464748" y="91837"/>
                    <a:pt x="464290" y="92436"/>
                    <a:pt x="463639" y="92524"/>
                  </a:cubicBezTo>
                  <a:cubicBezTo>
                    <a:pt x="463535" y="92539"/>
                    <a:pt x="463428" y="92539"/>
                    <a:pt x="463321" y="92524"/>
                  </a:cubicBezTo>
                  <a:lnTo>
                    <a:pt x="454894" y="92524"/>
                  </a:lnTo>
                  <a:cubicBezTo>
                    <a:pt x="454243" y="92612"/>
                    <a:pt x="453646" y="92156"/>
                    <a:pt x="453557" y="91505"/>
                  </a:cubicBezTo>
                  <a:cubicBezTo>
                    <a:pt x="453542" y="91400"/>
                    <a:pt x="453542" y="91293"/>
                    <a:pt x="453557" y="91187"/>
                  </a:cubicBezTo>
                  <a:close/>
                  <a:moveTo>
                    <a:pt x="539164" y="79683"/>
                  </a:moveTo>
                  <a:cubicBezTo>
                    <a:pt x="539075" y="79033"/>
                    <a:pt x="539533" y="78434"/>
                    <a:pt x="540184" y="78346"/>
                  </a:cubicBezTo>
                  <a:cubicBezTo>
                    <a:pt x="540288" y="78331"/>
                    <a:pt x="540395" y="78331"/>
                    <a:pt x="540502" y="78346"/>
                  </a:cubicBezTo>
                  <a:lnTo>
                    <a:pt x="550668" y="78346"/>
                  </a:lnTo>
                  <a:cubicBezTo>
                    <a:pt x="551319" y="78258"/>
                    <a:pt x="551916" y="78714"/>
                    <a:pt x="552005" y="79365"/>
                  </a:cubicBezTo>
                  <a:cubicBezTo>
                    <a:pt x="552020" y="79470"/>
                    <a:pt x="552020" y="79577"/>
                    <a:pt x="552005" y="79683"/>
                  </a:cubicBezTo>
                  <a:lnTo>
                    <a:pt x="552005" y="91187"/>
                  </a:lnTo>
                  <a:cubicBezTo>
                    <a:pt x="552094" y="91837"/>
                    <a:pt x="551637" y="92436"/>
                    <a:pt x="550986" y="92524"/>
                  </a:cubicBezTo>
                  <a:cubicBezTo>
                    <a:pt x="550882" y="92539"/>
                    <a:pt x="550775" y="92539"/>
                    <a:pt x="550668" y="92524"/>
                  </a:cubicBezTo>
                  <a:lnTo>
                    <a:pt x="540502" y="92524"/>
                  </a:lnTo>
                  <a:cubicBezTo>
                    <a:pt x="539851" y="92612"/>
                    <a:pt x="539253" y="92156"/>
                    <a:pt x="539164" y="91505"/>
                  </a:cubicBezTo>
                  <a:cubicBezTo>
                    <a:pt x="539149" y="91400"/>
                    <a:pt x="539149" y="91293"/>
                    <a:pt x="539164" y="91187"/>
                  </a:cubicBezTo>
                  <a:close/>
                  <a:moveTo>
                    <a:pt x="601883" y="2904"/>
                  </a:moveTo>
                  <a:cubicBezTo>
                    <a:pt x="601794" y="2253"/>
                    <a:pt x="602252" y="1655"/>
                    <a:pt x="602903" y="1567"/>
                  </a:cubicBezTo>
                  <a:cubicBezTo>
                    <a:pt x="603007" y="1552"/>
                    <a:pt x="603114" y="1552"/>
                    <a:pt x="603221" y="1567"/>
                  </a:cubicBezTo>
                  <a:lnTo>
                    <a:pt x="612465" y="1567"/>
                  </a:lnTo>
                  <a:cubicBezTo>
                    <a:pt x="613116" y="1479"/>
                    <a:pt x="613714" y="1935"/>
                    <a:pt x="613803" y="2586"/>
                  </a:cubicBezTo>
                  <a:cubicBezTo>
                    <a:pt x="613818" y="2691"/>
                    <a:pt x="613818" y="2798"/>
                    <a:pt x="613803" y="2904"/>
                  </a:cubicBezTo>
                  <a:lnTo>
                    <a:pt x="613803" y="80620"/>
                  </a:lnTo>
                  <a:cubicBezTo>
                    <a:pt x="613750" y="81008"/>
                    <a:pt x="614020" y="81368"/>
                    <a:pt x="614406" y="81422"/>
                  </a:cubicBezTo>
                  <a:cubicBezTo>
                    <a:pt x="614472" y="81431"/>
                    <a:pt x="614540" y="81431"/>
                    <a:pt x="614606" y="81422"/>
                  </a:cubicBezTo>
                  <a:lnTo>
                    <a:pt x="657944" y="81422"/>
                  </a:lnTo>
                  <a:cubicBezTo>
                    <a:pt x="658595" y="81334"/>
                    <a:pt x="659193" y="81791"/>
                    <a:pt x="659282" y="82441"/>
                  </a:cubicBezTo>
                  <a:cubicBezTo>
                    <a:pt x="659297" y="82547"/>
                    <a:pt x="659297" y="82654"/>
                    <a:pt x="659282" y="82760"/>
                  </a:cubicBezTo>
                  <a:lnTo>
                    <a:pt x="659282" y="91187"/>
                  </a:lnTo>
                  <a:cubicBezTo>
                    <a:pt x="659371" y="91837"/>
                    <a:pt x="658913" y="92436"/>
                    <a:pt x="658262" y="92524"/>
                  </a:cubicBezTo>
                  <a:cubicBezTo>
                    <a:pt x="658158" y="92539"/>
                    <a:pt x="658051" y="92539"/>
                    <a:pt x="657944" y="92524"/>
                  </a:cubicBezTo>
                  <a:lnTo>
                    <a:pt x="603251" y="92524"/>
                  </a:lnTo>
                  <a:cubicBezTo>
                    <a:pt x="602600" y="92612"/>
                    <a:pt x="602002" y="92156"/>
                    <a:pt x="601913" y="91505"/>
                  </a:cubicBezTo>
                  <a:cubicBezTo>
                    <a:pt x="601898" y="91400"/>
                    <a:pt x="601898" y="91293"/>
                    <a:pt x="601913" y="91187"/>
                  </a:cubicBezTo>
                  <a:close/>
                  <a:moveTo>
                    <a:pt x="703958" y="93996"/>
                  </a:moveTo>
                  <a:cubicBezTo>
                    <a:pt x="697080" y="94218"/>
                    <a:pt x="690294" y="92353"/>
                    <a:pt x="684495" y="88645"/>
                  </a:cubicBezTo>
                  <a:cubicBezTo>
                    <a:pt x="678981" y="84796"/>
                    <a:pt x="674947" y="79181"/>
                    <a:pt x="673056" y="72728"/>
                  </a:cubicBezTo>
                  <a:cubicBezTo>
                    <a:pt x="672605" y="71362"/>
                    <a:pt x="672224" y="69973"/>
                    <a:pt x="671921" y="68566"/>
                  </a:cubicBezTo>
                  <a:cubicBezTo>
                    <a:pt x="671576" y="66911"/>
                    <a:pt x="671329" y="65236"/>
                    <a:pt x="671187" y="63552"/>
                  </a:cubicBezTo>
                  <a:cubicBezTo>
                    <a:pt x="671008" y="61635"/>
                    <a:pt x="670875" y="59339"/>
                    <a:pt x="670785" y="56661"/>
                  </a:cubicBezTo>
                  <a:cubicBezTo>
                    <a:pt x="670696" y="53984"/>
                    <a:pt x="670652" y="50774"/>
                    <a:pt x="670652" y="47031"/>
                  </a:cubicBezTo>
                  <a:cubicBezTo>
                    <a:pt x="670652" y="43285"/>
                    <a:pt x="670696" y="40075"/>
                    <a:pt x="670785" y="37400"/>
                  </a:cubicBezTo>
                  <a:cubicBezTo>
                    <a:pt x="670875" y="34725"/>
                    <a:pt x="671008" y="32429"/>
                    <a:pt x="671187" y="30513"/>
                  </a:cubicBezTo>
                  <a:cubicBezTo>
                    <a:pt x="671329" y="28832"/>
                    <a:pt x="671573" y="27161"/>
                    <a:pt x="671915" y="25510"/>
                  </a:cubicBezTo>
                  <a:cubicBezTo>
                    <a:pt x="672218" y="24104"/>
                    <a:pt x="672599" y="22714"/>
                    <a:pt x="673051" y="21348"/>
                  </a:cubicBezTo>
                  <a:cubicBezTo>
                    <a:pt x="674941" y="14894"/>
                    <a:pt x="678978" y="9279"/>
                    <a:pt x="684495" y="5431"/>
                  </a:cubicBezTo>
                  <a:cubicBezTo>
                    <a:pt x="696536" y="-1703"/>
                    <a:pt x="711511" y="-1703"/>
                    <a:pt x="723553" y="5431"/>
                  </a:cubicBezTo>
                  <a:cubicBezTo>
                    <a:pt x="729067" y="9280"/>
                    <a:pt x="733100" y="14895"/>
                    <a:pt x="734991" y="21348"/>
                  </a:cubicBezTo>
                  <a:cubicBezTo>
                    <a:pt x="735443" y="22714"/>
                    <a:pt x="735823" y="24104"/>
                    <a:pt x="736126" y="25510"/>
                  </a:cubicBezTo>
                  <a:cubicBezTo>
                    <a:pt x="736474" y="27166"/>
                    <a:pt x="736718" y="28841"/>
                    <a:pt x="736864" y="30527"/>
                  </a:cubicBezTo>
                  <a:cubicBezTo>
                    <a:pt x="737042" y="32446"/>
                    <a:pt x="737176" y="34742"/>
                    <a:pt x="737265" y="37415"/>
                  </a:cubicBezTo>
                  <a:cubicBezTo>
                    <a:pt x="737354" y="40088"/>
                    <a:pt x="737399" y="43298"/>
                    <a:pt x="737399" y="47046"/>
                  </a:cubicBezTo>
                  <a:cubicBezTo>
                    <a:pt x="737399" y="50791"/>
                    <a:pt x="737354" y="54001"/>
                    <a:pt x="737265" y="56676"/>
                  </a:cubicBezTo>
                  <a:cubicBezTo>
                    <a:pt x="737176" y="59352"/>
                    <a:pt x="737042" y="61648"/>
                    <a:pt x="736864" y="63567"/>
                  </a:cubicBezTo>
                  <a:cubicBezTo>
                    <a:pt x="736718" y="65253"/>
                    <a:pt x="736474" y="66928"/>
                    <a:pt x="736126" y="68584"/>
                  </a:cubicBezTo>
                  <a:cubicBezTo>
                    <a:pt x="735823" y="69990"/>
                    <a:pt x="735443" y="71380"/>
                    <a:pt x="734991" y="72746"/>
                  </a:cubicBezTo>
                  <a:cubicBezTo>
                    <a:pt x="733100" y="79199"/>
                    <a:pt x="729067" y="84814"/>
                    <a:pt x="723553" y="88663"/>
                  </a:cubicBezTo>
                  <a:cubicBezTo>
                    <a:pt x="717709" y="92376"/>
                    <a:pt x="710878" y="94235"/>
                    <a:pt x="703958" y="93996"/>
                  </a:cubicBezTo>
                  <a:close/>
                  <a:moveTo>
                    <a:pt x="703958" y="82894"/>
                  </a:moveTo>
                  <a:cubicBezTo>
                    <a:pt x="708369" y="83088"/>
                    <a:pt x="712727" y="81870"/>
                    <a:pt x="716398" y="79416"/>
                  </a:cubicBezTo>
                  <a:cubicBezTo>
                    <a:pt x="719739" y="76911"/>
                    <a:pt x="722180" y="73391"/>
                    <a:pt x="723354" y="69384"/>
                  </a:cubicBezTo>
                  <a:cubicBezTo>
                    <a:pt x="723666" y="68398"/>
                    <a:pt x="723913" y="67392"/>
                    <a:pt x="724091" y="66373"/>
                  </a:cubicBezTo>
                  <a:cubicBezTo>
                    <a:pt x="724314" y="65168"/>
                    <a:pt x="724537" y="63674"/>
                    <a:pt x="724760" y="61893"/>
                  </a:cubicBezTo>
                  <a:cubicBezTo>
                    <a:pt x="724983" y="60112"/>
                    <a:pt x="725140" y="58016"/>
                    <a:pt x="725229" y="55606"/>
                  </a:cubicBezTo>
                  <a:cubicBezTo>
                    <a:pt x="725319" y="53199"/>
                    <a:pt x="725363" y="50345"/>
                    <a:pt x="725363" y="47046"/>
                  </a:cubicBezTo>
                  <a:cubicBezTo>
                    <a:pt x="725363" y="43746"/>
                    <a:pt x="725319" y="40892"/>
                    <a:pt x="725229" y="38485"/>
                  </a:cubicBezTo>
                  <a:cubicBezTo>
                    <a:pt x="725140" y="36077"/>
                    <a:pt x="724983" y="33981"/>
                    <a:pt x="724760" y="32198"/>
                  </a:cubicBezTo>
                  <a:cubicBezTo>
                    <a:pt x="724537" y="30415"/>
                    <a:pt x="724314" y="28921"/>
                    <a:pt x="724091" y="27718"/>
                  </a:cubicBezTo>
                  <a:cubicBezTo>
                    <a:pt x="723913" y="26699"/>
                    <a:pt x="723666" y="25693"/>
                    <a:pt x="723354" y="24707"/>
                  </a:cubicBezTo>
                  <a:cubicBezTo>
                    <a:pt x="722180" y="20699"/>
                    <a:pt x="719739" y="17180"/>
                    <a:pt x="716398" y="14675"/>
                  </a:cubicBezTo>
                  <a:cubicBezTo>
                    <a:pt x="712727" y="12221"/>
                    <a:pt x="708369" y="11003"/>
                    <a:pt x="703958" y="11197"/>
                  </a:cubicBezTo>
                  <a:cubicBezTo>
                    <a:pt x="699568" y="10996"/>
                    <a:pt x="695228" y="12215"/>
                    <a:pt x="691584" y="14675"/>
                  </a:cubicBezTo>
                  <a:cubicBezTo>
                    <a:pt x="688276" y="17198"/>
                    <a:pt x="685862" y="20714"/>
                    <a:pt x="684697" y="24707"/>
                  </a:cubicBezTo>
                  <a:cubicBezTo>
                    <a:pt x="684385" y="25693"/>
                    <a:pt x="684138" y="26699"/>
                    <a:pt x="683962" y="27718"/>
                  </a:cubicBezTo>
                  <a:cubicBezTo>
                    <a:pt x="683740" y="28921"/>
                    <a:pt x="683517" y="30415"/>
                    <a:pt x="683294" y="32198"/>
                  </a:cubicBezTo>
                  <a:cubicBezTo>
                    <a:pt x="683071" y="33981"/>
                    <a:pt x="682913" y="36077"/>
                    <a:pt x="682824" y="38485"/>
                  </a:cubicBezTo>
                  <a:cubicBezTo>
                    <a:pt x="682735" y="40892"/>
                    <a:pt x="682690" y="43746"/>
                    <a:pt x="682690" y="47046"/>
                  </a:cubicBezTo>
                  <a:cubicBezTo>
                    <a:pt x="682690" y="50345"/>
                    <a:pt x="682735" y="53199"/>
                    <a:pt x="682824" y="55606"/>
                  </a:cubicBezTo>
                  <a:cubicBezTo>
                    <a:pt x="682913" y="58014"/>
                    <a:pt x="683071" y="60110"/>
                    <a:pt x="683294" y="61893"/>
                  </a:cubicBezTo>
                  <a:cubicBezTo>
                    <a:pt x="683517" y="63677"/>
                    <a:pt x="683740" y="65170"/>
                    <a:pt x="683962" y="66373"/>
                  </a:cubicBezTo>
                  <a:cubicBezTo>
                    <a:pt x="684138" y="67392"/>
                    <a:pt x="684385" y="68398"/>
                    <a:pt x="684697" y="69384"/>
                  </a:cubicBezTo>
                  <a:cubicBezTo>
                    <a:pt x="685862" y="73377"/>
                    <a:pt x="688276" y="76893"/>
                    <a:pt x="691584" y="79416"/>
                  </a:cubicBezTo>
                  <a:cubicBezTo>
                    <a:pt x="695228" y="81876"/>
                    <a:pt x="699568" y="83095"/>
                    <a:pt x="703958" y="82894"/>
                  </a:cubicBezTo>
                  <a:close/>
                  <a:moveTo>
                    <a:pt x="755858" y="72728"/>
                  </a:moveTo>
                  <a:cubicBezTo>
                    <a:pt x="755406" y="71367"/>
                    <a:pt x="755049" y="69976"/>
                    <a:pt x="754788" y="68566"/>
                  </a:cubicBezTo>
                  <a:cubicBezTo>
                    <a:pt x="754520" y="67139"/>
                    <a:pt x="754276" y="65468"/>
                    <a:pt x="754053" y="63552"/>
                  </a:cubicBezTo>
                  <a:cubicBezTo>
                    <a:pt x="753831" y="61635"/>
                    <a:pt x="753676" y="59339"/>
                    <a:pt x="753584" y="56661"/>
                  </a:cubicBezTo>
                  <a:cubicBezTo>
                    <a:pt x="753495" y="53986"/>
                    <a:pt x="753450" y="50776"/>
                    <a:pt x="753450" y="47031"/>
                  </a:cubicBezTo>
                  <a:cubicBezTo>
                    <a:pt x="753450" y="43285"/>
                    <a:pt x="753495" y="40075"/>
                    <a:pt x="753584" y="37400"/>
                  </a:cubicBezTo>
                  <a:cubicBezTo>
                    <a:pt x="753673" y="34725"/>
                    <a:pt x="753831" y="32429"/>
                    <a:pt x="754053" y="30513"/>
                  </a:cubicBezTo>
                  <a:cubicBezTo>
                    <a:pt x="754276" y="28596"/>
                    <a:pt x="754523" y="26925"/>
                    <a:pt x="754788" y="25498"/>
                  </a:cubicBezTo>
                  <a:cubicBezTo>
                    <a:pt x="755049" y="24088"/>
                    <a:pt x="755406" y="22698"/>
                    <a:pt x="755858" y="21337"/>
                  </a:cubicBezTo>
                  <a:cubicBezTo>
                    <a:pt x="757757" y="14874"/>
                    <a:pt x="761818" y="9259"/>
                    <a:pt x="767361" y="5431"/>
                  </a:cubicBezTo>
                  <a:cubicBezTo>
                    <a:pt x="773232" y="1717"/>
                    <a:pt x="780081" y="-147"/>
                    <a:pt x="787024" y="80"/>
                  </a:cubicBezTo>
                  <a:cubicBezTo>
                    <a:pt x="790683" y="33"/>
                    <a:pt x="794331" y="505"/>
                    <a:pt x="797859" y="1483"/>
                  </a:cubicBezTo>
                  <a:cubicBezTo>
                    <a:pt x="800891" y="2339"/>
                    <a:pt x="803777" y="3646"/>
                    <a:pt x="806420" y="5362"/>
                  </a:cubicBezTo>
                  <a:cubicBezTo>
                    <a:pt x="808839" y="6943"/>
                    <a:pt x="811003" y="8882"/>
                    <a:pt x="812840" y="11114"/>
                  </a:cubicBezTo>
                  <a:cubicBezTo>
                    <a:pt x="814600" y="13260"/>
                    <a:pt x="816083" y="15619"/>
                    <a:pt x="817254" y="18135"/>
                  </a:cubicBezTo>
                  <a:cubicBezTo>
                    <a:pt x="817682" y="18669"/>
                    <a:pt x="817593" y="19447"/>
                    <a:pt x="817061" y="19873"/>
                  </a:cubicBezTo>
                  <a:cubicBezTo>
                    <a:pt x="816996" y="19925"/>
                    <a:pt x="816927" y="19970"/>
                    <a:pt x="816853" y="20008"/>
                  </a:cubicBezTo>
                  <a:lnTo>
                    <a:pt x="808827" y="23872"/>
                  </a:lnTo>
                  <a:cubicBezTo>
                    <a:pt x="808034" y="24318"/>
                    <a:pt x="807409" y="24095"/>
                    <a:pt x="806955" y="23203"/>
                  </a:cubicBezTo>
                  <a:cubicBezTo>
                    <a:pt x="805109" y="19530"/>
                    <a:pt x="802344" y="16396"/>
                    <a:pt x="798929" y="14107"/>
                  </a:cubicBezTo>
                  <a:cubicBezTo>
                    <a:pt x="795323" y="12022"/>
                    <a:pt x="791201" y="11001"/>
                    <a:pt x="787039" y="11165"/>
                  </a:cubicBezTo>
                  <a:cubicBezTo>
                    <a:pt x="782566" y="10966"/>
                    <a:pt x="778139" y="12183"/>
                    <a:pt x="774397" y="14643"/>
                  </a:cubicBezTo>
                  <a:cubicBezTo>
                    <a:pt x="771020" y="17129"/>
                    <a:pt x="768553" y="20653"/>
                    <a:pt x="767373" y="24675"/>
                  </a:cubicBezTo>
                  <a:cubicBezTo>
                    <a:pt x="767106" y="25477"/>
                    <a:pt x="766838" y="26458"/>
                    <a:pt x="766571" y="27617"/>
                  </a:cubicBezTo>
                  <a:cubicBezTo>
                    <a:pt x="766270" y="29028"/>
                    <a:pt x="766071" y="30458"/>
                    <a:pt x="765976" y="31898"/>
                  </a:cubicBezTo>
                  <a:cubicBezTo>
                    <a:pt x="765842" y="33592"/>
                    <a:pt x="765732" y="35665"/>
                    <a:pt x="765643" y="38116"/>
                  </a:cubicBezTo>
                  <a:cubicBezTo>
                    <a:pt x="765554" y="40568"/>
                    <a:pt x="765503" y="43544"/>
                    <a:pt x="765489" y="47046"/>
                  </a:cubicBezTo>
                  <a:cubicBezTo>
                    <a:pt x="765489" y="50523"/>
                    <a:pt x="765533" y="53489"/>
                    <a:pt x="765622" y="55942"/>
                  </a:cubicBezTo>
                  <a:cubicBezTo>
                    <a:pt x="765712" y="58395"/>
                    <a:pt x="765822" y="60468"/>
                    <a:pt x="765955" y="62161"/>
                  </a:cubicBezTo>
                  <a:cubicBezTo>
                    <a:pt x="766050" y="63600"/>
                    <a:pt x="766250" y="65030"/>
                    <a:pt x="766550" y="66441"/>
                  </a:cubicBezTo>
                  <a:cubicBezTo>
                    <a:pt x="766817" y="67600"/>
                    <a:pt x="767085" y="68581"/>
                    <a:pt x="767352" y="69384"/>
                  </a:cubicBezTo>
                  <a:cubicBezTo>
                    <a:pt x="768532" y="73406"/>
                    <a:pt x="771003" y="76930"/>
                    <a:pt x="774376" y="79416"/>
                  </a:cubicBezTo>
                  <a:cubicBezTo>
                    <a:pt x="778119" y="81876"/>
                    <a:pt x="782545" y="83093"/>
                    <a:pt x="787018" y="82894"/>
                  </a:cubicBezTo>
                  <a:cubicBezTo>
                    <a:pt x="791319" y="82991"/>
                    <a:pt x="795555" y="81829"/>
                    <a:pt x="799205" y="79550"/>
                  </a:cubicBezTo>
                  <a:cubicBezTo>
                    <a:pt x="802728" y="77261"/>
                    <a:pt x="805335" y="73803"/>
                    <a:pt x="806562" y="69785"/>
                  </a:cubicBezTo>
                  <a:cubicBezTo>
                    <a:pt x="807082" y="67895"/>
                    <a:pt x="807481" y="65974"/>
                    <a:pt x="807751" y="64033"/>
                  </a:cubicBezTo>
                  <a:cubicBezTo>
                    <a:pt x="808141" y="61197"/>
                    <a:pt x="808322" y="58335"/>
                    <a:pt x="808286" y="55472"/>
                  </a:cubicBezTo>
                  <a:cubicBezTo>
                    <a:pt x="808340" y="55084"/>
                    <a:pt x="808069" y="54725"/>
                    <a:pt x="807683" y="54670"/>
                  </a:cubicBezTo>
                  <a:cubicBezTo>
                    <a:pt x="807618" y="54661"/>
                    <a:pt x="807549" y="54661"/>
                    <a:pt x="807484" y="54670"/>
                  </a:cubicBezTo>
                  <a:lnTo>
                    <a:pt x="789827" y="54670"/>
                  </a:lnTo>
                  <a:cubicBezTo>
                    <a:pt x="789176" y="54758"/>
                    <a:pt x="788579" y="54302"/>
                    <a:pt x="788490" y="53651"/>
                  </a:cubicBezTo>
                  <a:cubicBezTo>
                    <a:pt x="788475" y="53545"/>
                    <a:pt x="788475" y="53438"/>
                    <a:pt x="788490" y="53332"/>
                  </a:cubicBezTo>
                  <a:lnTo>
                    <a:pt x="788490" y="45559"/>
                  </a:lnTo>
                  <a:cubicBezTo>
                    <a:pt x="788400" y="44909"/>
                    <a:pt x="788858" y="44310"/>
                    <a:pt x="789509" y="44222"/>
                  </a:cubicBezTo>
                  <a:cubicBezTo>
                    <a:pt x="789613" y="44207"/>
                    <a:pt x="789720" y="44207"/>
                    <a:pt x="789827" y="44222"/>
                  </a:cubicBezTo>
                  <a:lnTo>
                    <a:pt x="818854" y="44222"/>
                  </a:lnTo>
                  <a:cubicBezTo>
                    <a:pt x="819504" y="44134"/>
                    <a:pt x="820102" y="44590"/>
                    <a:pt x="820191" y="45241"/>
                  </a:cubicBezTo>
                  <a:cubicBezTo>
                    <a:pt x="820206" y="45346"/>
                    <a:pt x="820206" y="45453"/>
                    <a:pt x="820191" y="45559"/>
                  </a:cubicBezTo>
                  <a:lnTo>
                    <a:pt x="820191" y="52396"/>
                  </a:lnTo>
                  <a:cubicBezTo>
                    <a:pt x="820209" y="56216"/>
                    <a:pt x="820010" y="60034"/>
                    <a:pt x="819597" y="63831"/>
                  </a:cubicBezTo>
                  <a:cubicBezTo>
                    <a:pt x="819314" y="66751"/>
                    <a:pt x="818755" y="69638"/>
                    <a:pt x="817926" y="72451"/>
                  </a:cubicBezTo>
                  <a:cubicBezTo>
                    <a:pt x="816042" y="78925"/>
                    <a:pt x="812008" y="84563"/>
                    <a:pt x="806488" y="88434"/>
                  </a:cubicBezTo>
                  <a:cubicBezTo>
                    <a:pt x="800727" y="92243"/>
                    <a:pt x="793932" y="94182"/>
                    <a:pt x="787027" y="93987"/>
                  </a:cubicBezTo>
                  <a:cubicBezTo>
                    <a:pt x="780084" y="94214"/>
                    <a:pt x="773235" y="92350"/>
                    <a:pt x="767364" y="88636"/>
                  </a:cubicBezTo>
                  <a:cubicBezTo>
                    <a:pt x="761821" y="84808"/>
                    <a:pt x="757757" y="79192"/>
                    <a:pt x="755858" y="72728"/>
                  </a:cubicBezTo>
                  <a:close/>
                  <a:moveTo>
                    <a:pt x="839459" y="2904"/>
                  </a:moveTo>
                  <a:cubicBezTo>
                    <a:pt x="839370" y="2253"/>
                    <a:pt x="839827" y="1655"/>
                    <a:pt x="840478" y="1567"/>
                  </a:cubicBezTo>
                  <a:cubicBezTo>
                    <a:pt x="840582" y="1552"/>
                    <a:pt x="840689" y="1552"/>
                    <a:pt x="840796" y="1567"/>
                  </a:cubicBezTo>
                  <a:lnTo>
                    <a:pt x="850011" y="1567"/>
                  </a:lnTo>
                  <a:cubicBezTo>
                    <a:pt x="850662" y="1479"/>
                    <a:pt x="851259" y="1935"/>
                    <a:pt x="851349" y="2586"/>
                  </a:cubicBezTo>
                  <a:cubicBezTo>
                    <a:pt x="851363" y="2691"/>
                    <a:pt x="851363" y="2798"/>
                    <a:pt x="851349" y="2904"/>
                  </a:cubicBezTo>
                  <a:lnTo>
                    <a:pt x="851349" y="91187"/>
                  </a:lnTo>
                  <a:cubicBezTo>
                    <a:pt x="851438" y="91837"/>
                    <a:pt x="850980" y="92436"/>
                    <a:pt x="850329" y="92524"/>
                  </a:cubicBezTo>
                  <a:cubicBezTo>
                    <a:pt x="850225" y="92539"/>
                    <a:pt x="850118" y="92539"/>
                    <a:pt x="850011" y="92524"/>
                  </a:cubicBezTo>
                  <a:lnTo>
                    <a:pt x="840796" y="92524"/>
                  </a:lnTo>
                  <a:cubicBezTo>
                    <a:pt x="840145" y="92612"/>
                    <a:pt x="839548" y="92156"/>
                    <a:pt x="839459" y="91505"/>
                  </a:cubicBezTo>
                  <a:cubicBezTo>
                    <a:pt x="839444" y="91400"/>
                    <a:pt x="839444" y="91293"/>
                    <a:pt x="839459" y="91187"/>
                  </a:cubicBezTo>
                  <a:close/>
                  <a:moveTo>
                    <a:pt x="901390" y="93996"/>
                  </a:moveTo>
                  <a:cubicBezTo>
                    <a:pt x="898201" y="93998"/>
                    <a:pt x="895020" y="93684"/>
                    <a:pt x="891893" y="93059"/>
                  </a:cubicBezTo>
                  <a:cubicBezTo>
                    <a:pt x="888891" y="92468"/>
                    <a:pt x="885939" y="91640"/>
                    <a:pt x="883065" y="90583"/>
                  </a:cubicBezTo>
                  <a:cubicBezTo>
                    <a:pt x="880419" y="89614"/>
                    <a:pt x="877866" y="88405"/>
                    <a:pt x="875441" y="86972"/>
                  </a:cubicBezTo>
                  <a:cubicBezTo>
                    <a:pt x="873300" y="85719"/>
                    <a:pt x="871285" y="84264"/>
                    <a:pt x="869421" y="82626"/>
                  </a:cubicBezTo>
                  <a:cubicBezTo>
                    <a:pt x="868833" y="82145"/>
                    <a:pt x="868747" y="81278"/>
                    <a:pt x="869225" y="80689"/>
                  </a:cubicBezTo>
                  <a:cubicBezTo>
                    <a:pt x="869246" y="80665"/>
                    <a:pt x="869267" y="80642"/>
                    <a:pt x="869288" y="80620"/>
                  </a:cubicBezTo>
                  <a:lnTo>
                    <a:pt x="875173" y="73664"/>
                  </a:lnTo>
                  <a:cubicBezTo>
                    <a:pt x="875568" y="73116"/>
                    <a:pt x="876335" y="72993"/>
                    <a:pt x="876882" y="73389"/>
                  </a:cubicBezTo>
                  <a:cubicBezTo>
                    <a:pt x="876942" y="73431"/>
                    <a:pt x="876995" y="73479"/>
                    <a:pt x="877046" y="73530"/>
                  </a:cubicBezTo>
                  <a:cubicBezTo>
                    <a:pt x="880428" y="76108"/>
                    <a:pt x="884111" y="78264"/>
                    <a:pt x="888014" y="79951"/>
                  </a:cubicBezTo>
                  <a:cubicBezTo>
                    <a:pt x="892565" y="81950"/>
                    <a:pt x="897490" y="82953"/>
                    <a:pt x="902460" y="82894"/>
                  </a:cubicBezTo>
                  <a:cubicBezTo>
                    <a:pt x="907734" y="83216"/>
                    <a:pt x="912956" y="81703"/>
                    <a:pt x="917242" y="78613"/>
                  </a:cubicBezTo>
                  <a:cubicBezTo>
                    <a:pt x="920688" y="75920"/>
                    <a:pt x="922649" y="71749"/>
                    <a:pt x="922525" y="67377"/>
                  </a:cubicBezTo>
                  <a:cubicBezTo>
                    <a:pt x="922548" y="65551"/>
                    <a:pt x="922230" y="63736"/>
                    <a:pt x="921588" y="62027"/>
                  </a:cubicBezTo>
                  <a:cubicBezTo>
                    <a:pt x="920919" y="60358"/>
                    <a:pt x="919838" y="58886"/>
                    <a:pt x="918446" y="57746"/>
                  </a:cubicBezTo>
                  <a:cubicBezTo>
                    <a:pt x="916707" y="56348"/>
                    <a:pt x="914737" y="55261"/>
                    <a:pt x="912626" y="54536"/>
                  </a:cubicBezTo>
                  <a:cubicBezTo>
                    <a:pt x="909681" y="53523"/>
                    <a:pt x="906628" y="52850"/>
                    <a:pt x="903531" y="52530"/>
                  </a:cubicBezTo>
                  <a:lnTo>
                    <a:pt x="898983" y="51861"/>
                  </a:lnTo>
                  <a:cubicBezTo>
                    <a:pt x="881148" y="49453"/>
                    <a:pt x="872230" y="41071"/>
                    <a:pt x="872230" y="26714"/>
                  </a:cubicBezTo>
                  <a:cubicBezTo>
                    <a:pt x="872183" y="22955"/>
                    <a:pt x="872890" y="19226"/>
                    <a:pt x="874311" y="15745"/>
                  </a:cubicBezTo>
                  <a:cubicBezTo>
                    <a:pt x="875634" y="12526"/>
                    <a:pt x="877667" y="9645"/>
                    <a:pt x="880256" y="7318"/>
                  </a:cubicBezTo>
                  <a:cubicBezTo>
                    <a:pt x="882982" y="4919"/>
                    <a:pt x="886168" y="3099"/>
                    <a:pt x="889619" y="1968"/>
                  </a:cubicBezTo>
                  <a:cubicBezTo>
                    <a:pt x="893590" y="670"/>
                    <a:pt x="897749" y="38"/>
                    <a:pt x="901925" y="95"/>
                  </a:cubicBezTo>
                  <a:cubicBezTo>
                    <a:pt x="907121" y="71"/>
                    <a:pt x="912287" y="861"/>
                    <a:pt x="917240" y="2435"/>
                  </a:cubicBezTo>
                  <a:cubicBezTo>
                    <a:pt x="921672" y="3779"/>
                    <a:pt x="925857" y="5835"/>
                    <a:pt x="929629" y="8522"/>
                  </a:cubicBezTo>
                  <a:cubicBezTo>
                    <a:pt x="930203" y="8842"/>
                    <a:pt x="930408" y="9566"/>
                    <a:pt x="930087" y="10140"/>
                  </a:cubicBezTo>
                  <a:cubicBezTo>
                    <a:pt x="930036" y="10233"/>
                    <a:pt x="929971" y="10319"/>
                    <a:pt x="929896" y="10395"/>
                  </a:cubicBezTo>
                  <a:lnTo>
                    <a:pt x="925348" y="17752"/>
                  </a:lnTo>
                  <a:cubicBezTo>
                    <a:pt x="924932" y="18339"/>
                    <a:pt x="924121" y="18478"/>
                    <a:pt x="923532" y="18063"/>
                  </a:cubicBezTo>
                  <a:cubicBezTo>
                    <a:pt x="923514" y="18049"/>
                    <a:pt x="923494" y="18034"/>
                    <a:pt x="923476" y="18019"/>
                  </a:cubicBezTo>
                  <a:cubicBezTo>
                    <a:pt x="920081" y="15865"/>
                    <a:pt x="916440" y="14133"/>
                    <a:pt x="912626" y="12862"/>
                  </a:cubicBezTo>
                  <a:cubicBezTo>
                    <a:pt x="909036" y="11731"/>
                    <a:pt x="905290" y="11167"/>
                    <a:pt x="901524" y="11191"/>
                  </a:cubicBezTo>
                  <a:cubicBezTo>
                    <a:pt x="896881" y="10866"/>
                    <a:pt x="892289" y="12324"/>
                    <a:pt x="888683" y="15270"/>
                  </a:cubicBezTo>
                  <a:cubicBezTo>
                    <a:pt x="885734" y="18002"/>
                    <a:pt x="884123" y="21885"/>
                    <a:pt x="884269" y="25902"/>
                  </a:cubicBezTo>
                  <a:cubicBezTo>
                    <a:pt x="884177" y="29535"/>
                    <a:pt x="885755" y="33009"/>
                    <a:pt x="888549" y="35331"/>
                  </a:cubicBezTo>
                  <a:cubicBezTo>
                    <a:pt x="892943" y="38358"/>
                    <a:pt x="898073" y="40139"/>
                    <a:pt x="903397" y="40482"/>
                  </a:cubicBezTo>
                  <a:lnTo>
                    <a:pt x="907811" y="41151"/>
                  </a:lnTo>
                  <a:cubicBezTo>
                    <a:pt x="915156" y="41744"/>
                    <a:pt x="922147" y="44541"/>
                    <a:pt x="927875" y="49177"/>
                  </a:cubicBezTo>
                  <a:cubicBezTo>
                    <a:pt x="932518" y="53730"/>
                    <a:pt x="934959" y="60074"/>
                    <a:pt x="934563" y="66566"/>
                  </a:cubicBezTo>
                  <a:cubicBezTo>
                    <a:pt x="934605" y="70345"/>
                    <a:pt x="933897" y="74095"/>
                    <a:pt x="932482" y="77600"/>
                  </a:cubicBezTo>
                  <a:cubicBezTo>
                    <a:pt x="931106" y="80934"/>
                    <a:pt x="928948" y="83890"/>
                    <a:pt x="926196" y="86220"/>
                  </a:cubicBezTo>
                  <a:cubicBezTo>
                    <a:pt x="923119" y="88775"/>
                    <a:pt x="919576" y="90706"/>
                    <a:pt x="915762" y="91906"/>
                  </a:cubicBezTo>
                  <a:cubicBezTo>
                    <a:pt x="911113" y="93368"/>
                    <a:pt x="906262" y="94074"/>
                    <a:pt x="901390" y="93996"/>
                  </a:cubicBezTo>
                  <a:close/>
                  <a:moveTo>
                    <a:pt x="971348" y="92524"/>
                  </a:moveTo>
                  <a:cubicBezTo>
                    <a:pt x="970697" y="92612"/>
                    <a:pt x="970099" y="92156"/>
                    <a:pt x="970010" y="91505"/>
                  </a:cubicBezTo>
                  <a:cubicBezTo>
                    <a:pt x="969995" y="91400"/>
                    <a:pt x="969995" y="91293"/>
                    <a:pt x="970010" y="91187"/>
                  </a:cubicBezTo>
                  <a:lnTo>
                    <a:pt x="970010" y="13457"/>
                  </a:lnTo>
                  <a:cubicBezTo>
                    <a:pt x="970063" y="13068"/>
                    <a:pt x="969793" y="12709"/>
                    <a:pt x="969407" y="12654"/>
                  </a:cubicBezTo>
                  <a:cubicBezTo>
                    <a:pt x="969341" y="12645"/>
                    <a:pt x="969273" y="12645"/>
                    <a:pt x="969207" y="12654"/>
                  </a:cubicBezTo>
                  <a:lnTo>
                    <a:pt x="944328" y="12654"/>
                  </a:lnTo>
                  <a:cubicBezTo>
                    <a:pt x="943677" y="12742"/>
                    <a:pt x="943079" y="12286"/>
                    <a:pt x="942990" y="11635"/>
                  </a:cubicBezTo>
                  <a:cubicBezTo>
                    <a:pt x="942975" y="11529"/>
                    <a:pt x="942975" y="11422"/>
                    <a:pt x="942990" y="11316"/>
                  </a:cubicBezTo>
                  <a:lnTo>
                    <a:pt x="942990" y="2904"/>
                  </a:lnTo>
                  <a:cubicBezTo>
                    <a:pt x="942901" y="2253"/>
                    <a:pt x="943359" y="1655"/>
                    <a:pt x="944010" y="1567"/>
                  </a:cubicBezTo>
                  <a:cubicBezTo>
                    <a:pt x="944114" y="1552"/>
                    <a:pt x="944221" y="1552"/>
                    <a:pt x="944328" y="1567"/>
                  </a:cubicBezTo>
                  <a:lnTo>
                    <a:pt x="1007597" y="1567"/>
                  </a:lnTo>
                  <a:cubicBezTo>
                    <a:pt x="1008248" y="1479"/>
                    <a:pt x="1008845" y="1935"/>
                    <a:pt x="1008935" y="2586"/>
                  </a:cubicBezTo>
                  <a:cubicBezTo>
                    <a:pt x="1008949" y="2691"/>
                    <a:pt x="1008949" y="2798"/>
                    <a:pt x="1008935" y="2904"/>
                  </a:cubicBezTo>
                  <a:lnTo>
                    <a:pt x="1008935" y="11331"/>
                  </a:lnTo>
                  <a:cubicBezTo>
                    <a:pt x="1009024" y="11982"/>
                    <a:pt x="1008566" y="12581"/>
                    <a:pt x="1007915" y="12669"/>
                  </a:cubicBezTo>
                  <a:cubicBezTo>
                    <a:pt x="1007811" y="12683"/>
                    <a:pt x="1007704" y="12683"/>
                    <a:pt x="1007597" y="12669"/>
                  </a:cubicBezTo>
                  <a:lnTo>
                    <a:pt x="982717" y="12669"/>
                  </a:lnTo>
                  <a:cubicBezTo>
                    <a:pt x="982328" y="12614"/>
                    <a:pt x="981968" y="12885"/>
                    <a:pt x="981915" y="13273"/>
                  </a:cubicBezTo>
                  <a:cubicBezTo>
                    <a:pt x="981906" y="13339"/>
                    <a:pt x="981906" y="13406"/>
                    <a:pt x="981915" y="13471"/>
                  </a:cubicBezTo>
                  <a:lnTo>
                    <a:pt x="981915" y="91187"/>
                  </a:lnTo>
                  <a:cubicBezTo>
                    <a:pt x="982004" y="91837"/>
                    <a:pt x="981546" y="92436"/>
                    <a:pt x="980895" y="92524"/>
                  </a:cubicBezTo>
                  <a:cubicBezTo>
                    <a:pt x="980791" y="92539"/>
                    <a:pt x="980684" y="92539"/>
                    <a:pt x="980577" y="92524"/>
                  </a:cubicBezTo>
                  <a:close/>
                  <a:moveTo>
                    <a:pt x="1023113" y="2904"/>
                  </a:moveTo>
                  <a:cubicBezTo>
                    <a:pt x="1023024" y="2253"/>
                    <a:pt x="1023482" y="1655"/>
                    <a:pt x="1024133" y="1567"/>
                  </a:cubicBezTo>
                  <a:cubicBezTo>
                    <a:pt x="1024237" y="1552"/>
                    <a:pt x="1024344" y="1552"/>
                    <a:pt x="1024451" y="1567"/>
                  </a:cubicBezTo>
                  <a:lnTo>
                    <a:pt x="1033666" y="1567"/>
                  </a:lnTo>
                  <a:cubicBezTo>
                    <a:pt x="1034317" y="1479"/>
                    <a:pt x="1034914" y="1935"/>
                    <a:pt x="1035003" y="2586"/>
                  </a:cubicBezTo>
                  <a:cubicBezTo>
                    <a:pt x="1035018" y="2691"/>
                    <a:pt x="1035018" y="2798"/>
                    <a:pt x="1035003" y="2904"/>
                  </a:cubicBezTo>
                  <a:lnTo>
                    <a:pt x="1035003" y="91187"/>
                  </a:lnTo>
                  <a:cubicBezTo>
                    <a:pt x="1035092" y="91837"/>
                    <a:pt x="1034635" y="92436"/>
                    <a:pt x="1033984" y="92524"/>
                  </a:cubicBezTo>
                  <a:cubicBezTo>
                    <a:pt x="1033880" y="92539"/>
                    <a:pt x="1033773" y="92539"/>
                    <a:pt x="1033666" y="92524"/>
                  </a:cubicBezTo>
                  <a:lnTo>
                    <a:pt x="1024451" y="92524"/>
                  </a:lnTo>
                  <a:cubicBezTo>
                    <a:pt x="1023800" y="92612"/>
                    <a:pt x="1023202" y="92156"/>
                    <a:pt x="1023113" y="91505"/>
                  </a:cubicBezTo>
                  <a:cubicBezTo>
                    <a:pt x="1023098" y="91400"/>
                    <a:pt x="1023098" y="91293"/>
                    <a:pt x="1023113" y="91187"/>
                  </a:cubicBezTo>
                  <a:close/>
                  <a:moveTo>
                    <a:pt x="1056702" y="72594"/>
                  </a:moveTo>
                  <a:cubicBezTo>
                    <a:pt x="1056256" y="71256"/>
                    <a:pt x="1055876" y="69897"/>
                    <a:pt x="1055564" y="68516"/>
                  </a:cubicBezTo>
                  <a:cubicBezTo>
                    <a:pt x="1055213" y="66883"/>
                    <a:pt x="1054969" y="65230"/>
                    <a:pt x="1054830" y="63567"/>
                  </a:cubicBezTo>
                  <a:cubicBezTo>
                    <a:pt x="1054651" y="61650"/>
                    <a:pt x="1054518" y="59354"/>
                    <a:pt x="1054428" y="56676"/>
                  </a:cubicBezTo>
                  <a:cubicBezTo>
                    <a:pt x="1054339" y="53999"/>
                    <a:pt x="1054295" y="50789"/>
                    <a:pt x="1054295" y="47046"/>
                  </a:cubicBezTo>
                  <a:cubicBezTo>
                    <a:pt x="1054295" y="43300"/>
                    <a:pt x="1054339" y="40090"/>
                    <a:pt x="1054428" y="37415"/>
                  </a:cubicBezTo>
                  <a:cubicBezTo>
                    <a:pt x="1054518" y="34739"/>
                    <a:pt x="1054651" y="32444"/>
                    <a:pt x="1054830" y="30527"/>
                  </a:cubicBezTo>
                  <a:cubicBezTo>
                    <a:pt x="1054969" y="28864"/>
                    <a:pt x="1055213" y="27211"/>
                    <a:pt x="1055564" y="25578"/>
                  </a:cubicBezTo>
                  <a:cubicBezTo>
                    <a:pt x="1055876" y="24191"/>
                    <a:pt x="1056256" y="22832"/>
                    <a:pt x="1056702" y="21500"/>
                  </a:cubicBezTo>
                  <a:cubicBezTo>
                    <a:pt x="1058507" y="15006"/>
                    <a:pt x="1062469" y="9321"/>
                    <a:pt x="1067938" y="5383"/>
                  </a:cubicBezTo>
                  <a:cubicBezTo>
                    <a:pt x="1073583" y="1724"/>
                    <a:pt x="1080209" y="-120"/>
                    <a:pt x="1086932" y="98"/>
                  </a:cubicBezTo>
                  <a:cubicBezTo>
                    <a:pt x="1093175" y="-45"/>
                    <a:pt x="1099325" y="1605"/>
                    <a:pt x="1104654" y="4854"/>
                  </a:cubicBezTo>
                  <a:cubicBezTo>
                    <a:pt x="1109764" y="8104"/>
                    <a:pt x="1113756" y="12842"/>
                    <a:pt x="1116092" y="18429"/>
                  </a:cubicBezTo>
                  <a:cubicBezTo>
                    <a:pt x="1116416" y="19058"/>
                    <a:pt x="1116179" y="19830"/>
                    <a:pt x="1115557" y="20168"/>
                  </a:cubicBezTo>
                  <a:lnTo>
                    <a:pt x="1107532" y="24047"/>
                  </a:lnTo>
                  <a:cubicBezTo>
                    <a:pt x="1107008" y="24443"/>
                    <a:pt x="1106262" y="24340"/>
                    <a:pt x="1105867" y="23816"/>
                  </a:cubicBezTo>
                  <a:cubicBezTo>
                    <a:pt x="1105769" y="23686"/>
                    <a:pt x="1105698" y="23537"/>
                    <a:pt x="1105659" y="23379"/>
                  </a:cubicBezTo>
                  <a:cubicBezTo>
                    <a:pt x="1103994" y="19957"/>
                    <a:pt x="1101569" y="16961"/>
                    <a:pt x="1098570" y="14619"/>
                  </a:cubicBezTo>
                  <a:cubicBezTo>
                    <a:pt x="1095184" y="12208"/>
                    <a:pt x="1091085" y="11007"/>
                    <a:pt x="1086932" y="11209"/>
                  </a:cubicBezTo>
                  <a:cubicBezTo>
                    <a:pt x="1082643" y="10998"/>
                    <a:pt x="1078407" y="12221"/>
                    <a:pt x="1074894" y="14687"/>
                  </a:cubicBezTo>
                  <a:cubicBezTo>
                    <a:pt x="1071690" y="17241"/>
                    <a:pt x="1069311" y="20685"/>
                    <a:pt x="1068057" y="24585"/>
                  </a:cubicBezTo>
                  <a:cubicBezTo>
                    <a:pt x="1067790" y="25576"/>
                    <a:pt x="1067546" y="26625"/>
                    <a:pt x="1067323" y="27730"/>
                  </a:cubicBezTo>
                  <a:cubicBezTo>
                    <a:pt x="1067064" y="29106"/>
                    <a:pt x="1066886" y="30496"/>
                    <a:pt x="1066788" y="31892"/>
                  </a:cubicBezTo>
                  <a:cubicBezTo>
                    <a:pt x="1066654" y="33541"/>
                    <a:pt x="1066541" y="35592"/>
                    <a:pt x="1066455" y="38045"/>
                  </a:cubicBezTo>
                  <a:cubicBezTo>
                    <a:pt x="1066369" y="40498"/>
                    <a:pt x="1066324" y="43508"/>
                    <a:pt x="1066321" y="47075"/>
                  </a:cubicBezTo>
                  <a:cubicBezTo>
                    <a:pt x="1066321" y="50642"/>
                    <a:pt x="1066366" y="53651"/>
                    <a:pt x="1066455" y="56103"/>
                  </a:cubicBezTo>
                  <a:cubicBezTo>
                    <a:pt x="1066544" y="58554"/>
                    <a:pt x="1066654" y="60605"/>
                    <a:pt x="1066788" y="62256"/>
                  </a:cubicBezTo>
                  <a:cubicBezTo>
                    <a:pt x="1066892" y="63669"/>
                    <a:pt x="1067070" y="65076"/>
                    <a:pt x="1067323" y="66471"/>
                  </a:cubicBezTo>
                  <a:cubicBezTo>
                    <a:pt x="1067516" y="67508"/>
                    <a:pt x="1067760" y="68535"/>
                    <a:pt x="1068057" y="69547"/>
                  </a:cubicBezTo>
                  <a:cubicBezTo>
                    <a:pt x="1069311" y="73448"/>
                    <a:pt x="1071690" y="76891"/>
                    <a:pt x="1074894" y="79446"/>
                  </a:cubicBezTo>
                  <a:cubicBezTo>
                    <a:pt x="1078407" y="81911"/>
                    <a:pt x="1082643" y="83135"/>
                    <a:pt x="1086932" y="82923"/>
                  </a:cubicBezTo>
                  <a:cubicBezTo>
                    <a:pt x="1091085" y="83125"/>
                    <a:pt x="1095184" y="81922"/>
                    <a:pt x="1098570" y="79511"/>
                  </a:cubicBezTo>
                  <a:cubicBezTo>
                    <a:pt x="1101569" y="77168"/>
                    <a:pt x="1103994" y="74172"/>
                    <a:pt x="1105659" y="70751"/>
                  </a:cubicBezTo>
                  <a:cubicBezTo>
                    <a:pt x="1105814" y="70113"/>
                    <a:pt x="1106456" y="69720"/>
                    <a:pt x="1107095" y="69875"/>
                  </a:cubicBezTo>
                  <a:cubicBezTo>
                    <a:pt x="1107252" y="69913"/>
                    <a:pt x="1107401" y="69984"/>
                    <a:pt x="1107532" y="70082"/>
                  </a:cubicBezTo>
                  <a:lnTo>
                    <a:pt x="1115557" y="73946"/>
                  </a:lnTo>
                  <a:cubicBezTo>
                    <a:pt x="1116179" y="74285"/>
                    <a:pt x="1116416" y="75057"/>
                    <a:pt x="1116092" y="75685"/>
                  </a:cubicBezTo>
                  <a:cubicBezTo>
                    <a:pt x="1113756" y="81273"/>
                    <a:pt x="1109764" y="86011"/>
                    <a:pt x="1104654" y="89261"/>
                  </a:cubicBezTo>
                  <a:cubicBezTo>
                    <a:pt x="1099325" y="92510"/>
                    <a:pt x="1093175" y="94160"/>
                    <a:pt x="1086932" y="94017"/>
                  </a:cubicBezTo>
                  <a:cubicBezTo>
                    <a:pt x="1080209" y="94235"/>
                    <a:pt x="1073583" y="92391"/>
                    <a:pt x="1067938" y="88732"/>
                  </a:cubicBezTo>
                  <a:cubicBezTo>
                    <a:pt x="1062463" y="84794"/>
                    <a:pt x="1058492" y="79107"/>
                    <a:pt x="1056687" y="72609"/>
                  </a:cubicBezTo>
                  <a:close/>
                  <a:moveTo>
                    <a:pt x="1160769" y="93996"/>
                  </a:moveTo>
                  <a:cubicBezTo>
                    <a:pt x="1157579" y="93998"/>
                    <a:pt x="1154399" y="93684"/>
                    <a:pt x="1151272" y="93059"/>
                  </a:cubicBezTo>
                  <a:cubicBezTo>
                    <a:pt x="1148269" y="92468"/>
                    <a:pt x="1145318" y="91640"/>
                    <a:pt x="1142443" y="90583"/>
                  </a:cubicBezTo>
                  <a:cubicBezTo>
                    <a:pt x="1139798" y="89614"/>
                    <a:pt x="1137245" y="88405"/>
                    <a:pt x="1134819" y="86972"/>
                  </a:cubicBezTo>
                  <a:cubicBezTo>
                    <a:pt x="1132673" y="85720"/>
                    <a:pt x="1130652" y="84264"/>
                    <a:pt x="1128785" y="82626"/>
                  </a:cubicBezTo>
                  <a:cubicBezTo>
                    <a:pt x="1128196" y="82145"/>
                    <a:pt x="1128110" y="81278"/>
                    <a:pt x="1128589" y="80689"/>
                  </a:cubicBezTo>
                  <a:cubicBezTo>
                    <a:pt x="1128609" y="80665"/>
                    <a:pt x="1128630" y="80642"/>
                    <a:pt x="1128651" y="80620"/>
                  </a:cubicBezTo>
                  <a:lnTo>
                    <a:pt x="1134537" y="73664"/>
                  </a:lnTo>
                  <a:cubicBezTo>
                    <a:pt x="1134932" y="73116"/>
                    <a:pt x="1135699" y="72993"/>
                    <a:pt x="1136246" y="73389"/>
                  </a:cubicBezTo>
                  <a:cubicBezTo>
                    <a:pt x="1136305" y="73431"/>
                    <a:pt x="1136359" y="73479"/>
                    <a:pt x="1136409" y="73530"/>
                  </a:cubicBezTo>
                  <a:cubicBezTo>
                    <a:pt x="1139792" y="76108"/>
                    <a:pt x="1143475" y="78264"/>
                    <a:pt x="1147378" y="79951"/>
                  </a:cubicBezTo>
                  <a:cubicBezTo>
                    <a:pt x="1151929" y="81950"/>
                    <a:pt x="1156854" y="82953"/>
                    <a:pt x="1161824" y="82894"/>
                  </a:cubicBezTo>
                  <a:cubicBezTo>
                    <a:pt x="1167097" y="83216"/>
                    <a:pt x="1172320" y="81703"/>
                    <a:pt x="1176606" y="78613"/>
                  </a:cubicBezTo>
                  <a:cubicBezTo>
                    <a:pt x="1180051" y="75920"/>
                    <a:pt x="1182013" y="71749"/>
                    <a:pt x="1181888" y="67377"/>
                  </a:cubicBezTo>
                  <a:cubicBezTo>
                    <a:pt x="1181912" y="65551"/>
                    <a:pt x="1181594" y="63736"/>
                    <a:pt x="1180952" y="62027"/>
                  </a:cubicBezTo>
                  <a:cubicBezTo>
                    <a:pt x="1180283" y="60358"/>
                    <a:pt x="1179201" y="58886"/>
                    <a:pt x="1177810" y="57746"/>
                  </a:cubicBezTo>
                  <a:cubicBezTo>
                    <a:pt x="1176071" y="56348"/>
                    <a:pt x="1174100" y="55261"/>
                    <a:pt x="1171990" y="54536"/>
                  </a:cubicBezTo>
                  <a:cubicBezTo>
                    <a:pt x="1169044" y="53523"/>
                    <a:pt x="1165991" y="52850"/>
                    <a:pt x="1162894" y="52530"/>
                  </a:cubicBezTo>
                  <a:lnTo>
                    <a:pt x="1158346" y="51861"/>
                  </a:lnTo>
                  <a:cubicBezTo>
                    <a:pt x="1140511" y="49453"/>
                    <a:pt x="1131594" y="41071"/>
                    <a:pt x="1131594" y="26714"/>
                  </a:cubicBezTo>
                  <a:cubicBezTo>
                    <a:pt x="1131546" y="22955"/>
                    <a:pt x="1132254" y="19226"/>
                    <a:pt x="1133675" y="15745"/>
                  </a:cubicBezTo>
                  <a:cubicBezTo>
                    <a:pt x="1134997" y="12526"/>
                    <a:pt x="1137031" y="9645"/>
                    <a:pt x="1139620" y="7318"/>
                  </a:cubicBezTo>
                  <a:cubicBezTo>
                    <a:pt x="1142345" y="4919"/>
                    <a:pt x="1145532" y="3099"/>
                    <a:pt x="1148983" y="1968"/>
                  </a:cubicBezTo>
                  <a:cubicBezTo>
                    <a:pt x="1152954" y="670"/>
                    <a:pt x="1157113" y="38"/>
                    <a:pt x="1161289" y="95"/>
                  </a:cubicBezTo>
                  <a:cubicBezTo>
                    <a:pt x="1166485" y="71"/>
                    <a:pt x="1171651" y="861"/>
                    <a:pt x="1176603" y="2435"/>
                  </a:cubicBezTo>
                  <a:cubicBezTo>
                    <a:pt x="1181029" y="3780"/>
                    <a:pt x="1185208" y="5836"/>
                    <a:pt x="1188978" y="8522"/>
                  </a:cubicBezTo>
                  <a:cubicBezTo>
                    <a:pt x="1189551" y="8842"/>
                    <a:pt x="1189756" y="9566"/>
                    <a:pt x="1189435" y="10140"/>
                  </a:cubicBezTo>
                  <a:cubicBezTo>
                    <a:pt x="1189385" y="10233"/>
                    <a:pt x="1189319" y="10319"/>
                    <a:pt x="1189245" y="10395"/>
                  </a:cubicBezTo>
                  <a:lnTo>
                    <a:pt x="1184697" y="17752"/>
                  </a:lnTo>
                  <a:cubicBezTo>
                    <a:pt x="1184281" y="18339"/>
                    <a:pt x="1183470" y="18478"/>
                    <a:pt x="1182881" y="18063"/>
                  </a:cubicBezTo>
                  <a:cubicBezTo>
                    <a:pt x="1182863" y="18049"/>
                    <a:pt x="1182842" y="18034"/>
                    <a:pt x="1182825" y="18019"/>
                  </a:cubicBezTo>
                  <a:cubicBezTo>
                    <a:pt x="1179436" y="15866"/>
                    <a:pt x="1175798" y="14134"/>
                    <a:pt x="1171990" y="12862"/>
                  </a:cubicBezTo>
                  <a:cubicBezTo>
                    <a:pt x="1168399" y="11733"/>
                    <a:pt x="1164654" y="11171"/>
                    <a:pt x="1160888" y="11197"/>
                  </a:cubicBezTo>
                  <a:cubicBezTo>
                    <a:pt x="1156245" y="10871"/>
                    <a:pt x="1151652" y="12330"/>
                    <a:pt x="1148047" y="15276"/>
                  </a:cubicBezTo>
                  <a:cubicBezTo>
                    <a:pt x="1145104" y="18012"/>
                    <a:pt x="1143496" y="21895"/>
                    <a:pt x="1143647" y="25911"/>
                  </a:cubicBezTo>
                  <a:cubicBezTo>
                    <a:pt x="1143555" y="29544"/>
                    <a:pt x="1145134" y="33018"/>
                    <a:pt x="1147928" y="35340"/>
                  </a:cubicBezTo>
                  <a:cubicBezTo>
                    <a:pt x="1152315" y="38370"/>
                    <a:pt x="1157440" y="40155"/>
                    <a:pt x="1162760" y="40506"/>
                  </a:cubicBezTo>
                  <a:lnTo>
                    <a:pt x="1167174" y="41175"/>
                  </a:lnTo>
                  <a:cubicBezTo>
                    <a:pt x="1174519" y="41767"/>
                    <a:pt x="1181511" y="44565"/>
                    <a:pt x="1187239" y="49201"/>
                  </a:cubicBezTo>
                  <a:cubicBezTo>
                    <a:pt x="1191882" y="53754"/>
                    <a:pt x="1194322" y="60098"/>
                    <a:pt x="1193927" y="66590"/>
                  </a:cubicBezTo>
                  <a:cubicBezTo>
                    <a:pt x="1193968" y="70369"/>
                    <a:pt x="1193261" y="74119"/>
                    <a:pt x="1191846" y="77623"/>
                  </a:cubicBezTo>
                  <a:cubicBezTo>
                    <a:pt x="1190470" y="80958"/>
                    <a:pt x="1188312" y="83913"/>
                    <a:pt x="1185559" y="86244"/>
                  </a:cubicBezTo>
                  <a:cubicBezTo>
                    <a:pt x="1182483" y="88799"/>
                    <a:pt x="1178939" y="90730"/>
                    <a:pt x="1175126" y="91930"/>
                  </a:cubicBezTo>
                  <a:cubicBezTo>
                    <a:pt x="1170477" y="93384"/>
                    <a:pt x="1165623" y="94081"/>
                    <a:pt x="1160754" y="93996"/>
                  </a:cubicBezTo>
                  <a:close/>
                </a:path>
              </a:pathLst>
            </a:custGeom>
            <a:solidFill>
              <a:schemeClr val="bg1"/>
            </a:solidFill>
            <a:ln w="2965" cap="flat">
              <a:noFill/>
              <a:prstDash val="solid"/>
              <a:miter/>
            </a:ln>
          </p:spPr>
          <p:txBody>
            <a:bodyPr rtlCol="0" anchor="ctr"/>
            <a:lstStyle/>
            <a:p>
              <a:endParaRPr lang="de-DE"/>
            </a:p>
          </p:txBody>
        </p:sp>
      </p:grpSp>
      <p:sp>
        <p:nvSpPr>
          <p:cNvPr id="2" name="Title Placeholder 1"/>
          <p:cNvSpPr>
            <a:spLocks noGrp="1"/>
          </p:cNvSpPr>
          <p:nvPr>
            <p:ph type="title"/>
          </p:nvPr>
        </p:nvSpPr>
        <p:spPr>
          <a:xfrm>
            <a:off x="410151" y="307250"/>
            <a:ext cx="8892000" cy="829054"/>
          </a:xfrm>
          <a:prstGeom prst="rect">
            <a:avLst/>
          </a:prstGeom>
        </p:spPr>
        <p:txBody>
          <a:bodyPr vert="horz" lIns="0" tIns="0" rIns="0" bIns="0" rtlCol="0" anchor="b" anchorCtr="0">
            <a:noAutofit/>
          </a:bodyPr>
          <a:lstStyle/>
          <a:p>
            <a:r>
              <a:rPr lang="de-DE"/>
              <a:t>Mastertitelformat bearbeiten</a:t>
            </a:r>
          </a:p>
        </p:txBody>
      </p:sp>
      <p:cxnSp>
        <p:nvCxnSpPr>
          <p:cNvPr id="7" name="Gerade Verbindung 13">
            <a:extLst>
              <a:ext uri="{FF2B5EF4-FFF2-40B4-BE49-F238E27FC236}">
                <a16:creationId xmlns:a16="http://schemas.microsoft.com/office/drawing/2014/main" id="{CE770183-5BDA-4B3B-8245-4D88A8B36CC4}"/>
              </a:ext>
            </a:extLst>
          </p:cNvPr>
          <p:cNvCxnSpPr>
            <a:cxnSpLocks/>
          </p:cNvCxnSpPr>
          <p:nvPr/>
        </p:nvCxnSpPr>
        <p:spPr>
          <a:xfrm flipV="1">
            <a:off x="1143495" y="6403913"/>
            <a:ext cx="0" cy="27000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Datumsplatzhalter 11">
            <a:extLst>
              <a:ext uri="{FF2B5EF4-FFF2-40B4-BE49-F238E27FC236}">
                <a16:creationId xmlns:a16="http://schemas.microsoft.com/office/drawing/2014/main" id="{ED50FA2A-E1A8-442E-9B20-8099EF7A5B12}"/>
              </a:ext>
            </a:extLst>
          </p:cNvPr>
          <p:cNvSpPr>
            <a:spLocks noGrp="1"/>
          </p:cNvSpPr>
          <p:nvPr>
            <p:ph type="dt" sz="half" idx="2"/>
          </p:nvPr>
        </p:nvSpPr>
        <p:spPr>
          <a:xfrm>
            <a:off x="410151" y="6356351"/>
            <a:ext cx="652076" cy="365125"/>
          </a:xfrm>
          <a:prstGeom prst="rect">
            <a:avLst/>
          </a:prstGeom>
        </p:spPr>
        <p:txBody>
          <a:bodyPr vert="horz" lIns="0" tIns="0" rIns="0" bIns="0" rtlCol="0" anchor="ctr"/>
          <a:lstStyle>
            <a:lvl1pPr algn="r">
              <a:defRPr sz="1000">
                <a:solidFill>
                  <a:schemeClr val="tx1"/>
                </a:solidFill>
              </a:defRPr>
            </a:lvl1pPr>
          </a:lstStyle>
          <a:p>
            <a:fld id="{2C57EC1E-8587-4C6C-ADED-5BDD4F8F59F4}" type="datetime1">
              <a:rPr lang="de-DE"/>
              <a:pPr/>
              <a:t>04.05.2026</a:t>
            </a:fld>
            <a:endParaRPr lang="de-DE"/>
          </a:p>
        </p:txBody>
      </p:sp>
      <p:sp>
        <p:nvSpPr>
          <p:cNvPr id="13" name="Fußzeilenplatzhalter 12">
            <a:extLst>
              <a:ext uri="{FF2B5EF4-FFF2-40B4-BE49-F238E27FC236}">
                <a16:creationId xmlns:a16="http://schemas.microsoft.com/office/drawing/2014/main" id="{3422C354-5049-480C-BCCE-00AC66EFD533}"/>
              </a:ext>
            </a:extLst>
          </p:cNvPr>
          <p:cNvSpPr>
            <a:spLocks noGrp="1"/>
          </p:cNvSpPr>
          <p:nvPr>
            <p:ph type="ftr" sz="quarter" idx="3"/>
          </p:nvPr>
        </p:nvSpPr>
        <p:spPr>
          <a:xfrm>
            <a:off x="1962502" y="6356351"/>
            <a:ext cx="7339649" cy="365125"/>
          </a:xfrm>
          <a:prstGeom prst="rect">
            <a:avLst/>
          </a:prstGeom>
        </p:spPr>
        <p:txBody>
          <a:bodyPr vert="horz" lIns="0" tIns="0" rIns="0" bIns="0" rtlCol="0" anchor="ctr"/>
          <a:lstStyle>
            <a:lvl1pPr algn="ctr">
              <a:defRPr sz="1000">
                <a:solidFill>
                  <a:schemeClr val="tx1"/>
                </a:solidFill>
              </a:defRPr>
            </a:lvl1pPr>
          </a:lstStyle>
          <a:p>
            <a:endParaRPr lang="de-DE"/>
          </a:p>
        </p:txBody>
      </p:sp>
      <p:sp>
        <p:nvSpPr>
          <p:cNvPr id="14" name="Foliennummernplatzhalter 13">
            <a:extLst>
              <a:ext uri="{FF2B5EF4-FFF2-40B4-BE49-F238E27FC236}">
                <a16:creationId xmlns:a16="http://schemas.microsoft.com/office/drawing/2014/main" id="{BFC788F7-F900-460C-A305-8C455217962A}"/>
              </a:ext>
            </a:extLst>
          </p:cNvPr>
          <p:cNvSpPr>
            <a:spLocks noGrp="1"/>
          </p:cNvSpPr>
          <p:nvPr>
            <p:ph type="sldNum" sz="quarter" idx="4"/>
          </p:nvPr>
        </p:nvSpPr>
        <p:spPr>
          <a:xfrm>
            <a:off x="1224762" y="6356351"/>
            <a:ext cx="561509" cy="365125"/>
          </a:xfrm>
          <a:prstGeom prst="rect">
            <a:avLst/>
          </a:prstGeom>
        </p:spPr>
        <p:txBody>
          <a:bodyPr vert="horz" lIns="0" tIns="0" rIns="0" bIns="0" rtlCol="0" anchor="ctr"/>
          <a:lstStyle>
            <a:lvl1pPr algn="l">
              <a:defRPr sz="1000">
                <a:solidFill>
                  <a:schemeClr val="tx1"/>
                </a:solidFill>
              </a:defRPr>
            </a:lvl1pPr>
          </a:lstStyle>
          <a:p>
            <a:fld id="{EFDB17C1-FF3A-45DC-94C1-44444C959F3B}" type="slidenum">
              <a:rPr lang="de-DE"/>
              <a:pPr/>
              <a:t>‹Nr.›</a:t>
            </a:fld>
            <a:endParaRPr lang="de-DE"/>
          </a:p>
        </p:txBody>
      </p:sp>
      <p:sp>
        <p:nvSpPr>
          <p:cNvPr id="4" name="Text Placeholder 3">
            <a:extLst>
              <a:ext uri="{FF2B5EF4-FFF2-40B4-BE49-F238E27FC236}">
                <a16:creationId xmlns:a16="http://schemas.microsoft.com/office/drawing/2014/main" id="{E40FD202-3136-43D3-9A46-EB6B32972042}"/>
              </a:ext>
            </a:extLst>
          </p:cNvPr>
          <p:cNvSpPr>
            <a:spLocks noGrp="1"/>
          </p:cNvSpPr>
          <p:nvPr>
            <p:ph type="body" idx="1"/>
          </p:nvPr>
        </p:nvSpPr>
        <p:spPr>
          <a:xfrm>
            <a:off x="410152" y="1574799"/>
            <a:ext cx="8891999" cy="4608000"/>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5" name="03 Default Line" hidden="1">
            <a:extLst>
              <a:ext uri="{FF2B5EF4-FFF2-40B4-BE49-F238E27FC236}">
                <a16:creationId xmlns:a16="http://schemas.microsoft.com/office/drawing/2014/main" id="{F66B3A73-5A83-4030-81F6-7C739D28A52B}"/>
              </a:ext>
            </a:extLst>
          </p:cNvPr>
          <p:cNvCxnSpPr/>
          <p:nvPr/>
        </p:nvCxnSpPr>
        <p:spPr>
          <a:xfrm>
            <a:off x="5401095" y="-428625"/>
            <a:ext cx="1629434"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6" name="02 Default Textbox" hidden="1">
            <a:extLst>
              <a:ext uri="{FF2B5EF4-FFF2-40B4-BE49-F238E27FC236}">
                <a16:creationId xmlns:a16="http://schemas.microsoft.com/office/drawing/2014/main" id="{EB3D8510-6EB4-431C-B96A-59C63E2147C7}"/>
              </a:ext>
            </a:extLst>
          </p:cNvPr>
          <p:cNvSpPr txBox="1"/>
          <p:nvPr/>
        </p:nvSpPr>
        <p:spPr>
          <a:xfrm>
            <a:off x="2837132" y="-604108"/>
            <a:ext cx="1514415" cy="306238"/>
          </a:xfrm>
          <a:prstGeom prst="rect">
            <a:avLst/>
          </a:prstGeom>
          <a:noFill/>
        </p:spPr>
        <p:txBody>
          <a:bodyPr wrap="square" rtlCol="0" anchor="ctr" anchorCtr="0">
            <a:spAutoFit/>
          </a:bodyPr>
          <a:lstStyle/>
          <a:p>
            <a:r>
              <a:rPr lang="de-DE" sz="1390">
                <a:solidFill>
                  <a:schemeClr val="bg1"/>
                </a:solidFill>
              </a:rPr>
              <a:t>Text</a:t>
            </a:r>
          </a:p>
        </p:txBody>
      </p:sp>
      <p:sp>
        <p:nvSpPr>
          <p:cNvPr id="17" name="01 Default ShapeRectangle 9" hidden="1">
            <a:extLst>
              <a:ext uri="{FF2B5EF4-FFF2-40B4-BE49-F238E27FC236}">
                <a16:creationId xmlns:a16="http://schemas.microsoft.com/office/drawing/2014/main" id="{0452AB7E-2A26-4A4B-80D3-B08248C004B1}"/>
              </a:ext>
            </a:extLst>
          </p:cNvPr>
          <p:cNvSpPr/>
          <p:nvPr/>
        </p:nvSpPr>
        <p:spPr>
          <a:xfrm>
            <a:off x="1318109" y="-657225"/>
            <a:ext cx="1145212" cy="409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900"/>
          </a:p>
        </p:txBody>
      </p:sp>
      <p:sp>
        <p:nvSpPr>
          <p:cNvPr id="11" name="empower - DO NOT DELETE!!!" hidden="1">
            <a:extLst>
              <a:ext uri="{FF2B5EF4-FFF2-40B4-BE49-F238E27FC236}">
                <a16:creationId xmlns:a16="http://schemas.microsoft.com/office/drawing/2014/main" id="{2D6B946A-05C1-46F1-8FD2-4CE71834043C}"/>
              </a:ext>
            </a:extLst>
          </p:cNvPr>
          <p:cNvSpPr/>
          <p:nvPr>
            <p:custDataLst>
              <p:tags r:id="rId16"/>
            </p:custDataLst>
          </p:nvPr>
        </p:nvSpPr>
        <p:spPr>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900"/>
          </a:p>
        </p:txBody>
      </p:sp>
      <p:grpSp>
        <p:nvGrpSpPr>
          <p:cNvPr id="3" name="Grafik 9">
            <a:extLst>
              <a:ext uri="{FF2B5EF4-FFF2-40B4-BE49-F238E27FC236}">
                <a16:creationId xmlns:a16="http://schemas.microsoft.com/office/drawing/2014/main" id="{C75BA7BE-D0F8-453D-A654-06C4C8C0B0F4}"/>
              </a:ext>
            </a:extLst>
          </p:cNvPr>
          <p:cNvGrpSpPr/>
          <p:nvPr/>
        </p:nvGrpSpPr>
        <p:grpSpPr>
          <a:xfrm>
            <a:off x="9990772" y="481832"/>
            <a:ext cx="1787285" cy="596782"/>
            <a:chOff x="9990772" y="481832"/>
            <a:chExt cx="1787285" cy="596782"/>
          </a:xfrm>
          <a:solidFill>
            <a:srgbClr val="FFFFFF"/>
          </a:solidFill>
        </p:grpSpPr>
        <p:sp>
          <p:nvSpPr>
            <p:cNvPr id="5" name="Freeform: Shape 4">
              <a:extLst>
                <a:ext uri="{FF2B5EF4-FFF2-40B4-BE49-F238E27FC236}">
                  <a16:creationId xmlns:a16="http://schemas.microsoft.com/office/drawing/2014/main" id="{84244232-C699-442C-A299-93C0FDBFA8F6}"/>
                </a:ext>
              </a:extLst>
            </p:cNvPr>
            <p:cNvSpPr/>
            <p:nvPr/>
          </p:nvSpPr>
          <p:spPr>
            <a:xfrm>
              <a:off x="9990772" y="544329"/>
              <a:ext cx="147751" cy="475361"/>
            </a:xfrm>
            <a:custGeom>
              <a:avLst/>
              <a:gdLst>
                <a:gd name="connsiteX0" fmla="*/ 53103 w 147751"/>
                <a:gd name="connsiteY0" fmla="*/ 235887 h 475361"/>
                <a:gd name="connsiteX1" fmla="*/ 144346 w 147751"/>
                <a:gd name="connsiteY1" fmla="*/ 45533 h 475361"/>
                <a:gd name="connsiteX2" fmla="*/ 117058 w 147751"/>
                <a:gd name="connsiteY2" fmla="*/ 0 h 475361"/>
                <a:gd name="connsiteX3" fmla="*/ 0 w 147751"/>
                <a:gd name="connsiteY3" fmla="*/ 235887 h 475361"/>
                <a:gd name="connsiteX4" fmla="*/ 121870 w 147751"/>
                <a:gd name="connsiteY4" fmla="*/ 475362 h 475361"/>
                <a:gd name="connsiteX5" fmla="*/ 147752 w 147751"/>
                <a:gd name="connsiteY5" fmla="*/ 428779 h 475361"/>
                <a:gd name="connsiteX6" fmla="*/ 53103 w 147751"/>
                <a:gd name="connsiteY6" fmla="*/ 235887 h 475361"/>
                <a:gd name="connsiteX7" fmla="*/ 53103 w 147751"/>
                <a:gd name="connsiteY7" fmla="*/ 235887 h 47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751" h="475361">
                  <a:moveTo>
                    <a:pt x="53103" y="235887"/>
                  </a:moveTo>
                  <a:cubicBezTo>
                    <a:pt x="53103" y="159167"/>
                    <a:pt x="88721" y="90608"/>
                    <a:pt x="144346" y="45533"/>
                  </a:cubicBezTo>
                  <a:lnTo>
                    <a:pt x="117058" y="0"/>
                  </a:lnTo>
                  <a:cubicBezTo>
                    <a:pt x="46014" y="54619"/>
                    <a:pt x="0" y="139913"/>
                    <a:pt x="0" y="235887"/>
                  </a:cubicBezTo>
                  <a:cubicBezTo>
                    <a:pt x="0" y="334006"/>
                    <a:pt x="48106" y="420940"/>
                    <a:pt x="121870" y="475362"/>
                  </a:cubicBezTo>
                  <a:lnTo>
                    <a:pt x="147752" y="428779"/>
                  </a:lnTo>
                  <a:cubicBezTo>
                    <a:pt x="90233" y="383770"/>
                    <a:pt x="53103" y="314122"/>
                    <a:pt x="53103" y="235887"/>
                  </a:cubicBezTo>
                  <a:lnTo>
                    <a:pt x="53103" y="235887"/>
                  </a:lnTo>
                  <a:close/>
                </a:path>
              </a:pathLst>
            </a:custGeom>
            <a:solidFill>
              <a:srgbClr val="FFFFFF"/>
            </a:solidFill>
            <a:ln w="7" cap="flat">
              <a:noFill/>
              <a:prstDash val="solid"/>
              <a:miter/>
            </a:ln>
          </p:spPr>
          <p:txBody>
            <a:bodyPr rtlCol="0" anchor="ctr"/>
            <a:lstStyle/>
            <a:p>
              <a:endParaRPr lang="de-DE"/>
            </a:p>
          </p:txBody>
        </p:sp>
        <p:sp>
          <p:nvSpPr>
            <p:cNvPr id="6" name="Freeform: Shape 5">
              <a:extLst>
                <a:ext uri="{FF2B5EF4-FFF2-40B4-BE49-F238E27FC236}">
                  <a16:creationId xmlns:a16="http://schemas.microsoft.com/office/drawing/2014/main" id="{E7EA5C43-290D-47D5-89D5-93D9E9CA5DB0}"/>
                </a:ext>
              </a:extLst>
            </p:cNvPr>
            <p:cNvSpPr/>
            <p:nvPr/>
          </p:nvSpPr>
          <p:spPr>
            <a:xfrm>
              <a:off x="10176504" y="815161"/>
              <a:ext cx="412502" cy="263452"/>
            </a:xfrm>
            <a:custGeom>
              <a:avLst/>
              <a:gdLst>
                <a:gd name="connsiteX0" fmla="*/ 114510 w 412502"/>
                <a:gd name="connsiteY0" fmla="*/ 210676 h 263452"/>
                <a:gd name="connsiteX1" fmla="*/ 25948 w 412502"/>
                <a:gd name="connsiteY1" fmla="*/ 194086 h 263452"/>
                <a:gd name="connsiteX2" fmla="*/ 0 w 412502"/>
                <a:gd name="connsiteY2" fmla="*/ 240787 h 263452"/>
                <a:gd name="connsiteX3" fmla="*/ 114510 w 412502"/>
                <a:gd name="connsiteY3" fmla="*/ 263452 h 263452"/>
                <a:gd name="connsiteX4" fmla="*/ 412502 w 412502"/>
                <a:gd name="connsiteY4" fmla="*/ 0 h 263452"/>
                <a:gd name="connsiteX5" fmla="*/ 358838 w 412502"/>
                <a:gd name="connsiteY5" fmla="*/ 0 h 263452"/>
                <a:gd name="connsiteX6" fmla="*/ 114510 w 412502"/>
                <a:gd name="connsiteY6" fmla="*/ 210676 h 263452"/>
                <a:gd name="connsiteX7" fmla="*/ 114510 w 412502"/>
                <a:gd name="connsiteY7" fmla="*/ 210676 h 26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502" h="263452">
                  <a:moveTo>
                    <a:pt x="114510" y="210676"/>
                  </a:moveTo>
                  <a:cubicBezTo>
                    <a:pt x="83269" y="210676"/>
                    <a:pt x="53486" y="204654"/>
                    <a:pt x="25948" y="194086"/>
                  </a:cubicBezTo>
                  <a:lnTo>
                    <a:pt x="0" y="240787"/>
                  </a:lnTo>
                  <a:cubicBezTo>
                    <a:pt x="35314" y="255331"/>
                    <a:pt x="73962" y="263452"/>
                    <a:pt x="114510" y="263452"/>
                  </a:cubicBezTo>
                  <a:cubicBezTo>
                    <a:pt x="268150" y="263452"/>
                    <a:pt x="395010" y="148113"/>
                    <a:pt x="412502" y="0"/>
                  </a:cubicBezTo>
                  <a:lnTo>
                    <a:pt x="358838" y="0"/>
                  </a:lnTo>
                  <a:cubicBezTo>
                    <a:pt x="341676" y="118895"/>
                    <a:pt x="238816" y="210676"/>
                    <a:pt x="114510" y="210676"/>
                  </a:cubicBezTo>
                  <a:lnTo>
                    <a:pt x="114510" y="210676"/>
                  </a:lnTo>
                  <a:close/>
                </a:path>
              </a:pathLst>
            </a:custGeom>
            <a:solidFill>
              <a:srgbClr val="FFFFFF"/>
            </a:solidFill>
            <a:ln w="7" cap="flat">
              <a:noFill/>
              <a:prstDash val="solid"/>
              <a:miter/>
            </a:ln>
          </p:spPr>
          <p:txBody>
            <a:bodyPr rtlCol="0" anchor="ctr"/>
            <a:lstStyle/>
            <a:p>
              <a:endParaRPr lang="de-DE"/>
            </a:p>
          </p:txBody>
        </p:sp>
        <p:sp>
          <p:nvSpPr>
            <p:cNvPr id="8" name="Freeform: Shape 7">
              <a:extLst>
                <a:ext uri="{FF2B5EF4-FFF2-40B4-BE49-F238E27FC236}">
                  <a16:creationId xmlns:a16="http://schemas.microsoft.com/office/drawing/2014/main" id="{B642E141-53DF-47B9-8572-EB34E012CE52}"/>
                </a:ext>
              </a:extLst>
            </p:cNvPr>
            <p:cNvSpPr/>
            <p:nvPr/>
          </p:nvSpPr>
          <p:spPr>
            <a:xfrm>
              <a:off x="10170999" y="481832"/>
              <a:ext cx="417512" cy="260237"/>
            </a:xfrm>
            <a:custGeom>
              <a:avLst/>
              <a:gdLst>
                <a:gd name="connsiteX0" fmla="*/ 120015 w 417512"/>
                <a:gd name="connsiteY0" fmla="*/ 52782 h 260237"/>
                <a:gd name="connsiteX1" fmla="*/ 363848 w 417512"/>
                <a:gd name="connsiteY1" fmla="*/ 260238 h 260237"/>
                <a:gd name="connsiteX2" fmla="*/ 417512 w 417512"/>
                <a:gd name="connsiteY2" fmla="*/ 260238 h 260237"/>
                <a:gd name="connsiteX3" fmla="*/ 120405 w 417512"/>
                <a:gd name="connsiteY3" fmla="*/ 0 h 260237"/>
                <a:gd name="connsiteX4" fmla="*/ 118616 w 417512"/>
                <a:gd name="connsiteY4" fmla="*/ 0 h 260237"/>
                <a:gd name="connsiteX5" fmla="*/ 0 w 417512"/>
                <a:gd name="connsiteY5" fmla="*/ 25046 h 260237"/>
                <a:gd name="connsiteX6" fmla="*/ 27433 w 417512"/>
                <a:gd name="connsiteY6" fmla="*/ 70829 h 260237"/>
                <a:gd name="connsiteX7" fmla="*/ 120015 w 417512"/>
                <a:gd name="connsiteY7" fmla="*/ 52782 h 260237"/>
                <a:gd name="connsiteX8" fmla="*/ 120015 w 417512"/>
                <a:gd name="connsiteY8" fmla="*/ 52782 h 26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512" h="260237">
                  <a:moveTo>
                    <a:pt x="120015" y="52782"/>
                  </a:moveTo>
                  <a:cubicBezTo>
                    <a:pt x="243192" y="52782"/>
                    <a:pt x="345313" y="142911"/>
                    <a:pt x="363848" y="260238"/>
                  </a:cubicBezTo>
                  <a:lnTo>
                    <a:pt x="417512" y="260238"/>
                  </a:lnTo>
                  <a:cubicBezTo>
                    <a:pt x="398581" y="113824"/>
                    <a:pt x="272751" y="197"/>
                    <a:pt x="120405" y="0"/>
                  </a:cubicBezTo>
                  <a:lnTo>
                    <a:pt x="118616" y="0"/>
                  </a:lnTo>
                  <a:cubicBezTo>
                    <a:pt x="76450" y="197"/>
                    <a:pt x="36403" y="9204"/>
                    <a:pt x="0" y="25046"/>
                  </a:cubicBezTo>
                  <a:lnTo>
                    <a:pt x="27433" y="70829"/>
                  </a:lnTo>
                  <a:cubicBezTo>
                    <a:pt x="56067" y="59283"/>
                    <a:pt x="87262" y="52782"/>
                    <a:pt x="120015" y="52782"/>
                  </a:cubicBezTo>
                  <a:lnTo>
                    <a:pt x="120015" y="52782"/>
                  </a:lnTo>
                  <a:close/>
                </a:path>
              </a:pathLst>
            </a:custGeom>
            <a:solidFill>
              <a:srgbClr val="FFFFFF"/>
            </a:solidFill>
            <a:ln w="7" cap="flat">
              <a:noFill/>
              <a:prstDash val="solid"/>
              <a:miter/>
            </a:ln>
          </p:spPr>
          <p:txBody>
            <a:bodyPr rtlCol="0" anchor="ctr"/>
            <a:lstStyle/>
            <a:p>
              <a:endParaRPr lang="de-DE"/>
            </a:p>
          </p:txBody>
        </p:sp>
        <p:sp>
          <p:nvSpPr>
            <p:cNvPr id="9" name="Freeform: Shape 8">
              <a:extLst>
                <a:ext uri="{FF2B5EF4-FFF2-40B4-BE49-F238E27FC236}">
                  <a16:creationId xmlns:a16="http://schemas.microsoft.com/office/drawing/2014/main" id="{E61F1158-2AF3-48D5-A61F-96AB7DBD4BEB}"/>
                </a:ext>
              </a:extLst>
            </p:cNvPr>
            <p:cNvSpPr/>
            <p:nvPr/>
          </p:nvSpPr>
          <p:spPr>
            <a:xfrm>
              <a:off x="10716638" y="509266"/>
              <a:ext cx="108306" cy="130604"/>
            </a:xfrm>
            <a:custGeom>
              <a:avLst/>
              <a:gdLst>
                <a:gd name="connsiteX0" fmla="*/ 45744 w 108306"/>
                <a:gd name="connsiteY0" fmla="*/ 1909 h 130604"/>
                <a:gd name="connsiteX1" fmla="*/ 48054 w 108306"/>
                <a:gd name="connsiteY1" fmla="*/ 0 h 130604"/>
                <a:gd name="connsiteX2" fmla="*/ 60629 w 108306"/>
                <a:gd name="connsiteY2" fmla="*/ 0 h 130604"/>
                <a:gd name="connsiteX3" fmla="*/ 63137 w 108306"/>
                <a:gd name="connsiteY3" fmla="*/ 1909 h 130604"/>
                <a:gd name="connsiteX4" fmla="*/ 108174 w 108306"/>
                <a:gd name="connsiteY4" fmla="*/ 128682 h 130604"/>
                <a:gd name="connsiteX5" fmla="*/ 106821 w 108306"/>
                <a:gd name="connsiteY5" fmla="*/ 130604 h 130604"/>
                <a:gd name="connsiteX6" fmla="*/ 93296 w 108306"/>
                <a:gd name="connsiteY6" fmla="*/ 130604 h 130604"/>
                <a:gd name="connsiteX7" fmla="*/ 90781 w 108306"/>
                <a:gd name="connsiteY7" fmla="*/ 128682 h 130604"/>
                <a:gd name="connsiteX8" fmla="*/ 80722 w 108306"/>
                <a:gd name="connsiteY8" fmla="*/ 100257 h 130604"/>
                <a:gd name="connsiteX9" fmla="*/ 27566 w 108306"/>
                <a:gd name="connsiteY9" fmla="*/ 100257 h 130604"/>
                <a:gd name="connsiteX10" fmla="*/ 17532 w 108306"/>
                <a:gd name="connsiteY10" fmla="*/ 128682 h 130604"/>
                <a:gd name="connsiteX11" fmla="*/ 15018 w 108306"/>
                <a:gd name="connsiteY11" fmla="*/ 130604 h 130604"/>
                <a:gd name="connsiteX12" fmla="*/ 1473 w 108306"/>
                <a:gd name="connsiteY12" fmla="*/ 130604 h 130604"/>
                <a:gd name="connsiteX13" fmla="*/ 139 w 108306"/>
                <a:gd name="connsiteY13" fmla="*/ 128682 h 130604"/>
                <a:gd name="connsiteX14" fmla="*/ 45744 w 108306"/>
                <a:gd name="connsiteY14" fmla="*/ 1909 h 130604"/>
                <a:gd name="connsiteX15" fmla="*/ 75118 w 108306"/>
                <a:gd name="connsiteY15" fmla="*/ 84513 h 130604"/>
                <a:gd name="connsiteX16" fmla="*/ 54431 w 108306"/>
                <a:gd name="connsiteY16" fmla="*/ 25158 h 130604"/>
                <a:gd name="connsiteX17" fmla="*/ 54048 w 108306"/>
                <a:gd name="connsiteY17" fmla="*/ 25158 h 130604"/>
                <a:gd name="connsiteX18" fmla="*/ 33176 w 108306"/>
                <a:gd name="connsiteY18" fmla="*/ 84513 h 130604"/>
                <a:gd name="connsiteX19" fmla="*/ 75118 w 108306"/>
                <a:gd name="connsiteY19" fmla="*/ 84513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306" h="130604">
                  <a:moveTo>
                    <a:pt x="45744" y="1909"/>
                  </a:moveTo>
                  <a:cubicBezTo>
                    <a:pt x="46120" y="636"/>
                    <a:pt x="46899" y="0"/>
                    <a:pt x="48054" y="0"/>
                  </a:cubicBezTo>
                  <a:lnTo>
                    <a:pt x="60629" y="0"/>
                  </a:lnTo>
                  <a:cubicBezTo>
                    <a:pt x="61903" y="0"/>
                    <a:pt x="62754" y="636"/>
                    <a:pt x="63137" y="1909"/>
                  </a:cubicBezTo>
                  <a:lnTo>
                    <a:pt x="108174" y="128682"/>
                  </a:lnTo>
                  <a:cubicBezTo>
                    <a:pt x="108557" y="129961"/>
                    <a:pt x="108108" y="130604"/>
                    <a:pt x="106821" y="130604"/>
                  </a:cubicBezTo>
                  <a:lnTo>
                    <a:pt x="93296" y="130604"/>
                  </a:lnTo>
                  <a:cubicBezTo>
                    <a:pt x="92002" y="130604"/>
                    <a:pt x="91171" y="129961"/>
                    <a:pt x="90781" y="128682"/>
                  </a:cubicBezTo>
                  <a:lnTo>
                    <a:pt x="80722" y="100257"/>
                  </a:lnTo>
                  <a:lnTo>
                    <a:pt x="27566" y="100257"/>
                  </a:lnTo>
                  <a:lnTo>
                    <a:pt x="17532" y="128682"/>
                  </a:lnTo>
                  <a:cubicBezTo>
                    <a:pt x="17011" y="129961"/>
                    <a:pt x="16179" y="130604"/>
                    <a:pt x="15018" y="130604"/>
                  </a:cubicBezTo>
                  <a:lnTo>
                    <a:pt x="1473" y="130604"/>
                  </a:lnTo>
                  <a:cubicBezTo>
                    <a:pt x="192" y="130604"/>
                    <a:pt x="-257" y="129961"/>
                    <a:pt x="139" y="128682"/>
                  </a:cubicBezTo>
                  <a:lnTo>
                    <a:pt x="45744" y="1909"/>
                  </a:lnTo>
                  <a:close/>
                  <a:moveTo>
                    <a:pt x="75118" y="84513"/>
                  </a:moveTo>
                  <a:lnTo>
                    <a:pt x="54431" y="25158"/>
                  </a:lnTo>
                  <a:lnTo>
                    <a:pt x="54048" y="25158"/>
                  </a:lnTo>
                  <a:lnTo>
                    <a:pt x="33176" y="84513"/>
                  </a:lnTo>
                  <a:lnTo>
                    <a:pt x="75118" y="84513"/>
                  </a:lnTo>
                  <a:close/>
                </a:path>
              </a:pathLst>
            </a:custGeom>
            <a:solidFill>
              <a:srgbClr val="FFFFFF"/>
            </a:solidFill>
            <a:ln w="7" cap="flat">
              <a:noFill/>
              <a:prstDash val="solid"/>
              <a:miter/>
            </a:ln>
          </p:spPr>
          <p:txBody>
            <a:bodyPr rtlCol="0" anchor="ctr"/>
            <a:lstStyle/>
            <a:p>
              <a:endParaRPr lang="de-DE"/>
            </a:p>
          </p:txBody>
        </p:sp>
        <p:sp>
          <p:nvSpPr>
            <p:cNvPr id="10" name="Freeform: Shape 9">
              <a:extLst>
                <a:ext uri="{FF2B5EF4-FFF2-40B4-BE49-F238E27FC236}">
                  <a16:creationId xmlns:a16="http://schemas.microsoft.com/office/drawing/2014/main" id="{21FDACC3-7BA5-450C-ABB9-206513330718}"/>
                </a:ext>
              </a:extLst>
            </p:cNvPr>
            <p:cNvSpPr/>
            <p:nvPr/>
          </p:nvSpPr>
          <p:spPr>
            <a:xfrm>
              <a:off x="10847618" y="509259"/>
              <a:ext cx="93313" cy="130610"/>
            </a:xfrm>
            <a:custGeom>
              <a:avLst/>
              <a:gdLst>
                <a:gd name="connsiteX0" fmla="*/ 76186 w 93313"/>
                <a:gd name="connsiteY0" fmla="*/ 130611 h 130610"/>
                <a:gd name="connsiteX1" fmla="*/ 73645 w 93313"/>
                <a:gd name="connsiteY1" fmla="*/ 128682 h 130610"/>
                <a:gd name="connsiteX2" fmla="*/ 47446 w 93313"/>
                <a:gd name="connsiteY2" fmla="*/ 75296 h 130610"/>
                <a:gd name="connsiteX3" fmla="*/ 18555 w 93313"/>
                <a:gd name="connsiteY3" fmla="*/ 75296 h 130610"/>
                <a:gd name="connsiteX4" fmla="*/ 17393 w 93313"/>
                <a:gd name="connsiteY4" fmla="*/ 76444 h 130610"/>
                <a:gd name="connsiteX5" fmla="*/ 17393 w 93313"/>
                <a:gd name="connsiteY5" fmla="*/ 128682 h 130610"/>
                <a:gd name="connsiteX6" fmla="*/ 15446 w 93313"/>
                <a:gd name="connsiteY6" fmla="*/ 130611 h 130610"/>
                <a:gd name="connsiteX7" fmla="*/ 1954 w 93313"/>
                <a:gd name="connsiteY7" fmla="*/ 130611 h 130610"/>
                <a:gd name="connsiteX8" fmla="*/ 0 w 93313"/>
                <a:gd name="connsiteY8" fmla="*/ 128682 h 130610"/>
                <a:gd name="connsiteX9" fmla="*/ 0 w 93313"/>
                <a:gd name="connsiteY9" fmla="*/ 1922 h 130610"/>
                <a:gd name="connsiteX10" fmla="*/ 1934 w 93313"/>
                <a:gd name="connsiteY10" fmla="*/ 0 h 130610"/>
                <a:gd name="connsiteX11" fmla="*/ 49592 w 93313"/>
                <a:gd name="connsiteY11" fmla="*/ 0 h 130610"/>
                <a:gd name="connsiteX12" fmla="*/ 66430 w 93313"/>
                <a:gd name="connsiteY12" fmla="*/ 2690 h 130610"/>
                <a:gd name="connsiteX13" fmla="*/ 79414 w 93313"/>
                <a:gd name="connsiteY13" fmla="*/ 10273 h 130610"/>
                <a:gd name="connsiteX14" fmla="*/ 87837 w 93313"/>
                <a:gd name="connsiteY14" fmla="*/ 22186 h 130610"/>
                <a:gd name="connsiteX15" fmla="*/ 90846 w 93313"/>
                <a:gd name="connsiteY15" fmla="*/ 37642 h 130610"/>
                <a:gd name="connsiteX16" fmla="*/ 83876 w 93313"/>
                <a:gd name="connsiteY16" fmla="*/ 60123 h 130610"/>
                <a:gd name="connsiteX17" fmla="*/ 64945 w 93313"/>
                <a:gd name="connsiteY17" fmla="*/ 73184 h 130610"/>
                <a:gd name="connsiteX18" fmla="*/ 92972 w 93313"/>
                <a:gd name="connsiteY18" fmla="*/ 128308 h 130610"/>
                <a:gd name="connsiteX19" fmla="*/ 93157 w 93313"/>
                <a:gd name="connsiteY19" fmla="*/ 129935 h 130610"/>
                <a:gd name="connsiteX20" fmla="*/ 91810 w 93313"/>
                <a:gd name="connsiteY20" fmla="*/ 130611 h 130610"/>
                <a:gd name="connsiteX21" fmla="*/ 76186 w 93313"/>
                <a:gd name="connsiteY21" fmla="*/ 130611 h 130610"/>
                <a:gd name="connsiteX22" fmla="*/ 49176 w 93313"/>
                <a:gd name="connsiteY22" fmla="*/ 59355 h 130610"/>
                <a:gd name="connsiteX23" fmla="*/ 67097 w 93313"/>
                <a:gd name="connsiteY23" fmla="*/ 53681 h 130610"/>
                <a:gd name="connsiteX24" fmla="*/ 73447 w 93313"/>
                <a:gd name="connsiteY24" fmla="*/ 37642 h 130610"/>
                <a:gd name="connsiteX25" fmla="*/ 67097 w 93313"/>
                <a:gd name="connsiteY25" fmla="*/ 21615 h 130610"/>
                <a:gd name="connsiteX26" fmla="*/ 49176 w 93313"/>
                <a:gd name="connsiteY26" fmla="*/ 15948 h 130610"/>
                <a:gd name="connsiteX27" fmla="*/ 18555 w 93313"/>
                <a:gd name="connsiteY27" fmla="*/ 15948 h 130610"/>
                <a:gd name="connsiteX28" fmla="*/ 17393 w 93313"/>
                <a:gd name="connsiteY28" fmla="*/ 17102 h 130610"/>
                <a:gd name="connsiteX29" fmla="*/ 17393 w 93313"/>
                <a:gd name="connsiteY29" fmla="*/ 58194 h 130610"/>
                <a:gd name="connsiteX30" fmla="*/ 18555 w 93313"/>
                <a:gd name="connsiteY30" fmla="*/ 59355 h 130610"/>
                <a:gd name="connsiteX31" fmla="*/ 49176 w 93313"/>
                <a:gd name="connsiteY31" fmla="*/ 59355 h 13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3313" h="130610">
                  <a:moveTo>
                    <a:pt x="76186" y="130611"/>
                  </a:moveTo>
                  <a:cubicBezTo>
                    <a:pt x="75018" y="130611"/>
                    <a:pt x="74160" y="129968"/>
                    <a:pt x="73645" y="128682"/>
                  </a:cubicBezTo>
                  <a:lnTo>
                    <a:pt x="47446" y="75296"/>
                  </a:lnTo>
                  <a:lnTo>
                    <a:pt x="18555" y="75296"/>
                  </a:lnTo>
                  <a:cubicBezTo>
                    <a:pt x="17776" y="75296"/>
                    <a:pt x="17393" y="75690"/>
                    <a:pt x="17393" y="76444"/>
                  </a:cubicBezTo>
                  <a:lnTo>
                    <a:pt x="17393" y="128682"/>
                  </a:lnTo>
                  <a:cubicBezTo>
                    <a:pt x="17393" y="129968"/>
                    <a:pt x="16740" y="130611"/>
                    <a:pt x="15446" y="130611"/>
                  </a:cubicBezTo>
                  <a:lnTo>
                    <a:pt x="1954" y="130611"/>
                  </a:lnTo>
                  <a:cubicBezTo>
                    <a:pt x="653" y="130611"/>
                    <a:pt x="0" y="129968"/>
                    <a:pt x="0" y="128682"/>
                  </a:cubicBezTo>
                  <a:lnTo>
                    <a:pt x="0" y="1922"/>
                  </a:lnTo>
                  <a:cubicBezTo>
                    <a:pt x="0" y="643"/>
                    <a:pt x="640" y="0"/>
                    <a:pt x="1934" y="0"/>
                  </a:cubicBezTo>
                  <a:lnTo>
                    <a:pt x="49592" y="0"/>
                  </a:lnTo>
                  <a:cubicBezTo>
                    <a:pt x="55777" y="0"/>
                    <a:pt x="61394" y="905"/>
                    <a:pt x="66430" y="2690"/>
                  </a:cubicBezTo>
                  <a:cubicBezTo>
                    <a:pt x="71473" y="4481"/>
                    <a:pt x="75797" y="7013"/>
                    <a:pt x="79414" y="10273"/>
                  </a:cubicBezTo>
                  <a:cubicBezTo>
                    <a:pt x="83025" y="13547"/>
                    <a:pt x="85843" y="17515"/>
                    <a:pt x="87837" y="22186"/>
                  </a:cubicBezTo>
                  <a:cubicBezTo>
                    <a:pt x="89843" y="26863"/>
                    <a:pt x="90846" y="32013"/>
                    <a:pt x="90846" y="37642"/>
                  </a:cubicBezTo>
                  <a:cubicBezTo>
                    <a:pt x="90846" y="46478"/>
                    <a:pt x="88516" y="53970"/>
                    <a:pt x="83876" y="60123"/>
                  </a:cubicBezTo>
                  <a:cubicBezTo>
                    <a:pt x="79242" y="66263"/>
                    <a:pt x="72939" y="70619"/>
                    <a:pt x="64945" y="73184"/>
                  </a:cubicBezTo>
                  <a:lnTo>
                    <a:pt x="92972" y="128308"/>
                  </a:lnTo>
                  <a:cubicBezTo>
                    <a:pt x="93355" y="128951"/>
                    <a:pt x="93414" y="129496"/>
                    <a:pt x="93157" y="129935"/>
                  </a:cubicBezTo>
                  <a:cubicBezTo>
                    <a:pt x="92893" y="130394"/>
                    <a:pt x="92457" y="130611"/>
                    <a:pt x="91810" y="130611"/>
                  </a:cubicBezTo>
                  <a:lnTo>
                    <a:pt x="76186" y="130611"/>
                  </a:lnTo>
                  <a:close/>
                  <a:moveTo>
                    <a:pt x="49176" y="59355"/>
                  </a:moveTo>
                  <a:cubicBezTo>
                    <a:pt x="56879" y="59355"/>
                    <a:pt x="62846" y="57460"/>
                    <a:pt x="67097" y="53681"/>
                  </a:cubicBezTo>
                  <a:cubicBezTo>
                    <a:pt x="71328" y="49909"/>
                    <a:pt x="73447" y="44563"/>
                    <a:pt x="73447" y="37642"/>
                  </a:cubicBezTo>
                  <a:cubicBezTo>
                    <a:pt x="73447" y="30727"/>
                    <a:pt x="71328" y="25374"/>
                    <a:pt x="67097" y="21615"/>
                  </a:cubicBezTo>
                  <a:cubicBezTo>
                    <a:pt x="62846" y="17830"/>
                    <a:pt x="56879" y="15948"/>
                    <a:pt x="49176" y="15948"/>
                  </a:cubicBezTo>
                  <a:lnTo>
                    <a:pt x="18555" y="15948"/>
                  </a:lnTo>
                  <a:cubicBezTo>
                    <a:pt x="17776" y="15948"/>
                    <a:pt x="17393" y="16335"/>
                    <a:pt x="17393" y="17102"/>
                  </a:cubicBezTo>
                  <a:lnTo>
                    <a:pt x="17393" y="58194"/>
                  </a:lnTo>
                  <a:cubicBezTo>
                    <a:pt x="17393" y="58962"/>
                    <a:pt x="17776" y="59355"/>
                    <a:pt x="18555" y="59355"/>
                  </a:cubicBezTo>
                  <a:lnTo>
                    <a:pt x="49176" y="59355"/>
                  </a:lnTo>
                  <a:close/>
                </a:path>
              </a:pathLst>
            </a:custGeom>
            <a:solidFill>
              <a:srgbClr val="FFFFFF"/>
            </a:solidFill>
            <a:ln w="7" cap="flat">
              <a:noFill/>
              <a:prstDash val="solid"/>
              <a:miter/>
            </a:ln>
          </p:spPr>
          <p:txBody>
            <a:bodyPr rtlCol="0" anchor="ctr"/>
            <a:lstStyle/>
            <a:p>
              <a:endParaRPr lang="de-DE"/>
            </a:p>
          </p:txBody>
        </p:sp>
        <p:sp>
          <p:nvSpPr>
            <p:cNvPr id="18" name="Freeform: Shape 17">
              <a:extLst>
                <a:ext uri="{FF2B5EF4-FFF2-40B4-BE49-F238E27FC236}">
                  <a16:creationId xmlns:a16="http://schemas.microsoft.com/office/drawing/2014/main" id="{0C939DFF-125A-473B-B931-015382521C71}"/>
                </a:ext>
              </a:extLst>
            </p:cNvPr>
            <p:cNvSpPr/>
            <p:nvPr/>
          </p:nvSpPr>
          <p:spPr>
            <a:xfrm>
              <a:off x="10968788" y="509266"/>
              <a:ext cx="93929" cy="130604"/>
            </a:xfrm>
            <a:custGeom>
              <a:avLst/>
              <a:gdLst>
                <a:gd name="connsiteX0" fmla="*/ 0 w 93929"/>
                <a:gd name="connsiteY0" fmla="*/ 1909 h 130604"/>
                <a:gd name="connsiteX1" fmla="*/ 1941 w 93929"/>
                <a:gd name="connsiteY1" fmla="*/ 0 h 130604"/>
                <a:gd name="connsiteX2" fmla="*/ 14304 w 93929"/>
                <a:gd name="connsiteY2" fmla="*/ 0 h 130604"/>
                <a:gd name="connsiteX3" fmla="*/ 17598 w 93929"/>
                <a:gd name="connsiteY3" fmla="*/ 1909 h 130604"/>
                <a:gd name="connsiteX4" fmla="*/ 77123 w 93929"/>
                <a:gd name="connsiteY4" fmla="*/ 99877 h 130604"/>
                <a:gd name="connsiteX5" fmla="*/ 77896 w 93929"/>
                <a:gd name="connsiteY5" fmla="*/ 99877 h 130604"/>
                <a:gd name="connsiteX6" fmla="*/ 77896 w 93929"/>
                <a:gd name="connsiteY6" fmla="*/ 1909 h 130604"/>
                <a:gd name="connsiteX7" fmla="*/ 79823 w 93929"/>
                <a:gd name="connsiteY7" fmla="*/ 0 h 130604"/>
                <a:gd name="connsiteX8" fmla="*/ 92008 w 93929"/>
                <a:gd name="connsiteY8" fmla="*/ 0 h 130604"/>
                <a:gd name="connsiteX9" fmla="*/ 93929 w 93929"/>
                <a:gd name="connsiteY9" fmla="*/ 1909 h 130604"/>
                <a:gd name="connsiteX10" fmla="*/ 93929 w 93929"/>
                <a:gd name="connsiteY10" fmla="*/ 128682 h 130604"/>
                <a:gd name="connsiteX11" fmla="*/ 92008 w 93929"/>
                <a:gd name="connsiteY11" fmla="*/ 130604 h 130604"/>
                <a:gd name="connsiteX12" fmla="*/ 79625 w 93929"/>
                <a:gd name="connsiteY12" fmla="*/ 130604 h 130604"/>
                <a:gd name="connsiteX13" fmla="*/ 76351 w 93929"/>
                <a:gd name="connsiteY13" fmla="*/ 128682 h 130604"/>
                <a:gd name="connsiteX14" fmla="*/ 16634 w 93929"/>
                <a:gd name="connsiteY14" fmla="*/ 31108 h 130604"/>
                <a:gd name="connsiteX15" fmla="*/ 16046 w 93929"/>
                <a:gd name="connsiteY15" fmla="*/ 31108 h 130604"/>
                <a:gd name="connsiteX16" fmla="*/ 16046 w 93929"/>
                <a:gd name="connsiteY16" fmla="*/ 128682 h 130604"/>
                <a:gd name="connsiteX17" fmla="*/ 14112 w 93929"/>
                <a:gd name="connsiteY17" fmla="*/ 130604 h 130604"/>
                <a:gd name="connsiteX18" fmla="*/ 1941 w 93929"/>
                <a:gd name="connsiteY18" fmla="*/ 130604 h 130604"/>
                <a:gd name="connsiteX19" fmla="*/ 0 w 93929"/>
                <a:gd name="connsiteY19" fmla="*/ 128682 h 130604"/>
                <a:gd name="connsiteX20" fmla="*/ 0 w 93929"/>
                <a:gd name="connsiteY20"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29" h="130604">
                  <a:moveTo>
                    <a:pt x="0" y="1909"/>
                  </a:moveTo>
                  <a:cubicBezTo>
                    <a:pt x="0" y="636"/>
                    <a:pt x="647" y="0"/>
                    <a:pt x="1941" y="0"/>
                  </a:cubicBezTo>
                  <a:lnTo>
                    <a:pt x="14304" y="0"/>
                  </a:lnTo>
                  <a:cubicBezTo>
                    <a:pt x="15848" y="0"/>
                    <a:pt x="16951" y="636"/>
                    <a:pt x="17598" y="1909"/>
                  </a:cubicBezTo>
                  <a:lnTo>
                    <a:pt x="77123" y="99877"/>
                  </a:lnTo>
                  <a:lnTo>
                    <a:pt x="77896" y="99877"/>
                  </a:lnTo>
                  <a:lnTo>
                    <a:pt x="77896" y="1909"/>
                  </a:lnTo>
                  <a:cubicBezTo>
                    <a:pt x="77896" y="636"/>
                    <a:pt x="78536" y="0"/>
                    <a:pt x="79823" y="0"/>
                  </a:cubicBezTo>
                  <a:lnTo>
                    <a:pt x="92008" y="0"/>
                  </a:lnTo>
                  <a:cubicBezTo>
                    <a:pt x="93282" y="0"/>
                    <a:pt x="93929" y="636"/>
                    <a:pt x="93929" y="1909"/>
                  </a:cubicBezTo>
                  <a:lnTo>
                    <a:pt x="93929" y="128682"/>
                  </a:lnTo>
                  <a:cubicBezTo>
                    <a:pt x="93929" y="129961"/>
                    <a:pt x="93282" y="130604"/>
                    <a:pt x="92008" y="130604"/>
                  </a:cubicBezTo>
                  <a:lnTo>
                    <a:pt x="79625" y="130604"/>
                  </a:lnTo>
                  <a:cubicBezTo>
                    <a:pt x="78081" y="130604"/>
                    <a:pt x="76985" y="129961"/>
                    <a:pt x="76351" y="128682"/>
                  </a:cubicBezTo>
                  <a:lnTo>
                    <a:pt x="16634" y="31108"/>
                  </a:lnTo>
                  <a:lnTo>
                    <a:pt x="16046" y="31108"/>
                  </a:lnTo>
                  <a:lnTo>
                    <a:pt x="16046" y="128682"/>
                  </a:lnTo>
                  <a:cubicBezTo>
                    <a:pt x="16046" y="129961"/>
                    <a:pt x="15400" y="130604"/>
                    <a:pt x="14112" y="130604"/>
                  </a:cubicBezTo>
                  <a:lnTo>
                    <a:pt x="1941" y="130604"/>
                  </a:lnTo>
                  <a:cubicBezTo>
                    <a:pt x="647" y="130604"/>
                    <a:pt x="0" y="129961"/>
                    <a:pt x="0" y="128682"/>
                  </a:cubicBezTo>
                  <a:lnTo>
                    <a:pt x="0" y="1909"/>
                  </a:lnTo>
                  <a:close/>
                </a:path>
              </a:pathLst>
            </a:custGeom>
            <a:solidFill>
              <a:srgbClr val="FFFFFF"/>
            </a:solidFill>
            <a:ln w="7" cap="flat">
              <a:noFill/>
              <a:prstDash val="solid"/>
              <a:miter/>
            </a:ln>
          </p:spPr>
          <p:txBody>
            <a:bodyPr rtlCol="0" anchor="ctr"/>
            <a:lstStyle/>
            <a:p>
              <a:endParaRPr lang="de-DE"/>
            </a:p>
          </p:txBody>
        </p:sp>
        <p:sp>
          <p:nvSpPr>
            <p:cNvPr id="19" name="Freeform: Shape 18">
              <a:extLst>
                <a:ext uri="{FF2B5EF4-FFF2-40B4-BE49-F238E27FC236}">
                  <a16:creationId xmlns:a16="http://schemas.microsoft.com/office/drawing/2014/main" id="{4511EF96-3920-45B8-AEF3-B6530AD8B2BE}"/>
                </a:ext>
              </a:extLst>
            </p:cNvPr>
            <p:cNvSpPr/>
            <p:nvPr/>
          </p:nvSpPr>
          <p:spPr>
            <a:xfrm>
              <a:off x="11097134" y="509266"/>
              <a:ext cx="83103" cy="130604"/>
            </a:xfrm>
            <a:custGeom>
              <a:avLst/>
              <a:gdLst>
                <a:gd name="connsiteX0" fmla="*/ 0 w 83103"/>
                <a:gd name="connsiteY0" fmla="*/ 1909 h 130604"/>
                <a:gd name="connsiteX1" fmla="*/ 1947 w 83103"/>
                <a:gd name="connsiteY1" fmla="*/ 0 h 130604"/>
                <a:gd name="connsiteX2" fmla="*/ 81183 w 83103"/>
                <a:gd name="connsiteY2" fmla="*/ 0 h 130604"/>
                <a:gd name="connsiteX3" fmla="*/ 83104 w 83103"/>
                <a:gd name="connsiteY3" fmla="*/ 1909 h 130604"/>
                <a:gd name="connsiteX4" fmla="*/ 83104 w 83103"/>
                <a:gd name="connsiteY4" fmla="*/ 14012 h 130604"/>
                <a:gd name="connsiteX5" fmla="*/ 81183 w 83103"/>
                <a:gd name="connsiteY5" fmla="*/ 15941 h 130604"/>
                <a:gd name="connsiteX6" fmla="*/ 18555 w 83103"/>
                <a:gd name="connsiteY6" fmla="*/ 15941 h 130604"/>
                <a:gd name="connsiteX7" fmla="*/ 17406 w 83103"/>
                <a:gd name="connsiteY7" fmla="*/ 17096 h 130604"/>
                <a:gd name="connsiteX8" fmla="*/ 17406 w 83103"/>
                <a:gd name="connsiteY8" fmla="*/ 55505 h 130604"/>
                <a:gd name="connsiteX9" fmla="*/ 18555 w 83103"/>
                <a:gd name="connsiteY9" fmla="*/ 56646 h 130604"/>
                <a:gd name="connsiteX10" fmla="*/ 71698 w 83103"/>
                <a:gd name="connsiteY10" fmla="*/ 56646 h 130604"/>
                <a:gd name="connsiteX11" fmla="*/ 73645 w 83103"/>
                <a:gd name="connsiteY11" fmla="*/ 58575 h 130604"/>
                <a:gd name="connsiteX12" fmla="*/ 73645 w 83103"/>
                <a:gd name="connsiteY12" fmla="*/ 70678 h 130604"/>
                <a:gd name="connsiteX13" fmla="*/ 71698 w 83103"/>
                <a:gd name="connsiteY13" fmla="*/ 72600 h 130604"/>
                <a:gd name="connsiteX14" fmla="*/ 18555 w 83103"/>
                <a:gd name="connsiteY14" fmla="*/ 72600 h 130604"/>
                <a:gd name="connsiteX15" fmla="*/ 17406 w 83103"/>
                <a:gd name="connsiteY15" fmla="*/ 73748 h 130604"/>
                <a:gd name="connsiteX16" fmla="*/ 17406 w 83103"/>
                <a:gd name="connsiteY16" fmla="*/ 113509 h 130604"/>
                <a:gd name="connsiteX17" fmla="*/ 18555 w 83103"/>
                <a:gd name="connsiteY17" fmla="*/ 114670 h 130604"/>
                <a:gd name="connsiteX18" fmla="*/ 81183 w 83103"/>
                <a:gd name="connsiteY18" fmla="*/ 114670 h 130604"/>
                <a:gd name="connsiteX19" fmla="*/ 83104 w 83103"/>
                <a:gd name="connsiteY19" fmla="*/ 116599 h 130604"/>
                <a:gd name="connsiteX20" fmla="*/ 83104 w 83103"/>
                <a:gd name="connsiteY20" fmla="*/ 128682 h 130604"/>
                <a:gd name="connsiteX21" fmla="*/ 81183 w 83103"/>
                <a:gd name="connsiteY21" fmla="*/ 130604 h 130604"/>
                <a:gd name="connsiteX22" fmla="*/ 1947 w 83103"/>
                <a:gd name="connsiteY22" fmla="*/ 130604 h 130604"/>
                <a:gd name="connsiteX23" fmla="*/ 0 w 83103"/>
                <a:gd name="connsiteY23" fmla="*/ 128682 h 130604"/>
                <a:gd name="connsiteX24" fmla="*/ 0 w 83103"/>
                <a:gd name="connsiteY24"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09"/>
                  </a:moveTo>
                  <a:cubicBezTo>
                    <a:pt x="0" y="636"/>
                    <a:pt x="653" y="0"/>
                    <a:pt x="1947" y="0"/>
                  </a:cubicBezTo>
                  <a:lnTo>
                    <a:pt x="81183" y="0"/>
                  </a:lnTo>
                  <a:cubicBezTo>
                    <a:pt x="82463" y="0"/>
                    <a:pt x="83104" y="636"/>
                    <a:pt x="83104" y="1909"/>
                  </a:cubicBezTo>
                  <a:lnTo>
                    <a:pt x="83104" y="14012"/>
                  </a:lnTo>
                  <a:cubicBezTo>
                    <a:pt x="83104" y="15298"/>
                    <a:pt x="82463" y="15941"/>
                    <a:pt x="81183" y="15941"/>
                  </a:cubicBezTo>
                  <a:lnTo>
                    <a:pt x="18555" y="15941"/>
                  </a:lnTo>
                  <a:cubicBezTo>
                    <a:pt x="17782" y="15941"/>
                    <a:pt x="17406" y="16328"/>
                    <a:pt x="17406" y="17096"/>
                  </a:cubicBezTo>
                  <a:lnTo>
                    <a:pt x="17406" y="55505"/>
                  </a:lnTo>
                  <a:cubicBezTo>
                    <a:pt x="17406" y="56272"/>
                    <a:pt x="17782" y="56646"/>
                    <a:pt x="18555" y="56646"/>
                  </a:cubicBezTo>
                  <a:lnTo>
                    <a:pt x="71698" y="56646"/>
                  </a:lnTo>
                  <a:cubicBezTo>
                    <a:pt x="72991" y="56646"/>
                    <a:pt x="73645" y="57289"/>
                    <a:pt x="73645" y="58575"/>
                  </a:cubicBezTo>
                  <a:lnTo>
                    <a:pt x="73645" y="70678"/>
                  </a:lnTo>
                  <a:cubicBezTo>
                    <a:pt x="73645" y="71964"/>
                    <a:pt x="72991" y="72600"/>
                    <a:pt x="71698" y="72600"/>
                  </a:cubicBezTo>
                  <a:lnTo>
                    <a:pt x="18555" y="72600"/>
                  </a:lnTo>
                  <a:cubicBezTo>
                    <a:pt x="17782" y="72600"/>
                    <a:pt x="17406" y="72981"/>
                    <a:pt x="17406" y="73748"/>
                  </a:cubicBezTo>
                  <a:lnTo>
                    <a:pt x="17406" y="113509"/>
                  </a:lnTo>
                  <a:cubicBezTo>
                    <a:pt x="17406" y="114283"/>
                    <a:pt x="17782" y="114670"/>
                    <a:pt x="18555" y="114670"/>
                  </a:cubicBezTo>
                  <a:lnTo>
                    <a:pt x="81183" y="114670"/>
                  </a:lnTo>
                  <a:cubicBezTo>
                    <a:pt x="82463" y="114670"/>
                    <a:pt x="83104" y="115313"/>
                    <a:pt x="83104" y="116599"/>
                  </a:cubicBezTo>
                  <a:lnTo>
                    <a:pt x="83104" y="128682"/>
                  </a:lnTo>
                  <a:cubicBezTo>
                    <a:pt x="83104" y="129961"/>
                    <a:pt x="82463" y="130604"/>
                    <a:pt x="81183" y="130604"/>
                  </a:cubicBezTo>
                  <a:lnTo>
                    <a:pt x="1947" y="130604"/>
                  </a:lnTo>
                  <a:cubicBezTo>
                    <a:pt x="653" y="130604"/>
                    <a:pt x="0" y="129961"/>
                    <a:pt x="0" y="128682"/>
                  </a:cubicBezTo>
                  <a:lnTo>
                    <a:pt x="0" y="1909"/>
                  </a:lnTo>
                  <a:close/>
                </a:path>
              </a:pathLst>
            </a:custGeom>
            <a:solidFill>
              <a:srgbClr val="FFFFFF"/>
            </a:solidFill>
            <a:ln w="7" cap="flat">
              <a:noFill/>
              <a:prstDash val="solid"/>
              <a:miter/>
            </a:ln>
          </p:spPr>
          <p:txBody>
            <a:bodyPr rtlCol="0" anchor="ctr"/>
            <a:lstStyle/>
            <a:p>
              <a:endParaRPr lang="de-DE"/>
            </a:p>
          </p:txBody>
        </p:sp>
        <p:sp>
          <p:nvSpPr>
            <p:cNvPr id="20" name="Freeform: Shape 19">
              <a:extLst>
                <a:ext uri="{FF2B5EF4-FFF2-40B4-BE49-F238E27FC236}">
                  <a16:creationId xmlns:a16="http://schemas.microsoft.com/office/drawing/2014/main" id="{F8B99C67-ADF5-4312-B2C0-A5D5A19E8BC6}"/>
                </a:ext>
              </a:extLst>
            </p:cNvPr>
            <p:cNvSpPr/>
            <p:nvPr/>
          </p:nvSpPr>
          <p:spPr>
            <a:xfrm>
              <a:off x="11203241" y="507147"/>
              <a:ext cx="89457" cy="134835"/>
            </a:xfrm>
            <a:custGeom>
              <a:avLst/>
              <a:gdLst>
                <a:gd name="connsiteX0" fmla="*/ 3485 w 89457"/>
                <a:gd name="connsiteY0" fmla="*/ 104102 h 134835"/>
                <a:gd name="connsiteX1" fmla="*/ 1835 w 89457"/>
                <a:gd name="connsiteY1" fmla="*/ 98250 h 134835"/>
                <a:gd name="connsiteX2" fmla="*/ 779 w 89457"/>
                <a:gd name="connsiteY2" fmla="*/ 91146 h 134835"/>
                <a:gd name="connsiteX3" fmla="*/ 178 w 89457"/>
                <a:gd name="connsiteY3" fmla="*/ 81246 h 134835"/>
                <a:gd name="connsiteX4" fmla="*/ 0 w 89457"/>
                <a:gd name="connsiteY4" fmla="*/ 67424 h 134835"/>
                <a:gd name="connsiteX5" fmla="*/ 178 w 89457"/>
                <a:gd name="connsiteY5" fmla="*/ 53589 h 134835"/>
                <a:gd name="connsiteX6" fmla="*/ 779 w 89457"/>
                <a:gd name="connsiteY6" fmla="*/ 43690 h 134835"/>
                <a:gd name="connsiteX7" fmla="*/ 1835 w 89457"/>
                <a:gd name="connsiteY7" fmla="*/ 36579 h 134835"/>
                <a:gd name="connsiteX8" fmla="*/ 3485 w 89457"/>
                <a:gd name="connsiteY8" fmla="*/ 30734 h 134835"/>
                <a:gd name="connsiteX9" fmla="*/ 19717 w 89457"/>
                <a:gd name="connsiteY9" fmla="*/ 7583 h 134835"/>
                <a:gd name="connsiteX10" fmla="*/ 47143 w 89457"/>
                <a:gd name="connsiteY10" fmla="*/ 0 h 134835"/>
                <a:gd name="connsiteX11" fmla="*/ 72760 w 89457"/>
                <a:gd name="connsiteY11" fmla="*/ 6829 h 134835"/>
                <a:gd name="connsiteX12" fmla="*/ 89289 w 89457"/>
                <a:gd name="connsiteY12" fmla="*/ 26306 h 134835"/>
                <a:gd name="connsiteX13" fmla="*/ 88516 w 89457"/>
                <a:gd name="connsiteY13" fmla="*/ 28805 h 134835"/>
                <a:gd name="connsiteX14" fmla="*/ 76912 w 89457"/>
                <a:gd name="connsiteY14" fmla="*/ 34381 h 134835"/>
                <a:gd name="connsiteX15" fmla="*/ 74206 w 89457"/>
                <a:gd name="connsiteY15" fmla="*/ 33410 h 134835"/>
                <a:gd name="connsiteX16" fmla="*/ 63988 w 89457"/>
                <a:gd name="connsiteY16" fmla="*/ 20841 h 134835"/>
                <a:gd name="connsiteX17" fmla="*/ 47143 w 89457"/>
                <a:gd name="connsiteY17" fmla="*/ 15948 h 134835"/>
                <a:gd name="connsiteX18" fmla="*/ 29769 w 89457"/>
                <a:gd name="connsiteY18" fmla="*/ 20946 h 134835"/>
                <a:gd name="connsiteX19" fmla="*/ 19915 w 89457"/>
                <a:gd name="connsiteY19" fmla="*/ 35142 h 134835"/>
                <a:gd name="connsiteX20" fmla="*/ 18852 w 89457"/>
                <a:gd name="connsiteY20" fmla="*/ 39662 h 134835"/>
                <a:gd name="connsiteX21" fmla="*/ 18066 w 89457"/>
                <a:gd name="connsiteY21" fmla="*/ 45619 h 134835"/>
                <a:gd name="connsiteX22" fmla="*/ 17591 w 89457"/>
                <a:gd name="connsiteY22" fmla="*/ 54455 h 134835"/>
                <a:gd name="connsiteX23" fmla="*/ 17400 w 89457"/>
                <a:gd name="connsiteY23" fmla="*/ 67424 h 134835"/>
                <a:gd name="connsiteX24" fmla="*/ 17591 w 89457"/>
                <a:gd name="connsiteY24" fmla="*/ 80380 h 134835"/>
                <a:gd name="connsiteX25" fmla="*/ 18066 w 89457"/>
                <a:gd name="connsiteY25" fmla="*/ 89217 h 134835"/>
                <a:gd name="connsiteX26" fmla="*/ 18852 w 89457"/>
                <a:gd name="connsiteY26" fmla="*/ 95272 h 134835"/>
                <a:gd name="connsiteX27" fmla="*/ 19915 w 89457"/>
                <a:gd name="connsiteY27" fmla="*/ 99693 h 134835"/>
                <a:gd name="connsiteX28" fmla="*/ 29769 w 89457"/>
                <a:gd name="connsiteY28" fmla="*/ 113902 h 134835"/>
                <a:gd name="connsiteX29" fmla="*/ 47143 w 89457"/>
                <a:gd name="connsiteY29" fmla="*/ 118901 h 134835"/>
                <a:gd name="connsiteX30" fmla="*/ 63988 w 89457"/>
                <a:gd name="connsiteY30" fmla="*/ 114001 h 134835"/>
                <a:gd name="connsiteX31" fmla="*/ 74206 w 89457"/>
                <a:gd name="connsiteY31" fmla="*/ 101412 h 134835"/>
                <a:gd name="connsiteX32" fmla="*/ 76912 w 89457"/>
                <a:gd name="connsiteY32" fmla="*/ 100461 h 134835"/>
                <a:gd name="connsiteX33" fmla="*/ 88516 w 89457"/>
                <a:gd name="connsiteY33" fmla="*/ 106030 h 134835"/>
                <a:gd name="connsiteX34" fmla="*/ 89289 w 89457"/>
                <a:gd name="connsiteY34" fmla="*/ 108530 h 134835"/>
                <a:gd name="connsiteX35" fmla="*/ 72760 w 89457"/>
                <a:gd name="connsiteY35" fmla="*/ 128013 h 134835"/>
                <a:gd name="connsiteX36" fmla="*/ 47143 w 89457"/>
                <a:gd name="connsiteY36" fmla="*/ 134836 h 134835"/>
                <a:gd name="connsiteX37" fmla="*/ 19717 w 89457"/>
                <a:gd name="connsiteY37" fmla="*/ 127246 h 134835"/>
                <a:gd name="connsiteX38" fmla="*/ 3485 w 89457"/>
                <a:gd name="connsiteY38" fmla="*/ 104102 h 134835"/>
                <a:gd name="connsiteX39" fmla="*/ 3485 w 89457"/>
                <a:gd name="connsiteY39" fmla="*/ 104102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9457" h="134835">
                  <a:moveTo>
                    <a:pt x="3485" y="104102"/>
                  </a:moveTo>
                  <a:cubicBezTo>
                    <a:pt x="2825" y="102180"/>
                    <a:pt x="2284" y="100238"/>
                    <a:pt x="1835" y="98250"/>
                  </a:cubicBezTo>
                  <a:cubicBezTo>
                    <a:pt x="1373" y="96275"/>
                    <a:pt x="1036" y="93894"/>
                    <a:pt x="779" y="91146"/>
                  </a:cubicBezTo>
                  <a:cubicBezTo>
                    <a:pt x="521" y="88390"/>
                    <a:pt x="323" y="85091"/>
                    <a:pt x="178" y="81246"/>
                  </a:cubicBezTo>
                  <a:cubicBezTo>
                    <a:pt x="59" y="77415"/>
                    <a:pt x="0" y="72804"/>
                    <a:pt x="0" y="67424"/>
                  </a:cubicBezTo>
                  <a:cubicBezTo>
                    <a:pt x="0" y="62039"/>
                    <a:pt x="59" y="57427"/>
                    <a:pt x="178" y="53589"/>
                  </a:cubicBezTo>
                  <a:cubicBezTo>
                    <a:pt x="323" y="49745"/>
                    <a:pt x="515" y="46452"/>
                    <a:pt x="779" y="43690"/>
                  </a:cubicBezTo>
                  <a:cubicBezTo>
                    <a:pt x="1036" y="40941"/>
                    <a:pt x="1373" y="38580"/>
                    <a:pt x="1835" y="36579"/>
                  </a:cubicBezTo>
                  <a:cubicBezTo>
                    <a:pt x="2284" y="34598"/>
                    <a:pt x="2825" y="32643"/>
                    <a:pt x="3485" y="30734"/>
                  </a:cubicBezTo>
                  <a:cubicBezTo>
                    <a:pt x="6819" y="20362"/>
                    <a:pt x="12244" y="12641"/>
                    <a:pt x="19717" y="7583"/>
                  </a:cubicBezTo>
                  <a:cubicBezTo>
                    <a:pt x="27189" y="2532"/>
                    <a:pt x="36344" y="0"/>
                    <a:pt x="47143" y="0"/>
                  </a:cubicBezTo>
                  <a:cubicBezTo>
                    <a:pt x="56945" y="0"/>
                    <a:pt x="65493" y="2270"/>
                    <a:pt x="72760" y="6829"/>
                  </a:cubicBezTo>
                  <a:cubicBezTo>
                    <a:pt x="80054" y="11362"/>
                    <a:pt x="85553" y="17856"/>
                    <a:pt x="89289" y="26306"/>
                  </a:cubicBezTo>
                  <a:cubicBezTo>
                    <a:pt x="89665" y="27460"/>
                    <a:pt x="89414" y="28307"/>
                    <a:pt x="88516" y="28805"/>
                  </a:cubicBezTo>
                  <a:lnTo>
                    <a:pt x="76912" y="34381"/>
                  </a:lnTo>
                  <a:cubicBezTo>
                    <a:pt x="75638" y="35024"/>
                    <a:pt x="74727" y="34696"/>
                    <a:pt x="74206" y="33410"/>
                  </a:cubicBezTo>
                  <a:cubicBezTo>
                    <a:pt x="71625" y="28307"/>
                    <a:pt x="68232" y="24115"/>
                    <a:pt x="63988" y="20841"/>
                  </a:cubicBezTo>
                  <a:cubicBezTo>
                    <a:pt x="59730" y="17574"/>
                    <a:pt x="54120" y="15948"/>
                    <a:pt x="47143" y="15948"/>
                  </a:cubicBezTo>
                  <a:cubicBezTo>
                    <a:pt x="39941" y="15948"/>
                    <a:pt x="34146" y="17607"/>
                    <a:pt x="29769" y="20946"/>
                  </a:cubicBezTo>
                  <a:cubicBezTo>
                    <a:pt x="25380" y="24272"/>
                    <a:pt x="22106" y="29002"/>
                    <a:pt x="19915" y="35142"/>
                  </a:cubicBezTo>
                  <a:cubicBezTo>
                    <a:pt x="19518" y="36553"/>
                    <a:pt x="19169" y="38068"/>
                    <a:pt x="18852" y="39662"/>
                  </a:cubicBezTo>
                  <a:cubicBezTo>
                    <a:pt x="18528" y="41263"/>
                    <a:pt x="18271" y="43250"/>
                    <a:pt x="18066" y="45619"/>
                  </a:cubicBezTo>
                  <a:cubicBezTo>
                    <a:pt x="17895" y="47987"/>
                    <a:pt x="17710" y="50932"/>
                    <a:pt x="17591" y="54455"/>
                  </a:cubicBezTo>
                  <a:cubicBezTo>
                    <a:pt x="17452" y="57978"/>
                    <a:pt x="17400" y="62288"/>
                    <a:pt x="17400" y="67424"/>
                  </a:cubicBezTo>
                  <a:cubicBezTo>
                    <a:pt x="17400" y="72541"/>
                    <a:pt x="17452" y="76864"/>
                    <a:pt x="17591" y="80380"/>
                  </a:cubicBezTo>
                  <a:cubicBezTo>
                    <a:pt x="17710" y="83910"/>
                    <a:pt x="17895" y="86849"/>
                    <a:pt x="18066" y="89217"/>
                  </a:cubicBezTo>
                  <a:cubicBezTo>
                    <a:pt x="18271" y="91585"/>
                    <a:pt x="18528" y="93612"/>
                    <a:pt x="18852" y="95272"/>
                  </a:cubicBezTo>
                  <a:cubicBezTo>
                    <a:pt x="19169" y="96938"/>
                    <a:pt x="19518" y="98408"/>
                    <a:pt x="19915" y="99693"/>
                  </a:cubicBezTo>
                  <a:cubicBezTo>
                    <a:pt x="22106" y="105833"/>
                    <a:pt x="25373" y="110576"/>
                    <a:pt x="29769" y="113902"/>
                  </a:cubicBezTo>
                  <a:cubicBezTo>
                    <a:pt x="34146" y="117241"/>
                    <a:pt x="39941" y="118901"/>
                    <a:pt x="47143" y="118901"/>
                  </a:cubicBezTo>
                  <a:cubicBezTo>
                    <a:pt x="54120" y="118901"/>
                    <a:pt x="59730" y="117268"/>
                    <a:pt x="63988" y="114001"/>
                  </a:cubicBezTo>
                  <a:cubicBezTo>
                    <a:pt x="68232" y="110734"/>
                    <a:pt x="71625" y="106542"/>
                    <a:pt x="74206" y="101412"/>
                  </a:cubicBezTo>
                  <a:cubicBezTo>
                    <a:pt x="74727" y="100146"/>
                    <a:pt x="75638" y="99824"/>
                    <a:pt x="76912" y="100461"/>
                  </a:cubicBezTo>
                  <a:lnTo>
                    <a:pt x="88516" y="106030"/>
                  </a:lnTo>
                  <a:cubicBezTo>
                    <a:pt x="89414" y="106542"/>
                    <a:pt x="89665" y="107369"/>
                    <a:pt x="89289" y="108530"/>
                  </a:cubicBezTo>
                  <a:cubicBezTo>
                    <a:pt x="85553" y="116979"/>
                    <a:pt x="80048" y="123480"/>
                    <a:pt x="72760" y="128013"/>
                  </a:cubicBezTo>
                  <a:cubicBezTo>
                    <a:pt x="65493" y="132566"/>
                    <a:pt x="56945" y="134836"/>
                    <a:pt x="47143" y="134836"/>
                  </a:cubicBezTo>
                  <a:cubicBezTo>
                    <a:pt x="36344" y="134836"/>
                    <a:pt x="27189" y="132303"/>
                    <a:pt x="19717" y="127246"/>
                  </a:cubicBezTo>
                  <a:cubicBezTo>
                    <a:pt x="12244" y="122194"/>
                    <a:pt x="6819" y="114486"/>
                    <a:pt x="3485" y="104102"/>
                  </a:cubicBezTo>
                  <a:lnTo>
                    <a:pt x="3485" y="104102"/>
                  </a:lnTo>
                  <a:close/>
                </a:path>
              </a:pathLst>
            </a:custGeom>
            <a:solidFill>
              <a:srgbClr val="FFFFFF"/>
            </a:solidFill>
            <a:ln w="7" cap="flat">
              <a:noFill/>
              <a:prstDash val="solid"/>
              <a:miter/>
            </a:ln>
          </p:spPr>
          <p:txBody>
            <a:bodyPr rtlCol="0" anchor="ctr"/>
            <a:lstStyle/>
            <a:p>
              <a:endParaRPr lang="de-DE"/>
            </a:p>
          </p:txBody>
        </p:sp>
        <p:sp>
          <p:nvSpPr>
            <p:cNvPr id="23" name="Freeform: Shape 22">
              <a:extLst>
                <a:ext uri="{FF2B5EF4-FFF2-40B4-BE49-F238E27FC236}">
                  <a16:creationId xmlns:a16="http://schemas.microsoft.com/office/drawing/2014/main" id="{F949C4A7-D565-4843-B19A-5060FDAA24CB}"/>
                </a:ext>
              </a:extLst>
            </p:cNvPr>
            <p:cNvSpPr/>
            <p:nvPr/>
          </p:nvSpPr>
          <p:spPr>
            <a:xfrm>
              <a:off x="11319197" y="509266"/>
              <a:ext cx="97302" cy="130604"/>
            </a:xfrm>
            <a:custGeom>
              <a:avLst/>
              <a:gdLst>
                <a:gd name="connsiteX0" fmla="*/ 0 w 97302"/>
                <a:gd name="connsiteY0" fmla="*/ 1909 h 130604"/>
                <a:gd name="connsiteX1" fmla="*/ 1947 w 97302"/>
                <a:gd name="connsiteY1" fmla="*/ 0 h 130604"/>
                <a:gd name="connsiteX2" fmla="*/ 15439 w 97302"/>
                <a:gd name="connsiteY2" fmla="*/ 0 h 130604"/>
                <a:gd name="connsiteX3" fmla="*/ 17413 w 97302"/>
                <a:gd name="connsiteY3" fmla="*/ 1909 h 130604"/>
                <a:gd name="connsiteX4" fmla="*/ 17413 w 97302"/>
                <a:gd name="connsiteY4" fmla="*/ 69911 h 130604"/>
                <a:gd name="connsiteX5" fmla="*/ 73051 w 97302"/>
                <a:gd name="connsiteY5" fmla="*/ 1725 h 130604"/>
                <a:gd name="connsiteX6" fmla="*/ 76153 w 97302"/>
                <a:gd name="connsiteY6" fmla="*/ 0 h 130604"/>
                <a:gd name="connsiteX7" fmla="*/ 92002 w 97302"/>
                <a:gd name="connsiteY7" fmla="*/ 0 h 130604"/>
                <a:gd name="connsiteX8" fmla="*/ 93256 w 97302"/>
                <a:gd name="connsiteY8" fmla="*/ 669 h 130604"/>
                <a:gd name="connsiteX9" fmla="*/ 92774 w 97302"/>
                <a:gd name="connsiteY9" fmla="*/ 2296 h 130604"/>
                <a:gd name="connsiteX10" fmla="*/ 51796 w 97302"/>
                <a:gd name="connsiteY10" fmla="*/ 51280 h 130604"/>
                <a:gd name="connsiteX11" fmla="*/ 96833 w 97302"/>
                <a:gd name="connsiteY11" fmla="*/ 128485 h 130604"/>
                <a:gd name="connsiteX12" fmla="*/ 95678 w 97302"/>
                <a:gd name="connsiteY12" fmla="*/ 130604 h 130604"/>
                <a:gd name="connsiteX13" fmla="*/ 80206 w 97302"/>
                <a:gd name="connsiteY13" fmla="*/ 130604 h 130604"/>
                <a:gd name="connsiteX14" fmla="*/ 77500 w 97302"/>
                <a:gd name="connsiteY14" fmla="*/ 128872 h 130604"/>
                <a:gd name="connsiteX15" fmla="*/ 40714 w 97302"/>
                <a:gd name="connsiteY15" fmla="*/ 64531 h 130604"/>
                <a:gd name="connsiteX16" fmla="*/ 17413 w 97302"/>
                <a:gd name="connsiteY16" fmla="*/ 92582 h 130604"/>
                <a:gd name="connsiteX17" fmla="*/ 17413 w 97302"/>
                <a:gd name="connsiteY17" fmla="*/ 128682 h 130604"/>
                <a:gd name="connsiteX18" fmla="*/ 15439 w 97302"/>
                <a:gd name="connsiteY18" fmla="*/ 130604 h 130604"/>
                <a:gd name="connsiteX19" fmla="*/ 1947 w 97302"/>
                <a:gd name="connsiteY19" fmla="*/ 130604 h 130604"/>
                <a:gd name="connsiteX20" fmla="*/ 0 w 97302"/>
                <a:gd name="connsiteY20" fmla="*/ 128682 h 130604"/>
                <a:gd name="connsiteX21" fmla="*/ 0 w 97302"/>
                <a:gd name="connsiteY21"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302" h="130604">
                  <a:moveTo>
                    <a:pt x="0" y="1909"/>
                  </a:moveTo>
                  <a:cubicBezTo>
                    <a:pt x="0" y="636"/>
                    <a:pt x="653" y="0"/>
                    <a:pt x="1947" y="0"/>
                  </a:cubicBezTo>
                  <a:lnTo>
                    <a:pt x="15439" y="0"/>
                  </a:lnTo>
                  <a:cubicBezTo>
                    <a:pt x="16753" y="0"/>
                    <a:pt x="17413" y="636"/>
                    <a:pt x="17413" y="1909"/>
                  </a:cubicBezTo>
                  <a:lnTo>
                    <a:pt x="17413" y="69911"/>
                  </a:lnTo>
                  <a:lnTo>
                    <a:pt x="73051" y="1725"/>
                  </a:lnTo>
                  <a:cubicBezTo>
                    <a:pt x="73823" y="571"/>
                    <a:pt x="74859" y="0"/>
                    <a:pt x="76153" y="0"/>
                  </a:cubicBezTo>
                  <a:lnTo>
                    <a:pt x="92002" y="0"/>
                  </a:lnTo>
                  <a:cubicBezTo>
                    <a:pt x="92642" y="0"/>
                    <a:pt x="93058" y="223"/>
                    <a:pt x="93256" y="669"/>
                  </a:cubicBezTo>
                  <a:cubicBezTo>
                    <a:pt x="93454" y="1122"/>
                    <a:pt x="93276" y="1666"/>
                    <a:pt x="92774" y="2296"/>
                  </a:cubicBezTo>
                  <a:lnTo>
                    <a:pt x="51796" y="51280"/>
                  </a:lnTo>
                  <a:lnTo>
                    <a:pt x="96833" y="128485"/>
                  </a:lnTo>
                  <a:cubicBezTo>
                    <a:pt x="97724" y="129909"/>
                    <a:pt x="97348" y="130604"/>
                    <a:pt x="95678" y="130604"/>
                  </a:cubicBezTo>
                  <a:lnTo>
                    <a:pt x="80206" y="130604"/>
                  </a:lnTo>
                  <a:cubicBezTo>
                    <a:pt x="79057" y="130604"/>
                    <a:pt x="78140" y="130034"/>
                    <a:pt x="77500" y="128872"/>
                  </a:cubicBezTo>
                  <a:lnTo>
                    <a:pt x="40714" y="64531"/>
                  </a:lnTo>
                  <a:lnTo>
                    <a:pt x="17413" y="92582"/>
                  </a:lnTo>
                  <a:lnTo>
                    <a:pt x="17413" y="128682"/>
                  </a:lnTo>
                  <a:cubicBezTo>
                    <a:pt x="17413" y="129961"/>
                    <a:pt x="16753" y="130604"/>
                    <a:pt x="15439" y="130604"/>
                  </a:cubicBezTo>
                  <a:lnTo>
                    <a:pt x="1947" y="130604"/>
                  </a:lnTo>
                  <a:cubicBezTo>
                    <a:pt x="653" y="130604"/>
                    <a:pt x="0" y="129961"/>
                    <a:pt x="0" y="128682"/>
                  </a:cubicBezTo>
                  <a:lnTo>
                    <a:pt x="0" y="1909"/>
                  </a:lnTo>
                  <a:close/>
                </a:path>
              </a:pathLst>
            </a:custGeom>
            <a:solidFill>
              <a:srgbClr val="FFFFFF"/>
            </a:solidFill>
            <a:ln w="7" cap="flat">
              <a:noFill/>
              <a:prstDash val="solid"/>
              <a:miter/>
            </a:ln>
          </p:spPr>
          <p:txBody>
            <a:bodyPr rtlCol="0" anchor="ctr"/>
            <a:lstStyle/>
            <a:p>
              <a:endParaRPr lang="de-DE"/>
            </a:p>
          </p:txBody>
        </p:sp>
        <p:sp>
          <p:nvSpPr>
            <p:cNvPr id="24" name="Freeform: Shape 23">
              <a:extLst>
                <a:ext uri="{FF2B5EF4-FFF2-40B4-BE49-F238E27FC236}">
                  <a16:creationId xmlns:a16="http://schemas.microsoft.com/office/drawing/2014/main" id="{1D05F628-ACFE-4A21-BC98-71BEB65114CE}"/>
                </a:ext>
              </a:extLst>
            </p:cNvPr>
            <p:cNvSpPr/>
            <p:nvPr/>
          </p:nvSpPr>
          <p:spPr>
            <a:xfrm>
              <a:off x="11440183" y="509266"/>
              <a:ext cx="83123" cy="130604"/>
            </a:xfrm>
            <a:custGeom>
              <a:avLst/>
              <a:gdLst>
                <a:gd name="connsiteX0" fmla="*/ 0 w 83123"/>
                <a:gd name="connsiteY0" fmla="*/ 1909 h 130604"/>
                <a:gd name="connsiteX1" fmla="*/ 1947 w 83123"/>
                <a:gd name="connsiteY1" fmla="*/ 0 h 130604"/>
                <a:gd name="connsiteX2" fmla="*/ 81190 w 83123"/>
                <a:gd name="connsiteY2" fmla="*/ 0 h 130604"/>
                <a:gd name="connsiteX3" fmla="*/ 83124 w 83123"/>
                <a:gd name="connsiteY3" fmla="*/ 1909 h 130604"/>
                <a:gd name="connsiteX4" fmla="*/ 83124 w 83123"/>
                <a:gd name="connsiteY4" fmla="*/ 14012 h 130604"/>
                <a:gd name="connsiteX5" fmla="*/ 81190 w 83123"/>
                <a:gd name="connsiteY5" fmla="*/ 15941 h 130604"/>
                <a:gd name="connsiteX6" fmla="*/ 18555 w 83123"/>
                <a:gd name="connsiteY6" fmla="*/ 15941 h 130604"/>
                <a:gd name="connsiteX7" fmla="*/ 17406 w 83123"/>
                <a:gd name="connsiteY7" fmla="*/ 17096 h 130604"/>
                <a:gd name="connsiteX8" fmla="*/ 17406 w 83123"/>
                <a:gd name="connsiteY8" fmla="*/ 55505 h 130604"/>
                <a:gd name="connsiteX9" fmla="*/ 18555 w 83123"/>
                <a:gd name="connsiteY9" fmla="*/ 56646 h 130604"/>
                <a:gd name="connsiteX10" fmla="*/ 71704 w 83123"/>
                <a:gd name="connsiteY10" fmla="*/ 56646 h 130604"/>
                <a:gd name="connsiteX11" fmla="*/ 73658 w 83123"/>
                <a:gd name="connsiteY11" fmla="*/ 58575 h 130604"/>
                <a:gd name="connsiteX12" fmla="*/ 73658 w 83123"/>
                <a:gd name="connsiteY12" fmla="*/ 70678 h 130604"/>
                <a:gd name="connsiteX13" fmla="*/ 71704 w 83123"/>
                <a:gd name="connsiteY13" fmla="*/ 72600 h 130604"/>
                <a:gd name="connsiteX14" fmla="*/ 18555 w 83123"/>
                <a:gd name="connsiteY14" fmla="*/ 72600 h 130604"/>
                <a:gd name="connsiteX15" fmla="*/ 17406 w 83123"/>
                <a:gd name="connsiteY15" fmla="*/ 73748 h 130604"/>
                <a:gd name="connsiteX16" fmla="*/ 17406 w 83123"/>
                <a:gd name="connsiteY16" fmla="*/ 113509 h 130604"/>
                <a:gd name="connsiteX17" fmla="*/ 18555 w 83123"/>
                <a:gd name="connsiteY17" fmla="*/ 114670 h 130604"/>
                <a:gd name="connsiteX18" fmla="*/ 81190 w 83123"/>
                <a:gd name="connsiteY18" fmla="*/ 114670 h 130604"/>
                <a:gd name="connsiteX19" fmla="*/ 83124 w 83123"/>
                <a:gd name="connsiteY19" fmla="*/ 116599 h 130604"/>
                <a:gd name="connsiteX20" fmla="*/ 83124 w 83123"/>
                <a:gd name="connsiteY20" fmla="*/ 128682 h 130604"/>
                <a:gd name="connsiteX21" fmla="*/ 81190 w 83123"/>
                <a:gd name="connsiteY21" fmla="*/ 130604 h 130604"/>
                <a:gd name="connsiteX22" fmla="*/ 1954 w 83123"/>
                <a:gd name="connsiteY22" fmla="*/ 130604 h 130604"/>
                <a:gd name="connsiteX23" fmla="*/ 0 w 83123"/>
                <a:gd name="connsiteY23" fmla="*/ 128682 h 130604"/>
                <a:gd name="connsiteX24" fmla="*/ 0 w 83123"/>
                <a:gd name="connsiteY24" fmla="*/ 19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23" h="130604">
                  <a:moveTo>
                    <a:pt x="0" y="1909"/>
                  </a:moveTo>
                  <a:cubicBezTo>
                    <a:pt x="0" y="636"/>
                    <a:pt x="660" y="0"/>
                    <a:pt x="1947" y="0"/>
                  </a:cubicBezTo>
                  <a:lnTo>
                    <a:pt x="81190" y="0"/>
                  </a:lnTo>
                  <a:cubicBezTo>
                    <a:pt x="82483" y="0"/>
                    <a:pt x="83124" y="636"/>
                    <a:pt x="83124" y="1909"/>
                  </a:cubicBezTo>
                  <a:lnTo>
                    <a:pt x="83124" y="14012"/>
                  </a:lnTo>
                  <a:cubicBezTo>
                    <a:pt x="83124" y="15298"/>
                    <a:pt x="82483" y="15941"/>
                    <a:pt x="81190" y="15941"/>
                  </a:cubicBezTo>
                  <a:lnTo>
                    <a:pt x="18555" y="15941"/>
                  </a:lnTo>
                  <a:cubicBezTo>
                    <a:pt x="17782" y="15941"/>
                    <a:pt x="17406" y="16328"/>
                    <a:pt x="17406" y="17096"/>
                  </a:cubicBezTo>
                  <a:lnTo>
                    <a:pt x="17406" y="55505"/>
                  </a:lnTo>
                  <a:cubicBezTo>
                    <a:pt x="17406" y="56272"/>
                    <a:pt x="17782" y="56646"/>
                    <a:pt x="18555" y="56646"/>
                  </a:cubicBezTo>
                  <a:lnTo>
                    <a:pt x="71704" y="56646"/>
                  </a:lnTo>
                  <a:cubicBezTo>
                    <a:pt x="73005" y="56646"/>
                    <a:pt x="73658" y="57289"/>
                    <a:pt x="73658" y="58575"/>
                  </a:cubicBezTo>
                  <a:lnTo>
                    <a:pt x="73658" y="70678"/>
                  </a:lnTo>
                  <a:cubicBezTo>
                    <a:pt x="73658" y="71964"/>
                    <a:pt x="72998" y="72600"/>
                    <a:pt x="71704" y="72600"/>
                  </a:cubicBezTo>
                  <a:lnTo>
                    <a:pt x="18555" y="72600"/>
                  </a:lnTo>
                  <a:cubicBezTo>
                    <a:pt x="17782" y="72600"/>
                    <a:pt x="17406" y="72981"/>
                    <a:pt x="17406" y="73748"/>
                  </a:cubicBezTo>
                  <a:lnTo>
                    <a:pt x="17406" y="113509"/>
                  </a:lnTo>
                  <a:cubicBezTo>
                    <a:pt x="17406" y="114283"/>
                    <a:pt x="17782" y="114670"/>
                    <a:pt x="18555" y="114670"/>
                  </a:cubicBezTo>
                  <a:lnTo>
                    <a:pt x="81190" y="114670"/>
                  </a:lnTo>
                  <a:cubicBezTo>
                    <a:pt x="82483" y="114670"/>
                    <a:pt x="83124" y="115313"/>
                    <a:pt x="83124" y="116599"/>
                  </a:cubicBezTo>
                  <a:lnTo>
                    <a:pt x="83124" y="128682"/>
                  </a:lnTo>
                  <a:cubicBezTo>
                    <a:pt x="83124" y="129961"/>
                    <a:pt x="82483" y="130604"/>
                    <a:pt x="81190" y="130604"/>
                  </a:cubicBezTo>
                  <a:lnTo>
                    <a:pt x="1954" y="130604"/>
                  </a:lnTo>
                  <a:cubicBezTo>
                    <a:pt x="660" y="130604"/>
                    <a:pt x="0" y="129961"/>
                    <a:pt x="0" y="128682"/>
                  </a:cubicBezTo>
                  <a:lnTo>
                    <a:pt x="0" y="1909"/>
                  </a:lnTo>
                  <a:close/>
                </a:path>
              </a:pathLst>
            </a:custGeom>
            <a:solidFill>
              <a:srgbClr val="FFFFFF"/>
            </a:solidFill>
            <a:ln w="7" cap="flat">
              <a:noFill/>
              <a:prstDash val="solid"/>
              <a:miter/>
            </a:ln>
          </p:spPr>
          <p:txBody>
            <a:bodyPr rtlCol="0" anchor="ctr"/>
            <a:lstStyle/>
            <a:p>
              <a:endParaRPr lang="de-DE"/>
            </a:p>
          </p:txBody>
        </p:sp>
        <p:sp>
          <p:nvSpPr>
            <p:cNvPr id="26" name="Freeform: Shape 25">
              <a:extLst>
                <a:ext uri="{FF2B5EF4-FFF2-40B4-BE49-F238E27FC236}">
                  <a16:creationId xmlns:a16="http://schemas.microsoft.com/office/drawing/2014/main" id="{D1AF148E-5557-415C-BA33-624CBE38817B}"/>
                </a:ext>
              </a:extLst>
            </p:cNvPr>
            <p:cNvSpPr/>
            <p:nvPr/>
          </p:nvSpPr>
          <p:spPr>
            <a:xfrm>
              <a:off x="10721255" y="713389"/>
              <a:ext cx="94851" cy="134835"/>
            </a:xfrm>
            <a:custGeom>
              <a:avLst/>
              <a:gdLst>
                <a:gd name="connsiteX0" fmla="*/ 46917 w 94851"/>
                <a:gd name="connsiteY0" fmla="*/ 134836 h 134835"/>
                <a:gd name="connsiteX1" fmla="*/ 33194 w 94851"/>
                <a:gd name="connsiteY1" fmla="*/ 133484 h 134835"/>
                <a:gd name="connsiteX2" fmla="*/ 20434 w 94851"/>
                <a:gd name="connsiteY2" fmla="*/ 129929 h 134835"/>
                <a:gd name="connsiteX3" fmla="*/ 9437 w 94851"/>
                <a:gd name="connsiteY3" fmla="*/ 124753 h 134835"/>
                <a:gd name="connsiteX4" fmla="*/ 724 w 94851"/>
                <a:gd name="connsiteY4" fmla="*/ 118508 h 134835"/>
                <a:gd name="connsiteX5" fmla="*/ 539 w 94851"/>
                <a:gd name="connsiteY5" fmla="*/ 115628 h 134835"/>
                <a:gd name="connsiteX6" fmla="*/ 9048 w 94851"/>
                <a:gd name="connsiteY6" fmla="*/ 105643 h 134835"/>
                <a:gd name="connsiteX7" fmla="*/ 11748 w 94851"/>
                <a:gd name="connsiteY7" fmla="*/ 105446 h 134835"/>
                <a:gd name="connsiteX8" fmla="*/ 27596 w 94851"/>
                <a:gd name="connsiteY8" fmla="*/ 114670 h 134835"/>
                <a:gd name="connsiteX9" fmla="*/ 48468 w 94851"/>
                <a:gd name="connsiteY9" fmla="*/ 118888 h 134835"/>
                <a:gd name="connsiteX10" fmla="*/ 69828 w 94851"/>
                <a:gd name="connsiteY10" fmla="*/ 112748 h 134835"/>
                <a:gd name="connsiteX11" fmla="*/ 77458 w 94851"/>
                <a:gd name="connsiteY11" fmla="*/ 96610 h 134835"/>
                <a:gd name="connsiteX12" fmla="*/ 76105 w 94851"/>
                <a:gd name="connsiteY12" fmla="*/ 88928 h 134835"/>
                <a:gd name="connsiteX13" fmla="*/ 71564 w 94851"/>
                <a:gd name="connsiteY13" fmla="*/ 82781 h 134835"/>
                <a:gd name="connsiteX14" fmla="*/ 63168 w 94851"/>
                <a:gd name="connsiteY14" fmla="*/ 78163 h 134835"/>
                <a:gd name="connsiteX15" fmla="*/ 50012 w 94851"/>
                <a:gd name="connsiteY15" fmla="*/ 75303 h 134835"/>
                <a:gd name="connsiteX16" fmla="*/ 43438 w 94851"/>
                <a:gd name="connsiteY16" fmla="*/ 74326 h 134835"/>
                <a:gd name="connsiteX17" fmla="*/ 4790 w 94851"/>
                <a:gd name="connsiteY17" fmla="*/ 38219 h 134835"/>
                <a:gd name="connsiteX18" fmla="*/ 7781 w 94851"/>
                <a:gd name="connsiteY18" fmla="*/ 22462 h 134835"/>
                <a:gd name="connsiteX19" fmla="*/ 16388 w 94851"/>
                <a:gd name="connsiteY19" fmla="*/ 10371 h 134835"/>
                <a:gd name="connsiteX20" fmla="*/ 29906 w 94851"/>
                <a:gd name="connsiteY20" fmla="*/ 2683 h 134835"/>
                <a:gd name="connsiteX21" fmla="*/ 47689 w 94851"/>
                <a:gd name="connsiteY21" fmla="*/ 0 h 134835"/>
                <a:gd name="connsiteX22" fmla="*/ 69828 w 94851"/>
                <a:gd name="connsiteY22" fmla="*/ 3352 h 134835"/>
                <a:gd name="connsiteX23" fmla="*/ 87703 w 94851"/>
                <a:gd name="connsiteY23" fmla="*/ 12097 h 134835"/>
                <a:gd name="connsiteX24" fmla="*/ 88086 w 94851"/>
                <a:gd name="connsiteY24" fmla="*/ 14786 h 134835"/>
                <a:gd name="connsiteX25" fmla="*/ 81518 w 94851"/>
                <a:gd name="connsiteY25" fmla="*/ 25348 h 134835"/>
                <a:gd name="connsiteX26" fmla="*/ 78811 w 94851"/>
                <a:gd name="connsiteY26" fmla="*/ 25729 h 134835"/>
                <a:gd name="connsiteX27" fmla="*/ 63168 w 94851"/>
                <a:gd name="connsiteY27" fmla="*/ 18329 h 134835"/>
                <a:gd name="connsiteX28" fmla="*/ 47115 w 94851"/>
                <a:gd name="connsiteY28" fmla="*/ 15941 h 134835"/>
                <a:gd name="connsiteX29" fmla="*/ 28553 w 94851"/>
                <a:gd name="connsiteY29" fmla="*/ 21793 h 134835"/>
                <a:gd name="connsiteX30" fmla="*/ 22177 w 94851"/>
                <a:gd name="connsiteY30" fmla="*/ 37064 h 134835"/>
                <a:gd name="connsiteX31" fmla="*/ 28362 w 94851"/>
                <a:gd name="connsiteY31" fmla="*/ 50611 h 134835"/>
                <a:gd name="connsiteX32" fmla="*/ 49821 w 94851"/>
                <a:gd name="connsiteY32" fmla="*/ 58004 h 134835"/>
                <a:gd name="connsiteX33" fmla="*/ 56197 w 94851"/>
                <a:gd name="connsiteY33" fmla="*/ 58968 h 134835"/>
                <a:gd name="connsiteX34" fmla="*/ 85201 w 94851"/>
                <a:gd name="connsiteY34" fmla="*/ 70488 h 134835"/>
                <a:gd name="connsiteX35" fmla="*/ 94851 w 94851"/>
                <a:gd name="connsiteY35" fmla="*/ 95469 h 134835"/>
                <a:gd name="connsiteX36" fmla="*/ 91855 w 94851"/>
                <a:gd name="connsiteY36" fmla="*/ 111311 h 134835"/>
                <a:gd name="connsiteX37" fmla="*/ 82772 w 94851"/>
                <a:gd name="connsiteY37" fmla="*/ 123697 h 134835"/>
                <a:gd name="connsiteX38" fmla="*/ 67702 w 94851"/>
                <a:gd name="connsiteY38" fmla="*/ 131851 h 134835"/>
                <a:gd name="connsiteX39" fmla="*/ 46917 w 94851"/>
                <a:gd name="connsiteY39" fmla="*/ 134836 h 134835"/>
                <a:gd name="connsiteX40" fmla="*/ 46917 w 94851"/>
                <a:gd name="connsiteY40" fmla="*/ 134836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4851" h="134835">
                  <a:moveTo>
                    <a:pt x="46917" y="134836"/>
                  </a:moveTo>
                  <a:cubicBezTo>
                    <a:pt x="42283" y="134836"/>
                    <a:pt x="37715" y="134376"/>
                    <a:pt x="33194" y="133484"/>
                  </a:cubicBezTo>
                  <a:cubicBezTo>
                    <a:pt x="28692" y="132592"/>
                    <a:pt x="24434" y="131405"/>
                    <a:pt x="20434" y="129929"/>
                  </a:cubicBezTo>
                  <a:cubicBezTo>
                    <a:pt x="16461" y="128466"/>
                    <a:pt x="12777" y="126734"/>
                    <a:pt x="9437" y="124753"/>
                  </a:cubicBezTo>
                  <a:cubicBezTo>
                    <a:pt x="6071" y="122772"/>
                    <a:pt x="3173" y="120685"/>
                    <a:pt x="724" y="118508"/>
                  </a:cubicBezTo>
                  <a:cubicBezTo>
                    <a:pt x="-180" y="117615"/>
                    <a:pt x="-233" y="116644"/>
                    <a:pt x="539" y="115628"/>
                  </a:cubicBezTo>
                  <a:lnTo>
                    <a:pt x="9048" y="105643"/>
                  </a:lnTo>
                  <a:cubicBezTo>
                    <a:pt x="9820" y="104738"/>
                    <a:pt x="10711" y="104672"/>
                    <a:pt x="11748" y="105446"/>
                  </a:cubicBezTo>
                  <a:cubicBezTo>
                    <a:pt x="15998" y="108786"/>
                    <a:pt x="21279" y="111856"/>
                    <a:pt x="27596" y="114670"/>
                  </a:cubicBezTo>
                  <a:cubicBezTo>
                    <a:pt x="33900" y="117491"/>
                    <a:pt x="40864" y="118888"/>
                    <a:pt x="48468" y="118888"/>
                  </a:cubicBezTo>
                  <a:cubicBezTo>
                    <a:pt x="57616" y="118888"/>
                    <a:pt x="64732" y="116848"/>
                    <a:pt x="69828" y="112748"/>
                  </a:cubicBezTo>
                  <a:cubicBezTo>
                    <a:pt x="74917" y="108654"/>
                    <a:pt x="77458" y="103275"/>
                    <a:pt x="77458" y="96610"/>
                  </a:cubicBezTo>
                  <a:cubicBezTo>
                    <a:pt x="77458" y="93796"/>
                    <a:pt x="77016" y="91237"/>
                    <a:pt x="76105" y="88928"/>
                  </a:cubicBezTo>
                  <a:cubicBezTo>
                    <a:pt x="75201" y="86626"/>
                    <a:pt x="73689" y="84572"/>
                    <a:pt x="71564" y="82781"/>
                  </a:cubicBezTo>
                  <a:cubicBezTo>
                    <a:pt x="69432" y="80984"/>
                    <a:pt x="66640" y="79449"/>
                    <a:pt x="63168" y="78163"/>
                  </a:cubicBezTo>
                  <a:cubicBezTo>
                    <a:pt x="59676" y="76897"/>
                    <a:pt x="55293" y="75933"/>
                    <a:pt x="50012" y="75303"/>
                  </a:cubicBezTo>
                  <a:lnTo>
                    <a:pt x="43438" y="74326"/>
                  </a:lnTo>
                  <a:cubicBezTo>
                    <a:pt x="17682" y="70868"/>
                    <a:pt x="4790" y="58831"/>
                    <a:pt x="4790" y="38219"/>
                  </a:cubicBezTo>
                  <a:cubicBezTo>
                    <a:pt x="4790" y="32446"/>
                    <a:pt x="5787" y="27198"/>
                    <a:pt x="7781" y="22462"/>
                  </a:cubicBezTo>
                  <a:cubicBezTo>
                    <a:pt x="9781" y="17732"/>
                    <a:pt x="12652" y="13697"/>
                    <a:pt x="16388" y="10371"/>
                  </a:cubicBezTo>
                  <a:cubicBezTo>
                    <a:pt x="20111" y="7039"/>
                    <a:pt x="24626" y="4487"/>
                    <a:pt x="29906" y="2683"/>
                  </a:cubicBezTo>
                  <a:cubicBezTo>
                    <a:pt x="35194" y="899"/>
                    <a:pt x="41128" y="0"/>
                    <a:pt x="47689" y="0"/>
                  </a:cubicBezTo>
                  <a:cubicBezTo>
                    <a:pt x="55418" y="0"/>
                    <a:pt x="62805" y="1122"/>
                    <a:pt x="69828" y="3352"/>
                  </a:cubicBezTo>
                  <a:cubicBezTo>
                    <a:pt x="76851" y="5596"/>
                    <a:pt x="82805" y="8522"/>
                    <a:pt x="87703" y="12097"/>
                  </a:cubicBezTo>
                  <a:cubicBezTo>
                    <a:pt x="88732" y="12858"/>
                    <a:pt x="88864" y="13756"/>
                    <a:pt x="88086" y="14786"/>
                  </a:cubicBezTo>
                  <a:lnTo>
                    <a:pt x="81518" y="25348"/>
                  </a:lnTo>
                  <a:cubicBezTo>
                    <a:pt x="80752" y="26247"/>
                    <a:pt x="79841" y="26371"/>
                    <a:pt x="78811" y="25729"/>
                  </a:cubicBezTo>
                  <a:cubicBezTo>
                    <a:pt x="73405" y="22403"/>
                    <a:pt x="68171" y="19936"/>
                    <a:pt x="63168" y="18329"/>
                  </a:cubicBezTo>
                  <a:cubicBezTo>
                    <a:pt x="58138" y="16741"/>
                    <a:pt x="52785" y="15941"/>
                    <a:pt x="47115" y="15941"/>
                  </a:cubicBezTo>
                  <a:cubicBezTo>
                    <a:pt x="39002" y="15941"/>
                    <a:pt x="32811" y="17889"/>
                    <a:pt x="28553" y="21793"/>
                  </a:cubicBezTo>
                  <a:cubicBezTo>
                    <a:pt x="24309" y="25702"/>
                    <a:pt x="22177" y="30806"/>
                    <a:pt x="22177" y="37064"/>
                  </a:cubicBezTo>
                  <a:cubicBezTo>
                    <a:pt x="22177" y="42568"/>
                    <a:pt x="24230" y="47082"/>
                    <a:pt x="28362" y="50611"/>
                  </a:cubicBezTo>
                  <a:cubicBezTo>
                    <a:pt x="32481" y="54134"/>
                    <a:pt x="39636" y="56587"/>
                    <a:pt x="49821" y="58004"/>
                  </a:cubicBezTo>
                  <a:lnTo>
                    <a:pt x="56197" y="58968"/>
                  </a:lnTo>
                  <a:cubicBezTo>
                    <a:pt x="69082" y="60759"/>
                    <a:pt x="78752" y="64597"/>
                    <a:pt x="85201" y="70488"/>
                  </a:cubicBezTo>
                  <a:cubicBezTo>
                    <a:pt x="91630" y="76385"/>
                    <a:pt x="94851" y="84704"/>
                    <a:pt x="94851" y="95469"/>
                  </a:cubicBezTo>
                  <a:cubicBezTo>
                    <a:pt x="94851" y="101215"/>
                    <a:pt x="93855" y="106503"/>
                    <a:pt x="91855" y="111311"/>
                  </a:cubicBezTo>
                  <a:cubicBezTo>
                    <a:pt x="89861" y="116113"/>
                    <a:pt x="86838" y="120233"/>
                    <a:pt x="82772" y="123697"/>
                  </a:cubicBezTo>
                  <a:cubicBezTo>
                    <a:pt x="78719" y="127147"/>
                    <a:pt x="73689" y="129876"/>
                    <a:pt x="67702" y="131851"/>
                  </a:cubicBezTo>
                  <a:cubicBezTo>
                    <a:pt x="61715" y="133838"/>
                    <a:pt x="54771" y="134836"/>
                    <a:pt x="46917" y="134836"/>
                  </a:cubicBezTo>
                  <a:lnTo>
                    <a:pt x="46917" y="134836"/>
                  </a:lnTo>
                  <a:close/>
                </a:path>
              </a:pathLst>
            </a:custGeom>
            <a:solidFill>
              <a:srgbClr val="FFFFFF"/>
            </a:solidFill>
            <a:ln w="7" cap="flat">
              <a:noFill/>
              <a:prstDash val="solid"/>
              <a:miter/>
            </a:ln>
          </p:spPr>
          <p:txBody>
            <a:bodyPr rtlCol="0" anchor="ctr"/>
            <a:lstStyle/>
            <a:p>
              <a:endParaRPr lang="de-DE"/>
            </a:p>
          </p:txBody>
        </p:sp>
        <p:sp>
          <p:nvSpPr>
            <p:cNvPr id="27" name="Freeform: Shape 26">
              <a:extLst>
                <a:ext uri="{FF2B5EF4-FFF2-40B4-BE49-F238E27FC236}">
                  <a16:creationId xmlns:a16="http://schemas.microsoft.com/office/drawing/2014/main" id="{8044A401-7CB4-4833-8D9D-3A1B357F10CA}"/>
                </a:ext>
              </a:extLst>
            </p:cNvPr>
            <p:cNvSpPr/>
            <p:nvPr/>
          </p:nvSpPr>
          <p:spPr>
            <a:xfrm>
              <a:off x="10844516" y="715501"/>
              <a:ext cx="17386" cy="130604"/>
            </a:xfrm>
            <a:custGeom>
              <a:avLst/>
              <a:gdLst>
                <a:gd name="connsiteX0" fmla="*/ 0 w 17386"/>
                <a:gd name="connsiteY0" fmla="*/ 1916 h 130604"/>
                <a:gd name="connsiteX1" fmla="*/ 1954 w 17386"/>
                <a:gd name="connsiteY1" fmla="*/ 0 h 130604"/>
                <a:gd name="connsiteX2" fmla="*/ 15439 w 17386"/>
                <a:gd name="connsiteY2" fmla="*/ 0 h 130604"/>
                <a:gd name="connsiteX3" fmla="*/ 17386 w 17386"/>
                <a:gd name="connsiteY3" fmla="*/ 1916 h 130604"/>
                <a:gd name="connsiteX4" fmla="*/ 17386 w 17386"/>
                <a:gd name="connsiteY4" fmla="*/ 128682 h 130604"/>
                <a:gd name="connsiteX5" fmla="*/ 15439 w 17386"/>
                <a:gd name="connsiteY5" fmla="*/ 130604 h 130604"/>
                <a:gd name="connsiteX6" fmla="*/ 1954 w 17386"/>
                <a:gd name="connsiteY6" fmla="*/ 130604 h 130604"/>
                <a:gd name="connsiteX7" fmla="*/ 0 w 17386"/>
                <a:gd name="connsiteY7" fmla="*/ 128682 h 130604"/>
                <a:gd name="connsiteX8" fmla="*/ 0 w 17386"/>
                <a:gd name="connsiteY8"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6" h="130604">
                  <a:moveTo>
                    <a:pt x="0" y="1916"/>
                  </a:moveTo>
                  <a:cubicBezTo>
                    <a:pt x="0" y="636"/>
                    <a:pt x="653" y="0"/>
                    <a:pt x="1954" y="0"/>
                  </a:cubicBezTo>
                  <a:lnTo>
                    <a:pt x="15439" y="0"/>
                  </a:lnTo>
                  <a:cubicBezTo>
                    <a:pt x="16740" y="0"/>
                    <a:pt x="17386" y="636"/>
                    <a:pt x="17386" y="1916"/>
                  </a:cubicBezTo>
                  <a:lnTo>
                    <a:pt x="17386" y="128682"/>
                  </a:lnTo>
                  <a:cubicBezTo>
                    <a:pt x="17386" y="129961"/>
                    <a:pt x="16740" y="130604"/>
                    <a:pt x="15439" y="130604"/>
                  </a:cubicBezTo>
                  <a:lnTo>
                    <a:pt x="1954"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28" name="Freeform: Shape 27">
              <a:extLst>
                <a:ext uri="{FF2B5EF4-FFF2-40B4-BE49-F238E27FC236}">
                  <a16:creationId xmlns:a16="http://schemas.microsoft.com/office/drawing/2014/main" id="{ED081F55-BB5F-4E4A-B316-E4B4C0B21109}"/>
                </a:ext>
              </a:extLst>
            </p:cNvPr>
            <p:cNvSpPr/>
            <p:nvPr/>
          </p:nvSpPr>
          <p:spPr>
            <a:xfrm>
              <a:off x="10896114" y="715501"/>
              <a:ext cx="90641" cy="130604"/>
            </a:xfrm>
            <a:custGeom>
              <a:avLst/>
              <a:gdLst>
                <a:gd name="connsiteX0" fmla="*/ 0 w 90641"/>
                <a:gd name="connsiteY0" fmla="*/ 1916 h 130604"/>
                <a:gd name="connsiteX1" fmla="*/ 1941 w 90641"/>
                <a:gd name="connsiteY1" fmla="*/ 0 h 130604"/>
                <a:gd name="connsiteX2" fmla="*/ 48516 w 90641"/>
                <a:gd name="connsiteY2" fmla="*/ 0 h 130604"/>
                <a:gd name="connsiteX3" fmla="*/ 78272 w 90641"/>
                <a:gd name="connsiteY3" fmla="*/ 9315 h 130604"/>
                <a:gd name="connsiteX4" fmla="*/ 88134 w 90641"/>
                <a:gd name="connsiteY4" fmla="*/ 34375 h 130604"/>
                <a:gd name="connsiteX5" fmla="*/ 83203 w 90641"/>
                <a:gd name="connsiteY5" fmla="*/ 52815 h 130604"/>
                <a:gd name="connsiteX6" fmla="*/ 70549 w 90641"/>
                <a:gd name="connsiteY6" fmla="*/ 62806 h 130604"/>
                <a:gd name="connsiteX7" fmla="*/ 70549 w 90641"/>
                <a:gd name="connsiteY7" fmla="*/ 63193 h 130604"/>
                <a:gd name="connsiteX8" fmla="*/ 77401 w 90641"/>
                <a:gd name="connsiteY8" fmla="*/ 66552 h 130604"/>
                <a:gd name="connsiteX9" fmla="*/ 83876 w 90641"/>
                <a:gd name="connsiteY9" fmla="*/ 72699 h 130604"/>
                <a:gd name="connsiteX10" fmla="*/ 88721 w 90641"/>
                <a:gd name="connsiteY10" fmla="*/ 81633 h 130604"/>
                <a:gd name="connsiteX11" fmla="*/ 90642 w 90641"/>
                <a:gd name="connsiteY11" fmla="*/ 93356 h 130604"/>
                <a:gd name="connsiteX12" fmla="*/ 79500 w 90641"/>
                <a:gd name="connsiteY12" fmla="*/ 121204 h 130604"/>
                <a:gd name="connsiteX13" fmla="*/ 47644 w 90641"/>
                <a:gd name="connsiteY13" fmla="*/ 130604 h 130604"/>
                <a:gd name="connsiteX14" fmla="*/ 1941 w 90641"/>
                <a:gd name="connsiteY14" fmla="*/ 130604 h 130604"/>
                <a:gd name="connsiteX15" fmla="*/ 0 w 90641"/>
                <a:gd name="connsiteY15" fmla="*/ 128682 h 130604"/>
                <a:gd name="connsiteX16" fmla="*/ 0 w 90641"/>
                <a:gd name="connsiteY16" fmla="*/ 1916 h 130604"/>
                <a:gd name="connsiteX17" fmla="*/ 48212 w 90641"/>
                <a:gd name="connsiteY17" fmla="*/ 56462 h 130604"/>
                <a:gd name="connsiteX18" fmla="*/ 65150 w 90641"/>
                <a:gd name="connsiteY18" fmla="*/ 50900 h 130604"/>
                <a:gd name="connsiteX19" fmla="*/ 71130 w 90641"/>
                <a:gd name="connsiteY19" fmla="*/ 36113 h 130604"/>
                <a:gd name="connsiteX20" fmla="*/ 65150 w 90641"/>
                <a:gd name="connsiteY20" fmla="*/ 21123 h 130604"/>
                <a:gd name="connsiteX21" fmla="*/ 48212 w 90641"/>
                <a:gd name="connsiteY21" fmla="*/ 15554 h 130604"/>
                <a:gd name="connsiteX22" fmla="*/ 18555 w 90641"/>
                <a:gd name="connsiteY22" fmla="*/ 15554 h 130604"/>
                <a:gd name="connsiteX23" fmla="*/ 17393 w 90641"/>
                <a:gd name="connsiteY23" fmla="*/ 16708 h 130604"/>
                <a:gd name="connsiteX24" fmla="*/ 17393 w 90641"/>
                <a:gd name="connsiteY24" fmla="*/ 55308 h 130604"/>
                <a:gd name="connsiteX25" fmla="*/ 18555 w 90641"/>
                <a:gd name="connsiteY25" fmla="*/ 56462 h 130604"/>
                <a:gd name="connsiteX26" fmla="*/ 48212 w 90641"/>
                <a:gd name="connsiteY26" fmla="*/ 56462 h 130604"/>
                <a:gd name="connsiteX27" fmla="*/ 17393 w 90641"/>
                <a:gd name="connsiteY27" fmla="*/ 113902 h 130604"/>
                <a:gd name="connsiteX28" fmla="*/ 18555 w 90641"/>
                <a:gd name="connsiteY28" fmla="*/ 115050 h 130604"/>
                <a:gd name="connsiteX29" fmla="*/ 49182 w 90641"/>
                <a:gd name="connsiteY29" fmla="*/ 115050 h 130604"/>
                <a:gd name="connsiteX30" fmla="*/ 67090 w 90641"/>
                <a:gd name="connsiteY30" fmla="*/ 109199 h 130604"/>
                <a:gd name="connsiteX31" fmla="*/ 73255 w 90641"/>
                <a:gd name="connsiteY31" fmla="*/ 93540 h 130604"/>
                <a:gd name="connsiteX32" fmla="*/ 67090 w 90641"/>
                <a:gd name="connsiteY32" fmla="*/ 77881 h 130604"/>
                <a:gd name="connsiteX33" fmla="*/ 49182 w 90641"/>
                <a:gd name="connsiteY33" fmla="*/ 72029 h 130604"/>
                <a:gd name="connsiteX34" fmla="*/ 18555 w 90641"/>
                <a:gd name="connsiteY34" fmla="*/ 72029 h 130604"/>
                <a:gd name="connsiteX35" fmla="*/ 17393 w 90641"/>
                <a:gd name="connsiteY35" fmla="*/ 73191 h 130604"/>
                <a:gd name="connsiteX36" fmla="*/ 17393 w 90641"/>
                <a:gd name="connsiteY36" fmla="*/ 113902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0641" h="130604">
                  <a:moveTo>
                    <a:pt x="0" y="1916"/>
                  </a:moveTo>
                  <a:cubicBezTo>
                    <a:pt x="0" y="636"/>
                    <a:pt x="647" y="0"/>
                    <a:pt x="1941" y="0"/>
                  </a:cubicBezTo>
                  <a:lnTo>
                    <a:pt x="48516" y="0"/>
                  </a:lnTo>
                  <a:cubicBezTo>
                    <a:pt x="61783" y="0"/>
                    <a:pt x="71704" y="3109"/>
                    <a:pt x="78272" y="9315"/>
                  </a:cubicBezTo>
                  <a:cubicBezTo>
                    <a:pt x="84840" y="15528"/>
                    <a:pt x="88134" y="23879"/>
                    <a:pt x="88134" y="34375"/>
                  </a:cubicBezTo>
                  <a:cubicBezTo>
                    <a:pt x="88134" y="42057"/>
                    <a:pt x="86497" y="48210"/>
                    <a:pt x="83203" y="52815"/>
                  </a:cubicBezTo>
                  <a:cubicBezTo>
                    <a:pt x="79916" y="57420"/>
                    <a:pt x="75691" y="60759"/>
                    <a:pt x="70549" y="62806"/>
                  </a:cubicBezTo>
                  <a:lnTo>
                    <a:pt x="70549" y="63193"/>
                  </a:lnTo>
                  <a:cubicBezTo>
                    <a:pt x="72734" y="63829"/>
                    <a:pt x="75024" y="64945"/>
                    <a:pt x="77401" y="66552"/>
                  </a:cubicBezTo>
                  <a:cubicBezTo>
                    <a:pt x="79784" y="68159"/>
                    <a:pt x="81955" y="70199"/>
                    <a:pt x="83876" y="72699"/>
                  </a:cubicBezTo>
                  <a:cubicBezTo>
                    <a:pt x="85817" y="75198"/>
                    <a:pt x="87427" y="78183"/>
                    <a:pt x="88721" y="81633"/>
                  </a:cubicBezTo>
                  <a:cubicBezTo>
                    <a:pt x="90002" y="85091"/>
                    <a:pt x="90642" y="89000"/>
                    <a:pt x="90642" y="93356"/>
                  </a:cubicBezTo>
                  <a:cubicBezTo>
                    <a:pt x="90648" y="105650"/>
                    <a:pt x="86932" y="114919"/>
                    <a:pt x="79500" y="121204"/>
                  </a:cubicBezTo>
                  <a:cubicBezTo>
                    <a:pt x="72080" y="127469"/>
                    <a:pt x="61460" y="130604"/>
                    <a:pt x="47644" y="130604"/>
                  </a:cubicBezTo>
                  <a:lnTo>
                    <a:pt x="1941" y="130604"/>
                  </a:lnTo>
                  <a:cubicBezTo>
                    <a:pt x="647" y="130604"/>
                    <a:pt x="0" y="129961"/>
                    <a:pt x="0" y="128682"/>
                  </a:cubicBezTo>
                  <a:lnTo>
                    <a:pt x="0" y="1916"/>
                  </a:lnTo>
                  <a:close/>
                  <a:moveTo>
                    <a:pt x="48212" y="56462"/>
                  </a:moveTo>
                  <a:cubicBezTo>
                    <a:pt x="55526" y="56462"/>
                    <a:pt x="61163" y="54606"/>
                    <a:pt x="65150" y="50900"/>
                  </a:cubicBezTo>
                  <a:cubicBezTo>
                    <a:pt x="69143" y="47187"/>
                    <a:pt x="71130" y="42253"/>
                    <a:pt x="71130" y="36113"/>
                  </a:cubicBezTo>
                  <a:cubicBezTo>
                    <a:pt x="71130" y="29829"/>
                    <a:pt x="69143" y="24836"/>
                    <a:pt x="65150" y="21123"/>
                  </a:cubicBezTo>
                  <a:cubicBezTo>
                    <a:pt x="61163" y="17404"/>
                    <a:pt x="55526" y="15554"/>
                    <a:pt x="48212" y="15554"/>
                  </a:cubicBezTo>
                  <a:lnTo>
                    <a:pt x="18555" y="15554"/>
                  </a:lnTo>
                  <a:cubicBezTo>
                    <a:pt x="17782" y="15554"/>
                    <a:pt x="17393" y="15934"/>
                    <a:pt x="17393" y="16708"/>
                  </a:cubicBezTo>
                  <a:lnTo>
                    <a:pt x="17393" y="55308"/>
                  </a:lnTo>
                  <a:cubicBezTo>
                    <a:pt x="17393" y="56075"/>
                    <a:pt x="17782" y="56462"/>
                    <a:pt x="18555" y="56462"/>
                  </a:cubicBezTo>
                  <a:lnTo>
                    <a:pt x="48212" y="56462"/>
                  </a:lnTo>
                  <a:close/>
                  <a:moveTo>
                    <a:pt x="17393" y="113902"/>
                  </a:moveTo>
                  <a:cubicBezTo>
                    <a:pt x="17393" y="114670"/>
                    <a:pt x="17782" y="115050"/>
                    <a:pt x="18555" y="115050"/>
                  </a:cubicBezTo>
                  <a:lnTo>
                    <a:pt x="49182" y="115050"/>
                  </a:lnTo>
                  <a:cubicBezTo>
                    <a:pt x="57011" y="115050"/>
                    <a:pt x="62978" y="113102"/>
                    <a:pt x="67090" y="109199"/>
                  </a:cubicBezTo>
                  <a:cubicBezTo>
                    <a:pt x="71196" y="105289"/>
                    <a:pt x="73255" y="100067"/>
                    <a:pt x="73255" y="93540"/>
                  </a:cubicBezTo>
                  <a:cubicBezTo>
                    <a:pt x="73255" y="87006"/>
                    <a:pt x="71196" y="81784"/>
                    <a:pt x="67090" y="77881"/>
                  </a:cubicBezTo>
                  <a:cubicBezTo>
                    <a:pt x="62978" y="73984"/>
                    <a:pt x="57011" y="72029"/>
                    <a:pt x="49182" y="72029"/>
                  </a:cubicBezTo>
                  <a:lnTo>
                    <a:pt x="18555" y="72029"/>
                  </a:lnTo>
                  <a:cubicBezTo>
                    <a:pt x="17782" y="72029"/>
                    <a:pt x="17393" y="72417"/>
                    <a:pt x="17393" y="73191"/>
                  </a:cubicBezTo>
                  <a:lnTo>
                    <a:pt x="17393" y="113902"/>
                  </a:lnTo>
                  <a:close/>
                </a:path>
              </a:pathLst>
            </a:custGeom>
            <a:solidFill>
              <a:srgbClr val="FFFFFF"/>
            </a:solidFill>
            <a:ln w="7" cap="flat">
              <a:noFill/>
              <a:prstDash val="solid"/>
              <a:miter/>
            </a:ln>
          </p:spPr>
          <p:txBody>
            <a:bodyPr rtlCol="0" anchor="ctr"/>
            <a:lstStyle/>
            <a:p>
              <a:endParaRPr lang="de-DE"/>
            </a:p>
          </p:txBody>
        </p:sp>
        <p:sp>
          <p:nvSpPr>
            <p:cNvPr id="29" name="Freeform: Shape 28">
              <a:extLst>
                <a:ext uri="{FF2B5EF4-FFF2-40B4-BE49-F238E27FC236}">
                  <a16:creationId xmlns:a16="http://schemas.microsoft.com/office/drawing/2014/main" id="{EAD5F209-F5DF-4F73-AD79-031D4E91273B}"/>
                </a:ext>
              </a:extLst>
            </p:cNvPr>
            <p:cNvSpPr/>
            <p:nvPr/>
          </p:nvSpPr>
          <p:spPr>
            <a:xfrm>
              <a:off x="11014789" y="715501"/>
              <a:ext cx="83103" cy="130604"/>
            </a:xfrm>
            <a:custGeom>
              <a:avLst/>
              <a:gdLst>
                <a:gd name="connsiteX0" fmla="*/ 0 w 83103"/>
                <a:gd name="connsiteY0" fmla="*/ 1916 h 130604"/>
                <a:gd name="connsiteX1" fmla="*/ 1941 w 83103"/>
                <a:gd name="connsiteY1" fmla="*/ 0 h 130604"/>
                <a:gd name="connsiteX2" fmla="*/ 81170 w 83103"/>
                <a:gd name="connsiteY2" fmla="*/ 0 h 130604"/>
                <a:gd name="connsiteX3" fmla="*/ 83104 w 83103"/>
                <a:gd name="connsiteY3" fmla="*/ 1916 h 130604"/>
                <a:gd name="connsiteX4" fmla="*/ 83104 w 83103"/>
                <a:gd name="connsiteY4" fmla="*/ 14012 h 130604"/>
                <a:gd name="connsiteX5" fmla="*/ 81170 w 83103"/>
                <a:gd name="connsiteY5" fmla="*/ 15934 h 130604"/>
                <a:gd name="connsiteX6" fmla="*/ 18555 w 83103"/>
                <a:gd name="connsiteY6" fmla="*/ 15934 h 130604"/>
                <a:gd name="connsiteX7" fmla="*/ 17400 w 83103"/>
                <a:gd name="connsiteY7" fmla="*/ 17089 h 130604"/>
                <a:gd name="connsiteX8" fmla="*/ 17400 w 83103"/>
                <a:gd name="connsiteY8" fmla="*/ 55511 h 130604"/>
                <a:gd name="connsiteX9" fmla="*/ 18555 w 83103"/>
                <a:gd name="connsiteY9" fmla="*/ 56653 h 130604"/>
                <a:gd name="connsiteX10" fmla="*/ 71704 w 83103"/>
                <a:gd name="connsiteY10" fmla="*/ 56653 h 130604"/>
                <a:gd name="connsiteX11" fmla="*/ 73645 w 83103"/>
                <a:gd name="connsiteY11" fmla="*/ 58575 h 130604"/>
                <a:gd name="connsiteX12" fmla="*/ 73645 w 83103"/>
                <a:gd name="connsiteY12" fmla="*/ 70685 h 130604"/>
                <a:gd name="connsiteX13" fmla="*/ 71704 w 83103"/>
                <a:gd name="connsiteY13" fmla="*/ 72607 h 130604"/>
                <a:gd name="connsiteX14" fmla="*/ 18555 w 83103"/>
                <a:gd name="connsiteY14" fmla="*/ 72607 h 130604"/>
                <a:gd name="connsiteX15" fmla="*/ 17400 w 83103"/>
                <a:gd name="connsiteY15" fmla="*/ 73755 h 130604"/>
                <a:gd name="connsiteX16" fmla="*/ 17400 w 83103"/>
                <a:gd name="connsiteY16" fmla="*/ 113515 h 130604"/>
                <a:gd name="connsiteX17" fmla="*/ 18555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7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41" y="0"/>
                  </a:cubicBezTo>
                  <a:lnTo>
                    <a:pt x="81170" y="0"/>
                  </a:lnTo>
                  <a:cubicBezTo>
                    <a:pt x="82463" y="0"/>
                    <a:pt x="83104" y="636"/>
                    <a:pt x="83104" y="1916"/>
                  </a:cubicBezTo>
                  <a:lnTo>
                    <a:pt x="83104" y="14012"/>
                  </a:lnTo>
                  <a:cubicBezTo>
                    <a:pt x="83104" y="15292"/>
                    <a:pt x="82463" y="15934"/>
                    <a:pt x="81170" y="15934"/>
                  </a:cubicBezTo>
                  <a:lnTo>
                    <a:pt x="18555" y="15934"/>
                  </a:lnTo>
                  <a:cubicBezTo>
                    <a:pt x="17776" y="15934"/>
                    <a:pt x="17400" y="16321"/>
                    <a:pt x="17400" y="17089"/>
                  </a:cubicBezTo>
                  <a:lnTo>
                    <a:pt x="17400" y="55511"/>
                  </a:lnTo>
                  <a:cubicBezTo>
                    <a:pt x="17400" y="56279"/>
                    <a:pt x="17776" y="56653"/>
                    <a:pt x="18555" y="56653"/>
                  </a:cubicBezTo>
                  <a:lnTo>
                    <a:pt x="71704" y="56653"/>
                  </a:lnTo>
                  <a:cubicBezTo>
                    <a:pt x="72985" y="56653"/>
                    <a:pt x="73645" y="57296"/>
                    <a:pt x="73645" y="58575"/>
                  </a:cubicBezTo>
                  <a:lnTo>
                    <a:pt x="73645" y="70685"/>
                  </a:lnTo>
                  <a:cubicBezTo>
                    <a:pt x="73645" y="71970"/>
                    <a:pt x="72985" y="72607"/>
                    <a:pt x="71704" y="72607"/>
                  </a:cubicBezTo>
                  <a:lnTo>
                    <a:pt x="18555" y="72607"/>
                  </a:lnTo>
                  <a:cubicBezTo>
                    <a:pt x="17776" y="72607"/>
                    <a:pt x="17400" y="72987"/>
                    <a:pt x="17400" y="73755"/>
                  </a:cubicBezTo>
                  <a:lnTo>
                    <a:pt x="17400" y="113515"/>
                  </a:lnTo>
                  <a:cubicBezTo>
                    <a:pt x="17400" y="114283"/>
                    <a:pt x="17776" y="114670"/>
                    <a:pt x="18555" y="114670"/>
                  </a:cubicBezTo>
                  <a:lnTo>
                    <a:pt x="81170" y="114670"/>
                  </a:lnTo>
                  <a:cubicBezTo>
                    <a:pt x="82463" y="114670"/>
                    <a:pt x="83104" y="115306"/>
                    <a:pt x="83104" y="116592"/>
                  </a:cubicBezTo>
                  <a:lnTo>
                    <a:pt x="83104" y="128682"/>
                  </a:lnTo>
                  <a:cubicBezTo>
                    <a:pt x="83104" y="129961"/>
                    <a:pt x="82463" y="130604"/>
                    <a:pt x="81170" y="130604"/>
                  </a:cubicBezTo>
                  <a:lnTo>
                    <a:pt x="1947"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30" name="Freeform: Shape 29">
              <a:extLst>
                <a:ext uri="{FF2B5EF4-FFF2-40B4-BE49-F238E27FC236}">
                  <a16:creationId xmlns:a16="http://schemas.microsoft.com/office/drawing/2014/main" id="{0520E00F-BB64-4692-A7CD-1EE0C4ED174C}"/>
                </a:ext>
              </a:extLst>
            </p:cNvPr>
            <p:cNvSpPr/>
            <p:nvPr/>
          </p:nvSpPr>
          <p:spPr>
            <a:xfrm>
              <a:off x="11113543" y="715494"/>
              <a:ext cx="95486" cy="130617"/>
            </a:xfrm>
            <a:custGeom>
              <a:avLst/>
              <a:gdLst>
                <a:gd name="connsiteX0" fmla="*/ 40991 w 95486"/>
                <a:gd name="connsiteY0" fmla="*/ 130617 h 130617"/>
                <a:gd name="connsiteX1" fmla="*/ 39044 w 95486"/>
                <a:gd name="connsiteY1" fmla="*/ 128689 h 130617"/>
                <a:gd name="connsiteX2" fmla="*/ 39044 w 95486"/>
                <a:gd name="connsiteY2" fmla="*/ 17102 h 130617"/>
                <a:gd name="connsiteX3" fmla="*/ 37882 w 95486"/>
                <a:gd name="connsiteY3" fmla="*/ 15941 h 130617"/>
                <a:gd name="connsiteX4" fmla="*/ 1927 w 95486"/>
                <a:gd name="connsiteY4" fmla="*/ 15941 h 130617"/>
                <a:gd name="connsiteX5" fmla="*/ 0 w 95486"/>
                <a:gd name="connsiteY5" fmla="*/ 14025 h 130617"/>
                <a:gd name="connsiteX6" fmla="*/ 0 w 95486"/>
                <a:gd name="connsiteY6" fmla="*/ 1922 h 130617"/>
                <a:gd name="connsiteX7" fmla="*/ 1927 w 95486"/>
                <a:gd name="connsiteY7" fmla="*/ 0 h 130617"/>
                <a:gd name="connsiteX8" fmla="*/ 93540 w 95486"/>
                <a:gd name="connsiteY8" fmla="*/ 0 h 130617"/>
                <a:gd name="connsiteX9" fmla="*/ 95487 w 95486"/>
                <a:gd name="connsiteY9" fmla="*/ 1922 h 130617"/>
                <a:gd name="connsiteX10" fmla="*/ 95487 w 95486"/>
                <a:gd name="connsiteY10" fmla="*/ 14025 h 130617"/>
                <a:gd name="connsiteX11" fmla="*/ 93540 w 95486"/>
                <a:gd name="connsiteY11" fmla="*/ 15941 h 130617"/>
                <a:gd name="connsiteX12" fmla="*/ 57598 w 95486"/>
                <a:gd name="connsiteY12" fmla="*/ 15941 h 130617"/>
                <a:gd name="connsiteX13" fmla="*/ 56450 w 95486"/>
                <a:gd name="connsiteY13" fmla="*/ 17102 h 130617"/>
                <a:gd name="connsiteX14" fmla="*/ 56450 w 95486"/>
                <a:gd name="connsiteY14" fmla="*/ 128689 h 130617"/>
                <a:gd name="connsiteX15" fmla="*/ 54476 w 95486"/>
                <a:gd name="connsiteY15" fmla="*/ 130617 h 130617"/>
                <a:gd name="connsiteX16" fmla="*/ 40991 w 95486"/>
                <a:gd name="connsiteY16" fmla="*/ 130617 h 130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486" h="130617">
                  <a:moveTo>
                    <a:pt x="40991" y="130617"/>
                  </a:moveTo>
                  <a:cubicBezTo>
                    <a:pt x="39697" y="130617"/>
                    <a:pt x="39044" y="129968"/>
                    <a:pt x="39044" y="128689"/>
                  </a:cubicBezTo>
                  <a:lnTo>
                    <a:pt x="39044" y="17102"/>
                  </a:lnTo>
                  <a:cubicBezTo>
                    <a:pt x="39044" y="16335"/>
                    <a:pt x="38667" y="15941"/>
                    <a:pt x="37882" y="15941"/>
                  </a:cubicBezTo>
                  <a:lnTo>
                    <a:pt x="1927" y="15941"/>
                  </a:lnTo>
                  <a:cubicBezTo>
                    <a:pt x="640" y="15941"/>
                    <a:pt x="0" y="15298"/>
                    <a:pt x="0" y="14025"/>
                  </a:cubicBezTo>
                  <a:lnTo>
                    <a:pt x="0" y="1922"/>
                  </a:lnTo>
                  <a:cubicBezTo>
                    <a:pt x="0" y="643"/>
                    <a:pt x="640" y="0"/>
                    <a:pt x="1927" y="0"/>
                  </a:cubicBezTo>
                  <a:lnTo>
                    <a:pt x="93540" y="0"/>
                  </a:lnTo>
                  <a:cubicBezTo>
                    <a:pt x="94833" y="0"/>
                    <a:pt x="95487" y="643"/>
                    <a:pt x="95487" y="1922"/>
                  </a:cubicBezTo>
                  <a:lnTo>
                    <a:pt x="95487" y="14025"/>
                  </a:lnTo>
                  <a:cubicBezTo>
                    <a:pt x="95487" y="15298"/>
                    <a:pt x="94833" y="15941"/>
                    <a:pt x="93540" y="15941"/>
                  </a:cubicBezTo>
                  <a:lnTo>
                    <a:pt x="57598" y="15941"/>
                  </a:lnTo>
                  <a:cubicBezTo>
                    <a:pt x="56826" y="15941"/>
                    <a:pt x="56450" y="16335"/>
                    <a:pt x="56450" y="17102"/>
                  </a:cubicBezTo>
                  <a:lnTo>
                    <a:pt x="56450" y="128689"/>
                  </a:lnTo>
                  <a:cubicBezTo>
                    <a:pt x="56450" y="129968"/>
                    <a:pt x="55790" y="130617"/>
                    <a:pt x="54476" y="130617"/>
                  </a:cubicBezTo>
                  <a:lnTo>
                    <a:pt x="40991" y="130617"/>
                  </a:lnTo>
                  <a:close/>
                </a:path>
              </a:pathLst>
            </a:custGeom>
            <a:solidFill>
              <a:srgbClr val="FFFFFF"/>
            </a:solidFill>
            <a:ln w="7" cap="flat">
              <a:noFill/>
              <a:prstDash val="solid"/>
              <a:miter/>
            </a:ln>
          </p:spPr>
          <p:txBody>
            <a:bodyPr rtlCol="0" anchor="ctr"/>
            <a:lstStyle/>
            <a:p>
              <a:endParaRPr lang="de-DE"/>
            </a:p>
          </p:txBody>
        </p:sp>
        <p:sp>
          <p:nvSpPr>
            <p:cNvPr id="31" name="Freeform: Shape 30">
              <a:extLst>
                <a:ext uri="{FF2B5EF4-FFF2-40B4-BE49-F238E27FC236}">
                  <a16:creationId xmlns:a16="http://schemas.microsoft.com/office/drawing/2014/main" id="{60A8EBAB-4850-4670-B2CB-0B0939878C71}"/>
                </a:ext>
              </a:extLst>
            </p:cNvPr>
            <p:cNvSpPr/>
            <p:nvPr/>
          </p:nvSpPr>
          <p:spPr>
            <a:xfrm>
              <a:off x="11231242" y="715501"/>
              <a:ext cx="93929" cy="130604"/>
            </a:xfrm>
            <a:custGeom>
              <a:avLst/>
              <a:gdLst>
                <a:gd name="connsiteX0" fmla="*/ 0 w 93929"/>
                <a:gd name="connsiteY0" fmla="*/ 1916 h 130604"/>
                <a:gd name="connsiteX1" fmla="*/ 1947 w 93929"/>
                <a:gd name="connsiteY1" fmla="*/ 0 h 130604"/>
                <a:gd name="connsiteX2" fmla="*/ 15439 w 93929"/>
                <a:gd name="connsiteY2" fmla="*/ 0 h 130604"/>
                <a:gd name="connsiteX3" fmla="*/ 17406 w 93929"/>
                <a:gd name="connsiteY3" fmla="*/ 1916 h 130604"/>
                <a:gd name="connsiteX4" fmla="*/ 17406 w 93929"/>
                <a:gd name="connsiteY4" fmla="*/ 55511 h 130604"/>
                <a:gd name="connsiteX5" fmla="*/ 18548 w 93929"/>
                <a:gd name="connsiteY5" fmla="*/ 56653 h 130604"/>
                <a:gd name="connsiteX6" fmla="*/ 75381 w 93929"/>
                <a:gd name="connsiteY6" fmla="*/ 56653 h 130604"/>
                <a:gd name="connsiteX7" fmla="*/ 76536 w 93929"/>
                <a:gd name="connsiteY7" fmla="*/ 55511 h 130604"/>
                <a:gd name="connsiteX8" fmla="*/ 76536 w 93929"/>
                <a:gd name="connsiteY8" fmla="*/ 1916 h 130604"/>
                <a:gd name="connsiteX9" fmla="*/ 78496 w 93929"/>
                <a:gd name="connsiteY9" fmla="*/ 0 h 130604"/>
                <a:gd name="connsiteX10" fmla="*/ 91982 w 93929"/>
                <a:gd name="connsiteY10" fmla="*/ 0 h 130604"/>
                <a:gd name="connsiteX11" fmla="*/ 93929 w 93929"/>
                <a:gd name="connsiteY11" fmla="*/ 1916 h 130604"/>
                <a:gd name="connsiteX12" fmla="*/ 93929 w 93929"/>
                <a:gd name="connsiteY12" fmla="*/ 128682 h 130604"/>
                <a:gd name="connsiteX13" fmla="*/ 91982 w 93929"/>
                <a:gd name="connsiteY13" fmla="*/ 130604 h 130604"/>
                <a:gd name="connsiteX14" fmla="*/ 78496 w 93929"/>
                <a:gd name="connsiteY14" fmla="*/ 130604 h 130604"/>
                <a:gd name="connsiteX15" fmla="*/ 76536 w 93929"/>
                <a:gd name="connsiteY15" fmla="*/ 128682 h 130604"/>
                <a:gd name="connsiteX16" fmla="*/ 76536 w 93929"/>
                <a:gd name="connsiteY16" fmla="*/ 73755 h 130604"/>
                <a:gd name="connsiteX17" fmla="*/ 75381 w 93929"/>
                <a:gd name="connsiteY17" fmla="*/ 72607 h 130604"/>
                <a:gd name="connsiteX18" fmla="*/ 18548 w 93929"/>
                <a:gd name="connsiteY18" fmla="*/ 72607 h 130604"/>
                <a:gd name="connsiteX19" fmla="*/ 17406 w 93929"/>
                <a:gd name="connsiteY19" fmla="*/ 73755 h 130604"/>
                <a:gd name="connsiteX20" fmla="*/ 17406 w 93929"/>
                <a:gd name="connsiteY20" fmla="*/ 128682 h 130604"/>
                <a:gd name="connsiteX21" fmla="*/ 15439 w 93929"/>
                <a:gd name="connsiteY21" fmla="*/ 130604 h 130604"/>
                <a:gd name="connsiteX22" fmla="*/ 1947 w 93929"/>
                <a:gd name="connsiteY22" fmla="*/ 130604 h 130604"/>
                <a:gd name="connsiteX23" fmla="*/ 0 w 93929"/>
                <a:gd name="connsiteY23" fmla="*/ 128682 h 130604"/>
                <a:gd name="connsiteX24" fmla="*/ 0 w 93929"/>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3929" h="130604">
                  <a:moveTo>
                    <a:pt x="0" y="1916"/>
                  </a:moveTo>
                  <a:cubicBezTo>
                    <a:pt x="0" y="636"/>
                    <a:pt x="653" y="0"/>
                    <a:pt x="1947" y="0"/>
                  </a:cubicBezTo>
                  <a:lnTo>
                    <a:pt x="15439" y="0"/>
                  </a:lnTo>
                  <a:cubicBezTo>
                    <a:pt x="16746" y="0"/>
                    <a:pt x="17406" y="636"/>
                    <a:pt x="17406" y="1916"/>
                  </a:cubicBezTo>
                  <a:lnTo>
                    <a:pt x="17406" y="55511"/>
                  </a:lnTo>
                  <a:cubicBezTo>
                    <a:pt x="17406" y="56279"/>
                    <a:pt x="17776" y="56653"/>
                    <a:pt x="18548" y="56653"/>
                  </a:cubicBezTo>
                  <a:lnTo>
                    <a:pt x="75381" y="56653"/>
                  </a:lnTo>
                  <a:cubicBezTo>
                    <a:pt x="76160" y="56653"/>
                    <a:pt x="76536" y="56279"/>
                    <a:pt x="76536" y="55511"/>
                  </a:cubicBezTo>
                  <a:lnTo>
                    <a:pt x="76536" y="1916"/>
                  </a:lnTo>
                  <a:cubicBezTo>
                    <a:pt x="76536" y="636"/>
                    <a:pt x="77189" y="0"/>
                    <a:pt x="78496" y="0"/>
                  </a:cubicBezTo>
                  <a:lnTo>
                    <a:pt x="91982" y="0"/>
                  </a:lnTo>
                  <a:cubicBezTo>
                    <a:pt x="93276" y="0"/>
                    <a:pt x="93929" y="636"/>
                    <a:pt x="93929" y="1916"/>
                  </a:cubicBezTo>
                  <a:lnTo>
                    <a:pt x="93929" y="128682"/>
                  </a:lnTo>
                  <a:cubicBezTo>
                    <a:pt x="93929" y="129961"/>
                    <a:pt x="93276" y="130604"/>
                    <a:pt x="91982" y="130604"/>
                  </a:cubicBezTo>
                  <a:lnTo>
                    <a:pt x="78496" y="130604"/>
                  </a:lnTo>
                  <a:cubicBezTo>
                    <a:pt x="77189" y="130604"/>
                    <a:pt x="76536" y="129961"/>
                    <a:pt x="76536" y="128682"/>
                  </a:cubicBezTo>
                  <a:lnTo>
                    <a:pt x="76536" y="73755"/>
                  </a:lnTo>
                  <a:cubicBezTo>
                    <a:pt x="76536" y="72987"/>
                    <a:pt x="76160" y="72607"/>
                    <a:pt x="75381" y="72607"/>
                  </a:cubicBezTo>
                  <a:lnTo>
                    <a:pt x="18548" y="72607"/>
                  </a:lnTo>
                  <a:cubicBezTo>
                    <a:pt x="17776" y="72607"/>
                    <a:pt x="17406" y="72987"/>
                    <a:pt x="17406" y="73755"/>
                  </a:cubicBezTo>
                  <a:lnTo>
                    <a:pt x="17406" y="128682"/>
                  </a:lnTo>
                  <a:cubicBezTo>
                    <a:pt x="17406" y="129961"/>
                    <a:pt x="16746" y="130604"/>
                    <a:pt x="15439" y="130604"/>
                  </a:cubicBezTo>
                  <a:lnTo>
                    <a:pt x="1947"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32" name="Freeform: Shape 31">
              <a:extLst>
                <a:ext uri="{FF2B5EF4-FFF2-40B4-BE49-F238E27FC236}">
                  <a16:creationId xmlns:a16="http://schemas.microsoft.com/office/drawing/2014/main" id="{432C633C-6927-4624-B23C-3763847D306E}"/>
                </a:ext>
              </a:extLst>
            </p:cNvPr>
            <p:cNvSpPr/>
            <p:nvPr/>
          </p:nvSpPr>
          <p:spPr>
            <a:xfrm>
              <a:off x="10728362" y="921730"/>
              <a:ext cx="92582" cy="130604"/>
            </a:xfrm>
            <a:custGeom>
              <a:avLst/>
              <a:gdLst>
                <a:gd name="connsiteX0" fmla="*/ 0 w 92582"/>
                <a:gd name="connsiteY0" fmla="*/ 1916 h 130604"/>
                <a:gd name="connsiteX1" fmla="*/ 1941 w 92582"/>
                <a:gd name="connsiteY1" fmla="*/ 0 h 130604"/>
                <a:gd name="connsiteX2" fmla="*/ 46186 w 92582"/>
                <a:gd name="connsiteY2" fmla="*/ 0 h 130604"/>
                <a:gd name="connsiteX3" fmla="*/ 89104 w 92582"/>
                <a:gd name="connsiteY3" fmla="*/ 27841 h 130604"/>
                <a:gd name="connsiteX4" fmla="*/ 90549 w 92582"/>
                <a:gd name="connsiteY4" fmla="*/ 33410 h 130604"/>
                <a:gd name="connsiteX5" fmla="*/ 91705 w 92582"/>
                <a:gd name="connsiteY5" fmla="*/ 40515 h 130604"/>
                <a:gd name="connsiteX6" fmla="*/ 92378 w 92582"/>
                <a:gd name="connsiteY6" fmla="*/ 50703 h 130604"/>
                <a:gd name="connsiteX7" fmla="*/ 92582 w 92582"/>
                <a:gd name="connsiteY7" fmla="*/ 65305 h 130604"/>
                <a:gd name="connsiteX8" fmla="*/ 92378 w 92582"/>
                <a:gd name="connsiteY8" fmla="*/ 79908 h 130604"/>
                <a:gd name="connsiteX9" fmla="*/ 91705 w 92582"/>
                <a:gd name="connsiteY9" fmla="*/ 90083 h 130604"/>
                <a:gd name="connsiteX10" fmla="*/ 90549 w 92582"/>
                <a:gd name="connsiteY10" fmla="*/ 97194 h 130604"/>
                <a:gd name="connsiteX11" fmla="*/ 89104 w 92582"/>
                <a:gd name="connsiteY11" fmla="*/ 102763 h 130604"/>
                <a:gd name="connsiteX12" fmla="*/ 46186 w 92582"/>
                <a:gd name="connsiteY12" fmla="*/ 130604 h 130604"/>
                <a:gd name="connsiteX13" fmla="*/ 1941 w 92582"/>
                <a:gd name="connsiteY13" fmla="*/ 130604 h 130604"/>
                <a:gd name="connsiteX14" fmla="*/ 0 w 92582"/>
                <a:gd name="connsiteY14" fmla="*/ 128682 h 130604"/>
                <a:gd name="connsiteX15" fmla="*/ 0 w 92582"/>
                <a:gd name="connsiteY15" fmla="*/ 1916 h 130604"/>
                <a:gd name="connsiteX16" fmla="*/ 17380 w 92582"/>
                <a:gd name="connsiteY16" fmla="*/ 113509 h 130604"/>
                <a:gd name="connsiteX17" fmla="*/ 18548 w 92582"/>
                <a:gd name="connsiteY17" fmla="*/ 114670 h 130604"/>
                <a:gd name="connsiteX18" fmla="*/ 42634 w 92582"/>
                <a:gd name="connsiteY18" fmla="*/ 114670 h 130604"/>
                <a:gd name="connsiteX19" fmla="*/ 61895 w 92582"/>
                <a:gd name="connsiteY19" fmla="*/ 110530 h 130604"/>
                <a:gd name="connsiteX20" fmla="*/ 72490 w 92582"/>
                <a:gd name="connsiteY20" fmla="*/ 96813 h 130604"/>
                <a:gd name="connsiteX21" fmla="*/ 73638 w 92582"/>
                <a:gd name="connsiteY21" fmla="*/ 92772 h 130604"/>
                <a:gd name="connsiteX22" fmla="*/ 74510 w 92582"/>
                <a:gd name="connsiteY22" fmla="*/ 86914 h 130604"/>
                <a:gd name="connsiteX23" fmla="*/ 74991 w 92582"/>
                <a:gd name="connsiteY23" fmla="*/ 78183 h 130604"/>
                <a:gd name="connsiteX24" fmla="*/ 75183 w 92582"/>
                <a:gd name="connsiteY24" fmla="*/ 65305 h 130604"/>
                <a:gd name="connsiteX25" fmla="*/ 74991 w 92582"/>
                <a:gd name="connsiteY25" fmla="*/ 52428 h 130604"/>
                <a:gd name="connsiteX26" fmla="*/ 74510 w 92582"/>
                <a:gd name="connsiteY26" fmla="*/ 43690 h 130604"/>
                <a:gd name="connsiteX27" fmla="*/ 73638 w 92582"/>
                <a:gd name="connsiteY27" fmla="*/ 37832 h 130604"/>
                <a:gd name="connsiteX28" fmla="*/ 72490 w 92582"/>
                <a:gd name="connsiteY28" fmla="*/ 33791 h 130604"/>
                <a:gd name="connsiteX29" fmla="*/ 61895 w 92582"/>
                <a:gd name="connsiteY29" fmla="*/ 20067 h 130604"/>
                <a:gd name="connsiteX30" fmla="*/ 42634 w 92582"/>
                <a:gd name="connsiteY30" fmla="*/ 15934 h 130604"/>
                <a:gd name="connsiteX31" fmla="*/ 18548 w 92582"/>
                <a:gd name="connsiteY31" fmla="*/ 15934 h 130604"/>
                <a:gd name="connsiteX32" fmla="*/ 17380 w 92582"/>
                <a:gd name="connsiteY32" fmla="*/ 17089 h 130604"/>
                <a:gd name="connsiteX33" fmla="*/ 17380 w 92582"/>
                <a:gd name="connsiteY33" fmla="*/ 113509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2582" h="130604">
                  <a:moveTo>
                    <a:pt x="0" y="1916"/>
                  </a:moveTo>
                  <a:cubicBezTo>
                    <a:pt x="0" y="636"/>
                    <a:pt x="647" y="0"/>
                    <a:pt x="1941" y="0"/>
                  </a:cubicBezTo>
                  <a:lnTo>
                    <a:pt x="46186" y="0"/>
                  </a:lnTo>
                  <a:cubicBezTo>
                    <a:pt x="68734" y="0"/>
                    <a:pt x="83044" y="9269"/>
                    <a:pt x="89104" y="27841"/>
                  </a:cubicBezTo>
                  <a:cubicBezTo>
                    <a:pt x="89606" y="29645"/>
                    <a:pt x="90094" y="31488"/>
                    <a:pt x="90549" y="33410"/>
                  </a:cubicBezTo>
                  <a:cubicBezTo>
                    <a:pt x="91005" y="35332"/>
                    <a:pt x="91388" y="37707"/>
                    <a:pt x="91705" y="40515"/>
                  </a:cubicBezTo>
                  <a:cubicBezTo>
                    <a:pt x="92028" y="43342"/>
                    <a:pt x="92252" y="46734"/>
                    <a:pt x="92378" y="50703"/>
                  </a:cubicBezTo>
                  <a:cubicBezTo>
                    <a:pt x="92516" y="54665"/>
                    <a:pt x="92582" y="59539"/>
                    <a:pt x="92582" y="65305"/>
                  </a:cubicBezTo>
                  <a:cubicBezTo>
                    <a:pt x="92582" y="71072"/>
                    <a:pt x="92516" y="75939"/>
                    <a:pt x="92378" y="79908"/>
                  </a:cubicBezTo>
                  <a:cubicBezTo>
                    <a:pt x="92252" y="83870"/>
                    <a:pt x="92028" y="87269"/>
                    <a:pt x="91705" y="90083"/>
                  </a:cubicBezTo>
                  <a:cubicBezTo>
                    <a:pt x="91388" y="92897"/>
                    <a:pt x="91005" y="95265"/>
                    <a:pt x="90549" y="97194"/>
                  </a:cubicBezTo>
                  <a:cubicBezTo>
                    <a:pt x="90094" y="99116"/>
                    <a:pt x="89606" y="100959"/>
                    <a:pt x="89104" y="102763"/>
                  </a:cubicBezTo>
                  <a:cubicBezTo>
                    <a:pt x="83044" y="121335"/>
                    <a:pt x="68734" y="130604"/>
                    <a:pt x="46186" y="130604"/>
                  </a:cubicBezTo>
                  <a:lnTo>
                    <a:pt x="1941" y="130604"/>
                  </a:lnTo>
                  <a:cubicBezTo>
                    <a:pt x="647" y="130604"/>
                    <a:pt x="0" y="129961"/>
                    <a:pt x="0" y="128682"/>
                  </a:cubicBezTo>
                  <a:lnTo>
                    <a:pt x="0" y="1916"/>
                  </a:lnTo>
                  <a:close/>
                  <a:moveTo>
                    <a:pt x="17380" y="113509"/>
                  </a:moveTo>
                  <a:cubicBezTo>
                    <a:pt x="17380" y="114276"/>
                    <a:pt x="17776" y="114670"/>
                    <a:pt x="18548" y="114670"/>
                  </a:cubicBezTo>
                  <a:lnTo>
                    <a:pt x="42634" y="114670"/>
                  </a:lnTo>
                  <a:cubicBezTo>
                    <a:pt x="50595" y="114670"/>
                    <a:pt x="57024" y="113292"/>
                    <a:pt x="61895" y="110530"/>
                  </a:cubicBezTo>
                  <a:cubicBezTo>
                    <a:pt x="66773" y="107775"/>
                    <a:pt x="70298" y="103203"/>
                    <a:pt x="72490" y="96813"/>
                  </a:cubicBezTo>
                  <a:cubicBezTo>
                    <a:pt x="72879" y="95652"/>
                    <a:pt x="73255" y="94307"/>
                    <a:pt x="73638" y="92772"/>
                  </a:cubicBezTo>
                  <a:cubicBezTo>
                    <a:pt x="74028" y="91237"/>
                    <a:pt x="74312" y="89282"/>
                    <a:pt x="74510" y="86914"/>
                  </a:cubicBezTo>
                  <a:cubicBezTo>
                    <a:pt x="74701" y="84546"/>
                    <a:pt x="74866" y="81633"/>
                    <a:pt x="74991" y="78183"/>
                  </a:cubicBezTo>
                  <a:cubicBezTo>
                    <a:pt x="75117" y="74719"/>
                    <a:pt x="75183" y="70429"/>
                    <a:pt x="75183" y="65305"/>
                  </a:cubicBezTo>
                  <a:cubicBezTo>
                    <a:pt x="75183" y="60175"/>
                    <a:pt x="75117" y="55892"/>
                    <a:pt x="74991" y="52428"/>
                  </a:cubicBezTo>
                  <a:cubicBezTo>
                    <a:pt x="74866" y="48977"/>
                    <a:pt x="74701" y="46065"/>
                    <a:pt x="74510" y="43690"/>
                  </a:cubicBezTo>
                  <a:cubicBezTo>
                    <a:pt x="74312" y="41315"/>
                    <a:pt x="74028" y="39367"/>
                    <a:pt x="73638" y="37832"/>
                  </a:cubicBezTo>
                  <a:cubicBezTo>
                    <a:pt x="73255" y="36297"/>
                    <a:pt x="72879" y="34952"/>
                    <a:pt x="72490" y="33791"/>
                  </a:cubicBezTo>
                  <a:cubicBezTo>
                    <a:pt x="70298" y="27401"/>
                    <a:pt x="66773" y="22822"/>
                    <a:pt x="61895" y="20067"/>
                  </a:cubicBezTo>
                  <a:cubicBezTo>
                    <a:pt x="57024" y="17312"/>
                    <a:pt x="50595" y="15934"/>
                    <a:pt x="42634" y="15934"/>
                  </a:cubicBezTo>
                  <a:lnTo>
                    <a:pt x="18548" y="15934"/>
                  </a:lnTo>
                  <a:cubicBezTo>
                    <a:pt x="17776" y="15934"/>
                    <a:pt x="17380" y="16321"/>
                    <a:pt x="17380" y="17089"/>
                  </a:cubicBezTo>
                  <a:lnTo>
                    <a:pt x="17380" y="113509"/>
                  </a:lnTo>
                  <a:close/>
                </a:path>
              </a:pathLst>
            </a:custGeom>
            <a:solidFill>
              <a:srgbClr val="FFFFFF"/>
            </a:solidFill>
            <a:ln w="7" cap="flat">
              <a:noFill/>
              <a:prstDash val="solid"/>
              <a:miter/>
            </a:ln>
          </p:spPr>
          <p:txBody>
            <a:bodyPr rtlCol="0" anchor="ctr"/>
            <a:lstStyle/>
            <a:p>
              <a:endParaRPr lang="de-DE"/>
            </a:p>
          </p:txBody>
        </p:sp>
        <p:sp>
          <p:nvSpPr>
            <p:cNvPr id="33" name="Freeform: Shape 32">
              <a:extLst>
                <a:ext uri="{FF2B5EF4-FFF2-40B4-BE49-F238E27FC236}">
                  <a16:creationId xmlns:a16="http://schemas.microsoft.com/office/drawing/2014/main" id="{DCC5C5D2-DF9B-4034-945A-5710CE584628}"/>
                </a:ext>
              </a:extLst>
            </p:cNvPr>
            <p:cNvSpPr/>
            <p:nvPr/>
          </p:nvSpPr>
          <p:spPr>
            <a:xfrm>
              <a:off x="10835891" y="921730"/>
              <a:ext cx="108302" cy="130604"/>
            </a:xfrm>
            <a:custGeom>
              <a:avLst/>
              <a:gdLst>
                <a:gd name="connsiteX0" fmla="*/ 45740 w 108302"/>
                <a:gd name="connsiteY0" fmla="*/ 1916 h 130604"/>
                <a:gd name="connsiteX1" fmla="*/ 48057 w 108302"/>
                <a:gd name="connsiteY1" fmla="*/ 0 h 130604"/>
                <a:gd name="connsiteX2" fmla="*/ 60632 w 108302"/>
                <a:gd name="connsiteY2" fmla="*/ 0 h 130604"/>
                <a:gd name="connsiteX3" fmla="*/ 63140 w 108302"/>
                <a:gd name="connsiteY3" fmla="*/ 1916 h 130604"/>
                <a:gd name="connsiteX4" fmla="*/ 108171 w 108302"/>
                <a:gd name="connsiteY4" fmla="*/ 128682 h 130604"/>
                <a:gd name="connsiteX5" fmla="*/ 106817 w 108302"/>
                <a:gd name="connsiteY5" fmla="*/ 130604 h 130604"/>
                <a:gd name="connsiteX6" fmla="*/ 93292 w 108302"/>
                <a:gd name="connsiteY6" fmla="*/ 130604 h 130604"/>
                <a:gd name="connsiteX7" fmla="*/ 90784 w 108302"/>
                <a:gd name="connsiteY7" fmla="*/ 128682 h 130604"/>
                <a:gd name="connsiteX8" fmla="*/ 80731 w 108302"/>
                <a:gd name="connsiteY8" fmla="*/ 100257 h 130604"/>
                <a:gd name="connsiteX9" fmla="*/ 27575 w 108302"/>
                <a:gd name="connsiteY9" fmla="*/ 100257 h 130604"/>
                <a:gd name="connsiteX10" fmla="*/ 17522 w 108302"/>
                <a:gd name="connsiteY10" fmla="*/ 128682 h 130604"/>
                <a:gd name="connsiteX11" fmla="*/ 15014 w 108302"/>
                <a:gd name="connsiteY11" fmla="*/ 130604 h 130604"/>
                <a:gd name="connsiteX12" fmla="*/ 1482 w 108302"/>
                <a:gd name="connsiteY12" fmla="*/ 130604 h 130604"/>
                <a:gd name="connsiteX13" fmla="*/ 136 w 108302"/>
                <a:gd name="connsiteY13" fmla="*/ 128682 h 130604"/>
                <a:gd name="connsiteX14" fmla="*/ 45740 w 108302"/>
                <a:gd name="connsiteY14" fmla="*/ 1916 h 130604"/>
                <a:gd name="connsiteX15" fmla="*/ 75127 w 108302"/>
                <a:gd name="connsiteY15" fmla="*/ 84513 h 130604"/>
                <a:gd name="connsiteX16" fmla="*/ 54440 w 108302"/>
                <a:gd name="connsiteY16" fmla="*/ 25164 h 130604"/>
                <a:gd name="connsiteX17" fmla="*/ 54051 w 108302"/>
                <a:gd name="connsiteY17" fmla="*/ 25164 h 130604"/>
                <a:gd name="connsiteX18" fmla="*/ 33179 w 108302"/>
                <a:gd name="connsiteY18" fmla="*/ 84513 h 130604"/>
                <a:gd name="connsiteX19" fmla="*/ 75127 w 108302"/>
                <a:gd name="connsiteY19" fmla="*/ 84513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302" h="130604">
                  <a:moveTo>
                    <a:pt x="45740" y="1916"/>
                  </a:moveTo>
                  <a:cubicBezTo>
                    <a:pt x="46117" y="636"/>
                    <a:pt x="46896" y="0"/>
                    <a:pt x="48057" y="0"/>
                  </a:cubicBezTo>
                  <a:lnTo>
                    <a:pt x="60632" y="0"/>
                  </a:lnTo>
                  <a:cubicBezTo>
                    <a:pt x="61906" y="0"/>
                    <a:pt x="62757" y="636"/>
                    <a:pt x="63140" y="1916"/>
                  </a:cubicBezTo>
                  <a:lnTo>
                    <a:pt x="108171" y="128682"/>
                  </a:lnTo>
                  <a:cubicBezTo>
                    <a:pt x="108553" y="129961"/>
                    <a:pt x="108105" y="130604"/>
                    <a:pt x="106817" y="130604"/>
                  </a:cubicBezTo>
                  <a:lnTo>
                    <a:pt x="93292" y="130604"/>
                  </a:lnTo>
                  <a:cubicBezTo>
                    <a:pt x="91999" y="130604"/>
                    <a:pt x="91160" y="129961"/>
                    <a:pt x="90784" y="128682"/>
                  </a:cubicBezTo>
                  <a:lnTo>
                    <a:pt x="80731" y="100257"/>
                  </a:lnTo>
                  <a:lnTo>
                    <a:pt x="27575" y="100257"/>
                  </a:lnTo>
                  <a:lnTo>
                    <a:pt x="17522" y="128682"/>
                  </a:lnTo>
                  <a:cubicBezTo>
                    <a:pt x="17007" y="129961"/>
                    <a:pt x="16169" y="130604"/>
                    <a:pt x="15014" y="130604"/>
                  </a:cubicBezTo>
                  <a:lnTo>
                    <a:pt x="1482" y="130604"/>
                  </a:lnTo>
                  <a:cubicBezTo>
                    <a:pt x="195" y="130604"/>
                    <a:pt x="-254" y="129961"/>
                    <a:pt x="136" y="128682"/>
                  </a:cubicBezTo>
                  <a:lnTo>
                    <a:pt x="45740" y="1916"/>
                  </a:lnTo>
                  <a:close/>
                  <a:moveTo>
                    <a:pt x="75127" y="84513"/>
                  </a:moveTo>
                  <a:lnTo>
                    <a:pt x="54440" y="25164"/>
                  </a:lnTo>
                  <a:lnTo>
                    <a:pt x="54051" y="25164"/>
                  </a:lnTo>
                  <a:lnTo>
                    <a:pt x="33179" y="84513"/>
                  </a:lnTo>
                  <a:lnTo>
                    <a:pt x="75127" y="84513"/>
                  </a:lnTo>
                  <a:close/>
                </a:path>
              </a:pathLst>
            </a:custGeom>
            <a:solidFill>
              <a:srgbClr val="FFFFFF"/>
            </a:solidFill>
            <a:ln w="7" cap="flat">
              <a:noFill/>
              <a:prstDash val="solid"/>
              <a:miter/>
            </a:ln>
          </p:spPr>
          <p:txBody>
            <a:bodyPr rtlCol="0" anchor="ctr"/>
            <a:lstStyle/>
            <a:p>
              <a:endParaRPr lang="de-DE"/>
            </a:p>
          </p:txBody>
        </p:sp>
        <p:sp>
          <p:nvSpPr>
            <p:cNvPr id="34" name="Freeform: Shape 33">
              <a:extLst>
                <a:ext uri="{FF2B5EF4-FFF2-40B4-BE49-F238E27FC236}">
                  <a16:creationId xmlns:a16="http://schemas.microsoft.com/office/drawing/2014/main" id="{AA4981A5-5C49-4B57-9AD8-FA1B6B483BC8}"/>
                </a:ext>
              </a:extLst>
            </p:cNvPr>
            <p:cNvSpPr/>
            <p:nvPr/>
          </p:nvSpPr>
          <p:spPr>
            <a:xfrm>
              <a:off x="10966861" y="921730"/>
              <a:ext cx="90655" cy="130604"/>
            </a:xfrm>
            <a:custGeom>
              <a:avLst/>
              <a:gdLst>
                <a:gd name="connsiteX0" fmla="*/ 0 w 90655"/>
                <a:gd name="connsiteY0" fmla="*/ 1916 h 130604"/>
                <a:gd name="connsiteX1" fmla="*/ 1941 w 90655"/>
                <a:gd name="connsiteY1" fmla="*/ 0 h 130604"/>
                <a:gd name="connsiteX2" fmla="*/ 48522 w 90655"/>
                <a:gd name="connsiteY2" fmla="*/ 0 h 130604"/>
                <a:gd name="connsiteX3" fmla="*/ 78272 w 90655"/>
                <a:gd name="connsiteY3" fmla="*/ 9309 h 130604"/>
                <a:gd name="connsiteX4" fmla="*/ 88127 w 90655"/>
                <a:gd name="connsiteY4" fmla="*/ 34375 h 130604"/>
                <a:gd name="connsiteX5" fmla="*/ 83203 w 90655"/>
                <a:gd name="connsiteY5" fmla="*/ 52815 h 130604"/>
                <a:gd name="connsiteX6" fmla="*/ 70556 w 90655"/>
                <a:gd name="connsiteY6" fmla="*/ 62806 h 130604"/>
                <a:gd name="connsiteX7" fmla="*/ 70556 w 90655"/>
                <a:gd name="connsiteY7" fmla="*/ 63193 h 130604"/>
                <a:gd name="connsiteX8" fmla="*/ 77401 w 90655"/>
                <a:gd name="connsiteY8" fmla="*/ 66552 h 130604"/>
                <a:gd name="connsiteX9" fmla="*/ 83883 w 90655"/>
                <a:gd name="connsiteY9" fmla="*/ 72699 h 130604"/>
                <a:gd name="connsiteX10" fmla="*/ 88708 w 90655"/>
                <a:gd name="connsiteY10" fmla="*/ 81633 h 130604"/>
                <a:gd name="connsiteX11" fmla="*/ 90655 w 90655"/>
                <a:gd name="connsiteY11" fmla="*/ 93356 h 130604"/>
                <a:gd name="connsiteX12" fmla="*/ 79506 w 90655"/>
                <a:gd name="connsiteY12" fmla="*/ 121204 h 130604"/>
                <a:gd name="connsiteX13" fmla="*/ 47644 w 90655"/>
                <a:gd name="connsiteY13" fmla="*/ 130604 h 130604"/>
                <a:gd name="connsiteX14" fmla="*/ 1941 w 90655"/>
                <a:gd name="connsiteY14" fmla="*/ 130604 h 130604"/>
                <a:gd name="connsiteX15" fmla="*/ 0 w 90655"/>
                <a:gd name="connsiteY15" fmla="*/ 128682 h 130604"/>
                <a:gd name="connsiteX16" fmla="*/ 0 w 90655"/>
                <a:gd name="connsiteY16" fmla="*/ 1916 h 130604"/>
                <a:gd name="connsiteX17" fmla="*/ 48205 w 90655"/>
                <a:gd name="connsiteY17" fmla="*/ 56462 h 130604"/>
                <a:gd name="connsiteX18" fmla="*/ 65176 w 90655"/>
                <a:gd name="connsiteY18" fmla="*/ 50906 h 130604"/>
                <a:gd name="connsiteX19" fmla="*/ 71137 w 90655"/>
                <a:gd name="connsiteY19" fmla="*/ 36113 h 130604"/>
                <a:gd name="connsiteX20" fmla="*/ 65176 w 90655"/>
                <a:gd name="connsiteY20" fmla="*/ 21123 h 130604"/>
                <a:gd name="connsiteX21" fmla="*/ 48205 w 90655"/>
                <a:gd name="connsiteY21" fmla="*/ 15554 h 130604"/>
                <a:gd name="connsiteX22" fmla="*/ 18555 w 90655"/>
                <a:gd name="connsiteY22" fmla="*/ 15554 h 130604"/>
                <a:gd name="connsiteX23" fmla="*/ 17393 w 90655"/>
                <a:gd name="connsiteY23" fmla="*/ 16702 h 130604"/>
                <a:gd name="connsiteX24" fmla="*/ 17393 w 90655"/>
                <a:gd name="connsiteY24" fmla="*/ 55308 h 130604"/>
                <a:gd name="connsiteX25" fmla="*/ 18555 w 90655"/>
                <a:gd name="connsiteY25" fmla="*/ 56462 h 130604"/>
                <a:gd name="connsiteX26" fmla="*/ 48205 w 90655"/>
                <a:gd name="connsiteY26" fmla="*/ 56462 h 130604"/>
                <a:gd name="connsiteX27" fmla="*/ 17393 w 90655"/>
                <a:gd name="connsiteY27" fmla="*/ 113896 h 130604"/>
                <a:gd name="connsiteX28" fmla="*/ 18555 w 90655"/>
                <a:gd name="connsiteY28" fmla="*/ 115044 h 130604"/>
                <a:gd name="connsiteX29" fmla="*/ 49196 w 90655"/>
                <a:gd name="connsiteY29" fmla="*/ 115044 h 130604"/>
                <a:gd name="connsiteX30" fmla="*/ 67097 w 90655"/>
                <a:gd name="connsiteY30" fmla="*/ 109199 h 130604"/>
                <a:gd name="connsiteX31" fmla="*/ 73262 w 90655"/>
                <a:gd name="connsiteY31" fmla="*/ 93540 h 130604"/>
                <a:gd name="connsiteX32" fmla="*/ 67097 w 90655"/>
                <a:gd name="connsiteY32" fmla="*/ 77881 h 130604"/>
                <a:gd name="connsiteX33" fmla="*/ 49196 w 90655"/>
                <a:gd name="connsiteY33" fmla="*/ 72029 h 130604"/>
                <a:gd name="connsiteX34" fmla="*/ 18555 w 90655"/>
                <a:gd name="connsiteY34" fmla="*/ 72029 h 130604"/>
                <a:gd name="connsiteX35" fmla="*/ 17393 w 90655"/>
                <a:gd name="connsiteY35" fmla="*/ 73191 h 130604"/>
                <a:gd name="connsiteX36" fmla="*/ 17393 w 90655"/>
                <a:gd name="connsiteY36" fmla="*/ 11389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0655" h="130604">
                  <a:moveTo>
                    <a:pt x="0" y="1916"/>
                  </a:moveTo>
                  <a:cubicBezTo>
                    <a:pt x="0" y="636"/>
                    <a:pt x="647" y="0"/>
                    <a:pt x="1941" y="0"/>
                  </a:cubicBezTo>
                  <a:lnTo>
                    <a:pt x="48522" y="0"/>
                  </a:lnTo>
                  <a:cubicBezTo>
                    <a:pt x="61790" y="0"/>
                    <a:pt x="71704" y="3109"/>
                    <a:pt x="78272" y="9309"/>
                  </a:cubicBezTo>
                  <a:cubicBezTo>
                    <a:pt x="84853" y="15521"/>
                    <a:pt x="88127" y="23879"/>
                    <a:pt x="88127" y="34375"/>
                  </a:cubicBezTo>
                  <a:cubicBezTo>
                    <a:pt x="88127" y="42057"/>
                    <a:pt x="86483" y="48210"/>
                    <a:pt x="83203" y="52815"/>
                  </a:cubicBezTo>
                  <a:cubicBezTo>
                    <a:pt x="79929" y="57420"/>
                    <a:pt x="75691" y="60759"/>
                    <a:pt x="70556" y="62806"/>
                  </a:cubicBezTo>
                  <a:lnTo>
                    <a:pt x="70556" y="63193"/>
                  </a:lnTo>
                  <a:cubicBezTo>
                    <a:pt x="72747" y="63829"/>
                    <a:pt x="75018" y="64945"/>
                    <a:pt x="77401" y="66552"/>
                  </a:cubicBezTo>
                  <a:cubicBezTo>
                    <a:pt x="79784" y="68159"/>
                    <a:pt x="81949" y="70199"/>
                    <a:pt x="83883" y="72699"/>
                  </a:cubicBezTo>
                  <a:cubicBezTo>
                    <a:pt x="85803" y="75198"/>
                    <a:pt x="87414" y="78183"/>
                    <a:pt x="88708" y="81633"/>
                  </a:cubicBezTo>
                  <a:cubicBezTo>
                    <a:pt x="90002" y="85091"/>
                    <a:pt x="90655" y="88994"/>
                    <a:pt x="90655" y="93356"/>
                  </a:cubicBezTo>
                  <a:cubicBezTo>
                    <a:pt x="90655" y="105650"/>
                    <a:pt x="86939" y="114919"/>
                    <a:pt x="79506" y="121204"/>
                  </a:cubicBezTo>
                  <a:cubicBezTo>
                    <a:pt x="72080" y="127462"/>
                    <a:pt x="61473" y="130604"/>
                    <a:pt x="47644" y="130604"/>
                  </a:cubicBezTo>
                  <a:lnTo>
                    <a:pt x="1941" y="130604"/>
                  </a:lnTo>
                  <a:cubicBezTo>
                    <a:pt x="647" y="130604"/>
                    <a:pt x="0" y="129961"/>
                    <a:pt x="0" y="128682"/>
                  </a:cubicBezTo>
                  <a:lnTo>
                    <a:pt x="0" y="1916"/>
                  </a:lnTo>
                  <a:close/>
                  <a:moveTo>
                    <a:pt x="48205" y="56462"/>
                  </a:moveTo>
                  <a:cubicBezTo>
                    <a:pt x="55539" y="56462"/>
                    <a:pt x="61176" y="54606"/>
                    <a:pt x="65176" y="50906"/>
                  </a:cubicBezTo>
                  <a:cubicBezTo>
                    <a:pt x="69143" y="47193"/>
                    <a:pt x="71137" y="42253"/>
                    <a:pt x="71137" y="36113"/>
                  </a:cubicBezTo>
                  <a:cubicBezTo>
                    <a:pt x="71137" y="29829"/>
                    <a:pt x="69143" y="24830"/>
                    <a:pt x="65176" y="21123"/>
                  </a:cubicBezTo>
                  <a:cubicBezTo>
                    <a:pt x="61176" y="17404"/>
                    <a:pt x="55539" y="15554"/>
                    <a:pt x="48205" y="15554"/>
                  </a:cubicBezTo>
                  <a:lnTo>
                    <a:pt x="18555" y="15554"/>
                  </a:lnTo>
                  <a:cubicBezTo>
                    <a:pt x="17782" y="15554"/>
                    <a:pt x="17393" y="15934"/>
                    <a:pt x="17393" y="16702"/>
                  </a:cubicBezTo>
                  <a:lnTo>
                    <a:pt x="17393" y="55308"/>
                  </a:lnTo>
                  <a:cubicBezTo>
                    <a:pt x="17393" y="56075"/>
                    <a:pt x="17782" y="56462"/>
                    <a:pt x="18555" y="56462"/>
                  </a:cubicBezTo>
                  <a:lnTo>
                    <a:pt x="48205" y="56462"/>
                  </a:lnTo>
                  <a:close/>
                  <a:moveTo>
                    <a:pt x="17393" y="113896"/>
                  </a:moveTo>
                  <a:cubicBezTo>
                    <a:pt x="17393" y="114670"/>
                    <a:pt x="17782" y="115044"/>
                    <a:pt x="18555" y="115044"/>
                  </a:cubicBezTo>
                  <a:lnTo>
                    <a:pt x="49196" y="115044"/>
                  </a:lnTo>
                  <a:cubicBezTo>
                    <a:pt x="57024" y="115044"/>
                    <a:pt x="62985" y="113089"/>
                    <a:pt x="67097" y="109199"/>
                  </a:cubicBezTo>
                  <a:cubicBezTo>
                    <a:pt x="71209" y="105289"/>
                    <a:pt x="73262" y="100067"/>
                    <a:pt x="73262" y="93540"/>
                  </a:cubicBezTo>
                  <a:cubicBezTo>
                    <a:pt x="73262" y="87000"/>
                    <a:pt x="71209" y="81791"/>
                    <a:pt x="67097" y="77881"/>
                  </a:cubicBezTo>
                  <a:cubicBezTo>
                    <a:pt x="62985" y="73984"/>
                    <a:pt x="57024" y="72029"/>
                    <a:pt x="49196" y="72029"/>
                  </a:cubicBezTo>
                  <a:lnTo>
                    <a:pt x="18555" y="72029"/>
                  </a:lnTo>
                  <a:cubicBezTo>
                    <a:pt x="17782" y="72029"/>
                    <a:pt x="17393" y="72417"/>
                    <a:pt x="17393" y="73191"/>
                  </a:cubicBezTo>
                  <a:lnTo>
                    <a:pt x="17393" y="113896"/>
                  </a:lnTo>
                  <a:close/>
                </a:path>
              </a:pathLst>
            </a:custGeom>
            <a:solidFill>
              <a:srgbClr val="FFFFFF"/>
            </a:solidFill>
            <a:ln w="7" cap="flat">
              <a:noFill/>
              <a:prstDash val="solid"/>
              <a:miter/>
            </a:ln>
          </p:spPr>
          <p:txBody>
            <a:bodyPr rtlCol="0" anchor="ctr"/>
            <a:lstStyle/>
            <a:p>
              <a:endParaRPr lang="de-DE"/>
            </a:p>
          </p:txBody>
        </p:sp>
        <p:sp>
          <p:nvSpPr>
            <p:cNvPr id="35" name="Freeform: Shape 34">
              <a:extLst>
                <a:ext uri="{FF2B5EF4-FFF2-40B4-BE49-F238E27FC236}">
                  <a16:creationId xmlns:a16="http://schemas.microsoft.com/office/drawing/2014/main" id="{AEC921DF-2F90-41C6-8554-C8B98B3E2F74}"/>
                </a:ext>
              </a:extLst>
            </p:cNvPr>
            <p:cNvSpPr/>
            <p:nvPr/>
          </p:nvSpPr>
          <p:spPr>
            <a:xfrm>
              <a:off x="11085536" y="921730"/>
              <a:ext cx="83103" cy="130604"/>
            </a:xfrm>
            <a:custGeom>
              <a:avLst/>
              <a:gdLst>
                <a:gd name="connsiteX0" fmla="*/ 0 w 83103"/>
                <a:gd name="connsiteY0" fmla="*/ 1916 h 130604"/>
                <a:gd name="connsiteX1" fmla="*/ 1934 w 83103"/>
                <a:gd name="connsiteY1" fmla="*/ 0 h 130604"/>
                <a:gd name="connsiteX2" fmla="*/ 81170 w 83103"/>
                <a:gd name="connsiteY2" fmla="*/ 0 h 130604"/>
                <a:gd name="connsiteX3" fmla="*/ 83104 w 83103"/>
                <a:gd name="connsiteY3" fmla="*/ 1916 h 130604"/>
                <a:gd name="connsiteX4" fmla="*/ 83104 w 83103"/>
                <a:gd name="connsiteY4" fmla="*/ 14006 h 130604"/>
                <a:gd name="connsiteX5" fmla="*/ 81170 w 83103"/>
                <a:gd name="connsiteY5" fmla="*/ 15934 h 130604"/>
                <a:gd name="connsiteX6" fmla="*/ 18555 w 83103"/>
                <a:gd name="connsiteY6" fmla="*/ 15934 h 130604"/>
                <a:gd name="connsiteX7" fmla="*/ 17406 w 83103"/>
                <a:gd name="connsiteY7" fmla="*/ 17089 h 130604"/>
                <a:gd name="connsiteX8" fmla="*/ 17406 w 83103"/>
                <a:gd name="connsiteY8" fmla="*/ 55505 h 130604"/>
                <a:gd name="connsiteX9" fmla="*/ 18555 w 83103"/>
                <a:gd name="connsiteY9" fmla="*/ 56653 h 130604"/>
                <a:gd name="connsiteX10" fmla="*/ 71691 w 83103"/>
                <a:gd name="connsiteY10" fmla="*/ 56653 h 130604"/>
                <a:gd name="connsiteX11" fmla="*/ 73638 w 83103"/>
                <a:gd name="connsiteY11" fmla="*/ 58575 h 130604"/>
                <a:gd name="connsiteX12" fmla="*/ 73638 w 83103"/>
                <a:gd name="connsiteY12" fmla="*/ 70678 h 130604"/>
                <a:gd name="connsiteX13" fmla="*/ 71691 w 83103"/>
                <a:gd name="connsiteY13" fmla="*/ 72607 h 130604"/>
                <a:gd name="connsiteX14" fmla="*/ 18555 w 83103"/>
                <a:gd name="connsiteY14" fmla="*/ 72607 h 130604"/>
                <a:gd name="connsiteX15" fmla="*/ 17406 w 83103"/>
                <a:gd name="connsiteY15" fmla="*/ 73755 h 130604"/>
                <a:gd name="connsiteX16" fmla="*/ 17406 w 83103"/>
                <a:gd name="connsiteY16" fmla="*/ 113509 h 130604"/>
                <a:gd name="connsiteX17" fmla="*/ 18555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1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34" y="0"/>
                  </a:cubicBezTo>
                  <a:lnTo>
                    <a:pt x="81170" y="0"/>
                  </a:lnTo>
                  <a:cubicBezTo>
                    <a:pt x="82463" y="0"/>
                    <a:pt x="83104" y="636"/>
                    <a:pt x="83104" y="1916"/>
                  </a:cubicBezTo>
                  <a:lnTo>
                    <a:pt x="83104" y="14006"/>
                  </a:lnTo>
                  <a:cubicBezTo>
                    <a:pt x="83104" y="15292"/>
                    <a:pt x="82463" y="15934"/>
                    <a:pt x="81170" y="15934"/>
                  </a:cubicBezTo>
                  <a:lnTo>
                    <a:pt x="18555" y="15934"/>
                  </a:lnTo>
                  <a:cubicBezTo>
                    <a:pt x="17782" y="15934"/>
                    <a:pt x="17406" y="16321"/>
                    <a:pt x="17406" y="17089"/>
                  </a:cubicBezTo>
                  <a:lnTo>
                    <a:pt x="17406" y="55505"/>
                  </a:lnTo>
                  <a:cubicBezTo>
                    <a:pt x="17406" y="56279"/>
                    <a:pt x="17782" y="56653"/>
                    <a:pt x="18555" y="56653"/>
                  </a:cubicBezTo>
                  <a:lnTo>
                    <a:pt x="71691" y="56653"/>
                  </a:lnTo>
                  <a:cubicBezTo>
                    <a:pt x="72985" y="56653"/>
                    <a:pt x="73638" y="57296"/>
                    <a:pt x="73638" y="58575"/>
                  </a:cubicBezTo>
                  <a:lnTo>
                    <a:pt x="73638" y="70678"/>
                  </a:lnTo>
                  <a:cubicBezTo>
                    <a:pt x="73638" y="71970"/>
                    <a:pt x="72985" y="72607"/>
                    <a:pt x="71691" y="72607"/>
                  </a:cubicBezTo>
                  <a:lnTo>
                    <a:pt x="18555" y="72607"/>
                  </a:lnTo>
                  <a:cubicBezTo>
                    <a:pt x="17782" y="72607"/>
                    <a:pt x="17406" y="72987"/>
                    <a:pt x="17406" y="73755"/>
                  </a:cubicBezTo>
                  <a:lnTo>
                    <a:pt x="17406" y="113509"/>
                  </a:lnTo>
                  <a:cubicBezTo>
                    <a:pt x="17406" y="114276"/>
                    <a:pt x="17782" y="114670"/>
                    <a:pt x="18555" y="114670"/>
                  </a:cubicBezTo>
                  <a:lnTo>
                    <a:pt x="81170" y="114670"/>
                  </a:lnTo>
                  <a:cubicBezTo>
                    <a:pt x="82463" y="114670"/>
                    <a:pt x="83104" y="115306"/>
                    <a:pt x="83104" y="116592"/>
                  </a:cubicBezTo>
                  <a:lnTo>
                    <a:pt x="83104" y="128682"/>
                  </a:lnTo>
                  <a:cubicBezTo>
                    <a:pt x="83104" y="129961"/>
                    <a:pt x="82463" y="130604"/>
                    <a:pt x="81170" y="130604"/>
                  </a:cubicBezTo>
                  <a:lnTo>
                    <a:pt x="1941"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36" name="Freeform: Shape 35">
              <a:extLst>
                <a:ext uri="{FF2B5EF4-FFF2-40B4-BE49-F238E27FC236}">
                  <a16:creationId xmlns:a16="http://schemas.microsoft.com/office/drawing/2014/main" id="{5AE3BEF4-43CF-4486-906A-CB1A0A02EDA6}"/>
                </a:ext>
              </a:extLst>
            </p:cNvPr>
            <p:cNvSpPr/>
            <p:nvPr/>
          </p:nvSpPr>
          <p:spPr>
            <a:xfrm>
              <a:off x="11196277" y="921730"/>
              <a:ext cx="83103" cy="130604"/>
            </a:xfrm>
            <a:custGeom>
              <a:avLst/>
              <a:gdLst>
                <a:gd name="connsiteX0" fmla="*/ 0 w 83103"/>
                <a:gd name="connsiteY0" fmla="*/ 1916 h 130604"/>
                <a:gd name="connsiteX1" fmla="*/ 1947 w 83103"/>
                <a:gd name="connsiteY1" fmla="*/ 0 h 130604"/>
                <a:gd name="connsiteX2" fmla="*/ 15433 w 83103"/>
                <a:gd name="connsiteY2" fmla="*/ 0 h 130604"/>
                <a:gd name="connsiteX3" fmla="*/ 17406 w 83103"/>
                <a:gd name="connsiteY3" fmla="*/ 1916 h 130604"/>
                <a:gd name="connsiteX4" fmla="*/ 17406 w 83103"/>
                <a:gd name="connsiteY4" fmla="*/ 113509 h 130604"/>
                <a:gd name="connsiteX5" fmla="*/ 18555 w 83103"/>
                <a:gd name="connsiteY5" fmla="*/ 114670 h 130604"/>
                <a:gd name="connsiteX6" fmla="*/ 81176 w 83103"/>
                <a:gd name="connsiteY6" fmla="*/ 114670 h 130604"/>
                <a:gd name="connsiteX7" fmla="*/ 83097 w 83103"/>
                <a:gd name="connsiteY7" fmla="*/ 116592 h 130604"/>
                <a:gd name="connsiteX8" fmla="*/ 83104 w 83103"/>
                <a:gd name="connsiteY8" fmla="*/ 128682 h 130604"/>
                <a:gd name="connsiteX9" fmla="*/ 81176 w 83103"/>
                <a:gd name="connsiteY9" fmla="*/ 130604 h 130604"/>
                <a:gd name="connsiteX10" fmla="*/ 1947 w 83103"/>
                <a:gd name="connsiteY10" fmla="*/ 130604 h 130604"/>
                <a:gd name="connsiteX11" fmla="*/ 0 w 83103"/>
                <a:gd name="connsiteY11" fmla="*/ 128682 h 130604"/>
                <a:gd name="connsiteX12" fmla="*/ 0 w 83103"/>
                <a:gd name="connsiteY12"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03" h="130604">
                  <a:moveTo>
                    <a:pt x="0" y="1916"/>
                  </a:moveTo>
                  <a:cubicBezTo>
                    <a:pt x="0" y="636"/>
                    <a:pt x="653" y="0"/>
                    <a:pt x="1947" y="0"/>
                  </a:cubicBezTo>
                  <a:lnTo>
                    <a:pt x="15433" y="0"/>
                  </a:lnTo>
                  <a:cubicBezTo>
                    <a:pt x="16753" y="0"/>
                    <a:pt x="17406" y="636"/>
                    <a:pt x="17406" y="1916"/>
                  </a:cubicBezTo>
                  <a:lnTo>
                    <a:pt x="17406" y="113509"/>
                  </a:lnTo>
                  <a:cubicBezTo>
                    <a:pt x="17406" y="114276"/>
                    <a:pt x="17776" y="114670"/>
                    <a:pt x="18555" y="114670"/>
                  </a:cubicBezTo>
                  <a:lnTo>
                    <a:pt x="81176" y="114670"/>
                  </a:lnTo>
                  <a:cubicBezTo>
                    <a:pt x="82463" y="114670"/>
                    <a:pt x="83097" y="115306"/>
                    <a:pt x="83097" y="116592"/>
                  </a:cubicBezTo>
                  <a:lnTo>
                    <a:pt x="83104" y="128682"/>
                  </a:lnTo>
                  <a:cubicBezTo>
                    <a:pt x="83104" y="129961"/>
                    <a:pt x="82463" y="130604"/>
                    <a:pt x="81176" y="130604"/>
                  </a:cubicBezTo>
                  <a:lnTo>
                    <a:pt x="1947"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37" name="Freeform: Shape 36">
              <a:extLst>
                <a:ext uri="{FF2B5EF4-FFF2-40B4-BE49-F238E27FC236}">
                  <a16:creationId xmlns:a16="http://schemas.microsoft.com/office/drawing/2014/main" id="{3922C82F-D65A-43D4-8206-5EB26E5B8ABD}"/>
                </a:ext>
              </a:extLst>
            </p:cNvPr>
            <p:cNvSpPr/>
            <p:nvPr/>
          </p:nvSpPr>
          <p:spPr>
            <a:xfrm>
              <a:off x="11295086" y="919617"/>
              <a:ext cx="94858" cy="134835"/>
            </a:xfrm>
            <a:custGeom>
              <a:avLst/>
              <a:gdLst>
                <a:gd name="connsiteX0" fmla="*/ 46910 w 94858"/>
                <a:gd name="connsiteY0" fmla="*/ 134836 h 134835"/>
                <a:gd name="connsiteX1" fmla="*/ 33187 w 94858"/>
                <a:gd name="connsiteY1" fmla="*/ 133491 h 134835"/>
                <a:gd name="connsiteX2" fmla="*/ 20434 w 94858"/>
                <a:gd name="connsiteY2" fmla="*/ 129929 h 134835"/>
                <a:gd name="connsiteX3" fmla="*/ 9431 w 94858"/>
                <a:gd name="connsiteY3" fmla="*/ 124753 h 134835"/>
                <a:gd name="connsiteX4" fmla="*/ 724 w 94858"/>
                <a:gd name="connsiteY4" fmla="*/ 118508 h 134835"/>
                <a:gd name="connsiteX5" fmla="*/ 526 w 94858"/>
                <a:gd name="connsiteY5" fmla="*/ 115621 h 134835"/>
                <a:gd name="connsiteX6" fmla="*/ 9028 w 94858"/>
                <a:gd name="connsiteY6" fmla="*/ 105643 h 134835"/>
                <a:gd name="connsiteX7" fmla="*/ 11748 w 94858"/>
                <a:gd name="connsiteY7" fmla="*/ 105446 h 134835"/>
                <a:gd name="connsiteX8" fmla="*/ 27583 w 94858"/>
                <a:gd name="connsiteY8" fmla="*/ 114663 h 134835"/>
                <a:gd name="connsiteX9" fmla="*/ 48461 w 94858"/>
                <a:gd name="connsiteY9" fmla="*/ 118895 h 134835"/>
                <a:gd name="connsiteX10" fmla="*/ 69821 w 94858"/>
                <a:gd name="connsiteY10" fmla="*/ 112748 h 134835"/>
                <a:gd name="connsiteX11" fmla="*/ 77452 w 94858"/>
                <a:gd name="connsiteY11" fmla="*/ 96610 h 134835"/>
                <a:gd name="connsiteX12" fmla="*/ 76099 w 94858"/>
                <a:gd name="connsiteY12" fmla="*/ 88928 h 134835"/>
                <a:gd name="connsiteX13" fmla="*/ 71551 w 94858"/>
                <a:gd name="connsiteY13" fmla="*/ 82781 h 134835"/>
                <a:gd name="connsiteX14" fmla="*/ 63148 w 94858"/>
                <a:gd name="connsiteY14" fmla="*/ 78170 h 134835"/>
                <a:gd name="connsiteX15" fmla="*/ 50019 w 94858"/>
                <a:gd name="connsiteY15" fmla="*/ 75303 h 134835"/>
                <a:gd name="connsiteX16" fmla="*/ 43445 w 94858"/>
                <a:gd name="connsiteY16" fmla="*/ 74332 h 134835"/>
                <a:gd name="connsiteX17" fmla="*/ 4777 w 94858"/>
                <a:gd name="connsiteY17" fmla="*/ 38219 h 134835"/>
                <a:gd name="connsiteX18" fmla="*/ 7774 w 94858"/>
                <a:gd name="connsiteY18" fmla="*/ 22468 h 134835"/>
                <a:gd name="connsiteX19" fmla="*/ 16388 w 94858"/>
                <a:gd name="connsiteY19" fmla="*/ 10365 h 134835"/>
                <a:gd name="connsiteX20" fmla="*/ 29913 w 94858"/>
                <a:gd name="connsiteY20" fmla="*/ 2683 h 134835"/>
                <a:gd name="connsiteX21" fmla="*/ 47682 w 94858"/>
                <a:gd name="connsiteY21" fmla="*/ 0 h 134835"/>
                <a:gd name="connsiteX22" fmla="*/ 69821 w 94858"/>
                <a:gd name="connsiteY22" fmla="*/ 3359 h 134835"/>
                <a:gd name="connsiteX23" fmla="*/ 87703 w 94858"/>
                <a:gd name="connsiteY23" fmla="*/ 12090 h 134835"/>
                <a:gd name="connsiteX24" fmla="*/ 88086 w 94858"/>
                <a:gd name="connsiteY24" fmla="*/ 14780 h 134835"/>
                <a:gd name="connsiteX25" fmla="*/ 81505 w 94858"/>
                <a:gd name="connsiteY25" fmla="*/ 25348 h 134835"/>
                <a:gd name="connsiteX26" fmla="*/ 78805 w 94858"/>
                <a:gd name="connsiteY26" fmla="*/ 25729 h 134835"/>
                <a:gd name="connsiteX27" fmla="*/ 63148 w 94858"/>
                <a:gd name="connsiteY27" fmla="*/ 18329 h 134835"/>
                <a:gd name="connsiteX28" fmla="*/ 47115 w 94858"/>
                <a:gd name="connsiteY28" fmla="*/ 15934 h 134835"/>
                <a:gd name="connsiteX29" fmla="*/ 28560 w 94858"/>
                <a:gd name="connsiteY29" fmla="*/ 21793 h 134835"/>
                <a:gd name="connsiteX30" fmla="*/ 22190 w 94858"/>
                <a:gd name="connsiteY30" fmla="*/ 37064 h 134835"/>
                <a:gd name="connsiteX31" fmla="*/ 28362 w 94858"/>
                <a:gd name="connsiteY31" fmla="*/ 50611 h 134835"/>
                <a:gd name="connsiteX32" fmla="*/ 49814 w 94858"/>
                <a:gd name="connsiteY32" fmla="*/ 58004 h 134835"/>
                <a:gd name="connsiteX33" fmla="*/ 56197 w 94858"/>
                <a:gd name="connsiteY33" fmla="*/ 58962 h 134835"/>
                <a:gd name="connsiteX34" fmla="*/ 85175 w 94858"/>
                <a:gd name="connsiteY34" fmla="*/ 70488 h 134835"/>
                <a:gd name="connsiteX35" fmla="*/ 94858 w 94858"/>
                <a:gd name="connsiteY35" fmla="*/ 95469 h 134835"/>
                <a:gd name="connsiteX36" fmla="*/ 91861 w 94858"/>
                <a:gd name="connsiteY36" fmla="*/ 111311 h 134835"/>
                <a:gd name="connsiteX37" fmla="*/ 82785 w 94858"/>
                <a:gd name="connsiteY37" fmla="*/ 123697 h 134835"/>
                <a:gd name="connsiteX38" fmla="*/ 67703 w 94858"/>
                <a:gd name="connsiteY38" fmla="*/ 131851 h 134835"/>
                <a:gd name="connsiteX39" fmla="*/ 46910 w 94858"/>
                <a:gd name="connsiteY39" fmla="*/ 134836 h 134835"/>
                <a:gd name="connsiteX40" fmla="*/ 46910 w 94858"/>
                <a:gd name="connsiteY40" fmla="*/ 134836 h 13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4858" h="134835">
                  <a:moveTo>
                    <a:pt x="46910" y="134836"/>
                  </a:moveTo>
                  <a:cubicBezTo>
                    <a:pt x="42296" y="134836"/>
                    <a:pt x="37709" y="134376"/>
                    <a:pt x="33187" y="133491"/>
                  </a:cubicBezTo>
                  <a:cubicBezTo>
                    <a:pt x="28679" y="132592"/>
                    <a:pt x="24428" y="131398"/>
                    <a:pt x="20434" y="129929"/>
                  </a:cubicBezTo>
                  <a:cubicBezTo>
                    <a:pt x="16441" y="128466"/>
                    <a:pt x="12764" y="126734"/>
                    <a:pt x="9431" y="124753"/>
                  </a:cubicBezTo>
                  <a:cubicBezTo>
                    <a:pt x="6071" y="122772"/>
                    <a:pt x="3167" y="120685"/>
                    <a:pt x="724" y="118508"/>
                  </a:cubicBezTo>
                  <a:cubicBezTo>
                    <a:pt x="-167" y="117615"/>
                    <a:pt x="-239" y="116644"/>
                    <a:pt x="526" y="115621"/>
                  </a:cubicBezTo>
                  <a:lnTo>
                    <a:pt x="9028" y="105643"/>
                  </a:lnTo>
                  <a:cubicBezTo>
                    <a:pt x="9807" y="104738"/>
                    <a:pt x="10725" y="104672"/>
                    <a:pt x="11748" y="105446"/>
                  </a:cubicBezTo>
                  <a:cubicBezTo>
                    <a:pt x="16005" y="108786"/>
                    <a:pt x="21273" y="111849"/>
                    <a:pt x="27583" y="114663"/>
                  </a:cubicBezTo>
                  <a:cubicBezTo>
                    <a:pt x="33913" y="117491"/>
                    <a:pt x="40864" y="118895"/>
                    <a:pt x="48461" y="118895"/>
                  </a:cubicBezTo>
                  <a:cubicBezTo>
                    <a:pt x="57603" y="118895"/>
                    <a:pt x="64739" y="116848"/>
                    <a:pt x="69821" y="112748"/>
                  </a:cubicBezTo>
                  <a:cubicBezTo>
                    <a:pt x="74911" y="108654"/>
                    <a:pt x="77452" y="103269"/>
                    <a:pt x="77452" y="96610"/>
                  </a:cubicBezTo>
                  <a:cubicBezTo>
                    <a:pt x="77452" y="93802"/>
                    <a:pt x="76990" y="91237"/>
                    <a:pt x="76099" y="88928"/>
                  </a:cubicBezTo>
                  <a:cubicBezTo>
                    <a:pt x="75214" y="86626"/>
                    <a:pt x="73676" y="84572"/>
                    <a:pt x="71551" y="82781"/>
                  </a:cubicBezTo>
                  <a:cubicBezTo>
                    <a:pt x="69425" y="80984"/>
                    <a:pt x="66627" y="79449"/>
                    <a:pt x="63148" y="78170"/>
                  </a:cubicBezTo>
                  <a:cubicBezTo>
                    <a:pt x="59669" y="76897"/>
                    <a:pt x="55300" y="75933"/>
                    <a:pt x="50019" y="75303"/>
                  </a:cubicBezTo>
                  <a:lnTo>
                    <a:pt x="43445" y="74332"/>
                  </a:lnTo>
                  <a:cubicBezTo>
                    <a:pt x="17675" y="70875"/>
                    <a:pt x="4777" y="58831"/>
                    <a:pt x="4777" y="38219"/>
                  </a:cubicBezTo>
                  <a:cubicBezTo>
                    <a:pt x="4777" y="32453"/>
                    <a:pt x="5787" y="27198"/>
                    <a:pt x="7774" y="22468"/>
                  </a:cubicBezTo>
                  <a:cubicBezTo>
                    <a:pt x="9781" y="17732"/>
                    <a:pt x="12645" y="13691"/>
                    <a:pt x="16388" y="10365"/>
                  </a:cubicBezTo>
                  <a:cubicBezTo>
                    <a:pt x="20118" y="7039"/>
                    <a:pt x="24626" y="4487"/>
                    <a:pt x="29913" y="2683"/>
                  </a:cubicBezTo>
                  <a:cubicBezTo>
                    <a:pt x="35200" y="899"/>
                    <a:pt x="41121" y="0"/>
                    <a:pt x="47682" y="0"/>
                  </a:cubicBezTo>
                  <a:cubicBezTo>
                    <a:pt x="55418" y="0"/>
                    <a:pt x="62792" y="1122"/>
                    <a:pt x="69821" y="3359"/>
                  </a:cubicBezTo>
                  <a:cubicBezTo>
                    <a:pt x="76838" y="5596"/>
                    <a:pt x="82798" y="8522"/>
                    <a:pt x="87703" y="12090"/>
                  </a:cubicBezTo>
                  <a:cubicBezTo>
                    <a:pt x="88746" y="12851"/>
                    <a:pt x="88865" y="13750"/>
                    <a:pt x="88086" y="14780"/>
                  </a:cubicBezTo>
                  <a:lnTo>
                    <a:pt x="81505" y="25348"/>
                  </a:lnTo>
                  <a:cubicBezTo>
                    <a:pt x="80752" y="26247"/>
                    <a:pt x="79835" y="26371"/>
                    <a:pt x="78805" y="25729"/>
                  </a:cubicBezTo>
                  <a:cubicBezTo>
                    <a:pt x="73399" y="22403"/>
                    <a:pt x="68184" y="19936"/>
                    <a:pt x="63148" y="18329"/>
                  </a:cubicBezTo>
                  <a:cubicBezTo>
                    <a:pt x="58118" y="16735"/>
                    <a:pt x="52778" y="15934"/>
                    <a:pt x="47115" y="15934"/>
                  </a:cubicBezTo>
                  <a:cubicBezTo>
                    <a:pt x="38996" y="15934"/>
                    <a:pt x="32811" y="17889"/>
                    <a:pt x="28560" y="21793"/>
                  </a:cubicBezTo>
                  <a:cubicBezTo>
                    <a:pt x="24309" y="25702"/>
                    <a:pt x="22190" y="30806"/>
                    <a:pt x="22190" y="37064"/>
                  </a:cubicBezTo>
                  <a:cubicBezTo>
                    <a:pt x="22190" y="42568"/>
                    <a:pt x="24250" y="47082"/>
                    <a:pt x="28362" y="50611"/>
                  </a:cubicBezTo>
                  <a:cubicBezTo>
                    <a:pt x="32501" y="54134"/>
                    <a:pt x="39656" y="56587"/>
                    <a:pt x="49814" y="58004"/>
                  </a:cubicBezTo>
                  <a:lnTo>
                    <a:pt x="56197" y="58962"/>
                  </a:lnTo>
                  <a:cubicBezTo>
                    <a:pt x="69075" y="60759"/>
                    <a:pt x="78746" y="64597"/>
                    <a:pt x="85175" y="70488"/>
                  </a:cubicBezTo>
                  <a:cubicBezTo>
                    <a:pt x="91624" y="76385"/>
                    <a:pt x="94858" y="84704"/>
                    <a:pt x="94858" y="95469"/>
                  </a:cubicBezTo>
                  <a:cubicBezTo>
                    <a:pt x="94858" y="101222"/>
                    <a:pt x="93842" y="106509"/>
                    <a:pt x="91861" y="111311"/>
                  </a:cubicBezTo>
                  <a:cubicBezTo>
                    <a:pt x="89855" y="116107"/>
                    <a:pt x="86832" y="120233"/>
                    <a:pt x="82785" y="123697"/>
                  </a:cubicBezTo>
                  <a:cubicBezTo>
                    <a:pt x="78706" y="127154"/>
                    <a:pt x="73676" y="129876"/>
                    <a:pt x="67703" y="131851"/>
                  </a:cubicBezTo>
                  <a:cubicBezTo>
                    <a:pt x="61696" y="133838"/>
                    <a:pt x="54785" y="134836"/>
                    <a:pt x="46910" y="134836"/>
                  </a:cubicBezTo>
                  <a:lnTo>
                    <a:pt x="46910" y="134836"/>
                  </a:lnTo>
                  <a:close/>
                </a:path>
              </a:pathLst>
            </a:custGeom>
            <a:solidFill>
              <a:srgbClr val="FFFFFF"/>
            </a:solidFill>
            <a:ln w="7" cap="flat">
              <a:noFill/>
              <a:prstDash val="solid"/>
              <a:miter/>
            </a:ln>
          </p:spPr>
          <p:txBody>
            <a:bodyPr rtlCol="0" anchor="ctr"/>
            <a:lstStyle/>
            <a:p>
              <a:endParaRPr lang="de-DE"/>
            </a:p>
          </p:txBody>
        </p:sp>
        <p:sp>
          <p:nvSpPr>
            <p:cNvPr id="38" name="Freeform: Shape 37">
              <a:extLst>
                <a:ext uri="{FF2B5EF4-FFF2-40B4-BE49-F238E27FC236}">
                  <a16:creationId xmlns:a16="http://schemas.microsoft.com/office/drawing/2014/main" id="{0FF70194-39E2-40D7-8E0A-BB887D414ABE}"/>
                </a:ext>
              </a:extLst>
            </p:cNvPr>
            <p:cNvSpPr/>
            <p:nvPr/>
          </p:nvSpPr>
          <p:spPr>
            <a:xfrm>
              <a:off x="11404070" y="921730"/>
              <a:ext cx="95486" cy="130610"/>
            </a:xfrm>
            <a:custGeom>
              <a:avLst/>
              <a:gdLst>
                <a:gd name="connsiteX0" fmla="*/ 40984 w 95486"/>
                <a:gd name="connsiteY0" fmla="*/ 130611 h 130610"/>
                <a:gd name="connsiteX1" fmla="*/ 39037 w 95486"/>
                <a:gd name="connsiteY1" fmla="*/ 128682 h 130610"/>
                <a:gd name="connsiteX2" fmla="*/ 39037 w 95486"/>
                <a:gd name="connsiteY2" fmla="*/ 17096 h 130610"/>
                <a:gd name="connsiteX3" fmla="*/ 37882 w 95486"/>
                <a:gd name="connsiteY3" fmla="*/ 15934 h 130610"/>
                <a:gd name="connsiteX4" fmla="*/ 1934 w 95486"/>
                <a:gd name="connsiteY4" fmla="*/ 15934 h 130610"/>
                <a:gd name="connsiteX5" fmla="*/ 0 w 95486"/>
                <a:gd name="connsiteY5" fmla="*/ 14012 h 130610"/>
                <a:gd name="connsiteX6" fmla="*/ 0 w 95486"/>
                <a:gd name="connsiteY6" fmla="*/ 1916 h 130610"/>
                <a:gd name="connsiteX7" fmla="*/ 1934 w 95486"/>
                <a:gd name="connsiteY7" fmla="*/ 0 h 130610"/>
                <a:gd name="connsiteX8" fmla="*/ 93546 w 95486"/>
                <a:gd name="connsiteY8" fmla="*/ 0 h 130610"/>
                <a:gd name="connsiteX9" fmla="*/ 95487 w 95486"/>
                <a:gd name="connsiteY9" fmla="*/ 1916 h 130610"/>
                <a:gd name="connsiteX10" fmla="*/ 95487 w 95486"/>
                <a:gd name="connsiteY10" fmla="*/ 14012 h 130610"/>
                <a:gd name="connsiteX11" fmla="*/ 93540 w 95486"/>
                <a:gd name="connsiteY11" fmla="*/ 15934 h 130610"/>
                <a:gd name="connsiteX12" fmla="*/ 57598 w 95486"/>
                <a:gd name="connsiteY12" fmla="*/ 15934 h 130610"/>
                <a:gd name="connsiteX13" fmla="*/ 56437 w 95486"/>
                <a:gd name="connsiteY13" fmla="*/ 17096 h 130610"/>
                <a:gd name="connsiteX14" fmla="*/ 56437 w 95486"/>
                <a:gd name="connsiteY14" fmla="*/ 128682 h 130610"/>
                <a:gd name="connsiteX15" fmla="*/ 54476 w 95486"/>
                <a:gd name="connsiteY15" fmla="*/ 130611 h 130610"/>
                <a:gd name="connsiteX16" fmla="*/ 40984 w 95486"/>
                <a:gd name="connsiteY16" fmla="*/ 130611 h 13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486" h="130610">
                  <a:moveTo>
                    <a:pt x="40984" y="130611"/>
                  </a:moveTo>
                  <a:cubicBezTo>
                    <a:pt x="39690" y="130611"/>
                    <a:pt x="39037" y="129961"/>
                    <a:pt x="39037" y="128682"/>
                  </a:cubicBezTo>
                  <a:lnTo>
                    <a:pt x="39037" y="17096"/>
                  </a:lnTo>
                  <a:cubicBezTo>
                    <a:pt x="39037" y="16328"/>
                    <a:pt x="38661" y="15934"/>
                    <a:pt x="37882" y="15934"/>
                  </a:cubicBezTo>
                  <a:lnTo>
                    <a:pt x="1934" y="15934"/>
                  </a:lnTo>
                  <a:cubicBezTo>
                    <a:pt x="640" y="15934"/>
                    <a:pt x="0" y="15292"/>
                    <a:pt x="0" y="14012"/>
                  </a:cubicBezTo>
                  <a:lnTo>
                    <a:pt x="0" y="1916"/>
                  </a:lnTo>
                  <a:cubicBezTo>
                    <a:pt x="0" y="636"/>
                    <a:pt x="640" y="0"/>
                    <a:pt x="1934" y="0"/>
                  </a:cubicBezTo>
                  <a:lnTo>
                    <a:pt x="93546" y="0"/>
                  </a:lnTo>
                  <a:cubicBezTo>
                    <a:pt x="94833" y="0"/>
                    <a:pt x="95487" y="636"/>
                    <a:pt x="95487" y="1916"/>
                  </a:cubicBezTo>
                  <a:lnTo>
                    <a:pt x="95487" y="14012"/>
                  </a:lnTo>
                  <a:cubicBezTo>
                    <a:pt x="95487" y="15292"/>
                    <a:pt x="94833" y="15934"/>
                    <a:pt x="93540" y="15934"/>
                  </a:cubicBezTo>
                  <a:lnTo>
                    <a:pt x="57598" y="15934"/>
                  </a:lnTo>
                  <a:cubicBezTo>
                    <a:pt x="56819" y="15934"/>
                    <a:pt x="56437" y="16328"/>
                    <a:pt x="56437" y="17096"/>
                  </a:cubicBezTo>
                  <a:lnTo>
                    <a:pt x="56437" y="128682"/>
                  </a:lnTo>
                  <a:cubicBezTo>
                    <a:pt x="56437" y="129961"/>
                    <a:pt x="55783" y="130611"/>
                    <a:pt x="54476" y="130611"/>
                  </a:cubicBezTo>
                  <a:lnTo>
                    <a:pt x="40984" y="130611"/>
                  </a:lnTo>
                  <a:close/>
                </a:path>
              </a:pathLst>
            </a:custGeom>
            <a:solidFill>
              <a:srgbClr val="FFFFFF"/>
            </a:solidFill>
            <a:ln w="7" cap="flat">
              <a:noFill/>
              <a:prstDash val="solid"/>
              <a:miter/>
            </a:ln>
          </p:spPr>
          <p:txBody>
            <a:bodyPr rtlCol="0" anchor="ctr"/>
            <a:lstStyle/>
            <a:p>
              <a:endParaRPr lang="de-DE"/>
            </a:p>
          </p:txBody>
        </p:sp>
        <p:sp>
          <p:nvSpPr>
            <p:cNvPr id="39" name="Freeform: Shape 38">
              <a:extLst>
                <a:ext uri="{FF2B5EF4-FFF2-40B4-BE49-F238E27FC236}">
                  <a16:creationId xmlns:a16="http://schemas.microsoft.com/office/drawing/2014/main" id="{4A1F55F7-4014-4B56-9D01-2B8DF3B87A75}"/>
                </a:ext>
              </a:extLst>
            </p:cNvPr>
            <p:cNvSpPr/>
            <p:nvPr/>
          </p:nvSpPr>
          <p:spPr>
            <a:xfrm>
              <a:off x="11521775" y="921730"/>
              <a:ext cx="83103" cy="130604"/>
            </a:xfrm>
            <a:custGeom>
              <a:avLst/>
              <a:gdLst>
                <a:gd name="connsiteX0" fmla="*/ 0 w 83103"/>
                <a:gd name="connsiteY0" fmla="*/ 1916 h 130604"/>
                <a:gd name="connsiteX1" fmla="*/ 1941 w 83103"/>
                <a:gd name="connsiteY1" fmla="*/ 0 h 130604"/>
                <a:gd name="connsiteX2" fmla="*/ 81170 w 83103"/>
                <a:gd name="connsiteY2" fmla="*/ 0 h 130604"/>
                <a:gd name="connsiteX3" fmla="*/ 83104 w 83103"/>
                <a:gd name="connsiteY3" fmla="*/ 1916 h 130604"/>
                <a:gd name="connsiteX4" fmla="*/ 83104 w 83103"/>
                <a:gd name="connsiteY4" fmla="*/ 14006 h 130604"/>
                <a:gd name="connsiteX5" fmla="*/ 81170 w 83103"/>
                <a:gd name="connsiteY5" fmla="*/ 15934 h 130604"/>
                <a:gd name="connsiteX6" fmla="*/ 18548 w 83103"/>
                <a:gd name="connsiteY6" fmla="*/ 15934 h 130604"/>
                <a:gd name="connsiteX7" fmla="*/ 17406 w 83103"/>
                <a:gd name="connsiteY7" fmla="*/ 17089 h 130604"/>
                <a:gd name="connsiteX8" fmla="*/ 17406 w 83103"/>
                <a:gd name="connsiteY8" fmla="*/ 55505 h 130604"/>
                <a:gd name="connsiteX9" fmla="*/ 18548 w 83103"/>
                <a:gd name="connsiteY9" fmla="*/ 56653 h 130604"/>
                <a:gd name="connsiteX10" fmla="*/ 71698 w 83103"/>
                <a:gd name="connsiteY10" fmla="*/ 56653 h 130604"/>
                <a:gd name="connsiteX11" fmla="*/ 73638 w 83103"/>
                <a:gd name="connsiteY11" fmla="*/ 58575 h 130604"/>
                <a:gd name="connsiteX12" fmla="*/ 73638 w 83103"/>
                <a:gd name="connsiteY12" fmla="*/ 70678 h 130604"/>
                <a:gd name="connsiteX13" fmla="*/ 71698 w 83103"/>
                <a:gd name="connsiteY13" fmla="*/ 72607 h 130604"/>
                <a:gd name="connsiteX14" fmla="*/ 18548 w 83103"/>
                <a:gd name="connsiteY14" fmla="*/ 72607 h 130604"/>
                <a:gd name="connsiteX15" fmla="*/ 17406 w 83103"/>
                <a:gd name="connsiteY15" fmla="*/ 73755 h 130604"/>
                <a:gd name="connsiteX16" fmla="*/ 17406 w 83103"/>
                <a:gd name="connsiteY16" fmla="*/ 113509 h 130604"/>
                <a:gd name="connsiteX17" fmla="*/ 18548 w 83103"/>
                <a:gd name="connsiteY17" fmla="*/ 114670 h 130604"/>
                <a:gd name="connsiteX18" fmla="*/ 81170 w 83103"/>
                <a:gd name="connsiteY18" fmla="*/ 114670 h 130604"/>
                <a:gd name="connsiteX19" fmla="*/ 83104 w 83103"/>
                <a:gd name="connsiteY19" fmla="*/ 116592 h 130604"/>
                <a:gd name="connsiteX20" fmla="*/ 83104 w 83103"/>
                <a:gd name="connsiteY20" fmla="*/ 128682 h 130604"/>
                <a:gd name="connsiteX21" fmla="*/ 81170 w 83103"/>
                <a:gd name="connsiteY21" fmla="*/ 130604 h 130604"/>
                <a:gd name="connsiteX22" fmla="*/ 1947 w 83103"/>
                <a:gd name="connsiteY22" fmla="*/ 130604 h 130604"/>
                <a:gd name="connsiteX23" fmla="*/ 0 w 83103"/>
                <a:gd name="connsiteY23" fmla="*/ 128682 h 130604"/>
                <a:gd name="connsiteX24" fmla="*/ 0 w 83103"/>
                <a:gd name="connsiteY24"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103" h="130604">
                  <a:moveTo>
                    <a:pt x="0" y="1916"/>
                  </a:moveTo>
                  <a:cubicBezTo>
                    <a:pt x="0" y="636"/>
                    <a:pt x="653" y="0"/>
                    <a:pt x="1941" y="0"/>
                  </a:cubicBezTo>
                  <a:lnTo>
                    <a:pt x="81170" y="0"/>
                  </a:lnTo>
                  <a:cubicBezTo>
                    <a:pt x="82463" y="0"/>
                    <a:pt x="83104" y="636"/>
                    <a:pt x="83104" y="1916"/>
                  </a:cubicBezTo>
                  <a:lnTo>
                    <a:pt x="83104" y="14006"/>
                  </a:lnTo>
                  <a:cubicBezTo>
                    <a:pt x="83104" y="15292"/>
                    <a:pt x="82463" y="15934"/>
                    <a:pt x="81170" y="15934"/>
                  </a:cubicBezTo>
                  <a:lnTo>
                    <a:pt x="18548" y="15934"/>
                  </a:lnTo>
                  <a:cubicBezTo>
                    <a:pt x="17776" y="15934"/>
                    <a:pt x="17406" y="16321"/>
                    <a:pt x="17406" y="17089"/>
                  </a:cubicBezTo>
                  <a:lnTo>
                    <a:pt x="17406" y="55505"/>
                  </a:lnTo>
                  <a:cubicBezTo>
                    <a:pt x="17406" y="56279"/>
                    <a:pt x="17776" y="56653"/>
                    <a:pt x="18548" y="56653"/>
                  </a:cubicBezTo>
                  <a:lnTo>
                    <a:pt x="71698" y="56653"/>
                  </a:lnTo>
                  <a:cubicBezTo>
                    <a:pt x="72991" y="56653"/>
                    <a:pt x="73638" y="57296"/>
                    <a:pt x="73638" y="58575"/>
                  </a:cubicBezTo>
                  <a:lnTo>
                    <a:pt x="73638" y="70678"/>
                  </a:lnTo>
                  <a:cubicBezTo>
                    <a:pt x="73638" y="71970"/>
                    <a:pt x="72991" y="72607"/>
                    <a:pt x="71698" y="72607"/>
                  </a:cubicBezTo>
                  <a:lnTo>
                    <a:pt x="18548" y="72607"/>
                  </a:lnTo>
                  <a:cubicBezTo>
                    <a:pt x="17776" y="72607"/>
                    <a:pt x="17406" y="72987"/>
                    <a:pt x="17406" y="73755"/>
                  </a:cubicBezTo>
                  <a:lnTo>
                    <a:pt x="17406" y="113509"/>
                  </a:lnTo>
                  <a:cubicBezTo>
                    <a:pt x="17406" y="114276"/>
                    <a:pt x="17776" y="114670"/>
                    <a:pt x="18548" y="114670"/>
                  </a:cubicBezTo>
                  <a:lnTo>
                    <a:pt x="81170" y="114670"/>
                  </a:lnTo>
                  <a:cubicBezTo>
                    <a:pt x="82463" y="114670"/>
                    <a:pt x="83104" y="115306"/>
                    <a:pt x="83104" y="116592"/>
                  </a:cubicBezTo>
                  <a:lnTo>
                    <a:pt x="83104" y="128682"/>
                  </a:lnTo>
                  <a:cubicBezTo>
                    <a:pt x="83104" y="129961"/>
                    <a:pt x="82463" y="130604"/>
                    <a:pt x="81170" y="130604"/>
                  </a:cubicBezTo>
                  <a:lnTo>
                    <a:pt x="1947"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40" name="Freeform: Shape 39">
              <a:extLst>
                <a:ext uri="{FF2B5EF4-FFF2-40B4-BE49-F238E27FC236}">
                  <a16:creationId xmlns:a16="http://schemas.microsoft.com/office/drawing/2014/main" id="{E1290203-57F9-4E7E-A96E-BDC7C74DBCDD}"/>
                </a:ext>
              </a:extLst>
            </p:cNvPr>
            <p:cNvSpPr/>
            <p:nvPr/>
          </p:nvSpPr>
          <p:spPr>
            <a:xfrm>
              <a:off x="11632516" y="921730"/>
              <a:ext cx="17393" cy="130604"/>
            </a:xfrm>
            <a:custGeom>
              <a:avLst/>
              <a:gdLst>
                <a:gd name="connsiteX0" fmla="*/ 0 w 17393"/>
                <a:gd name="connsiteY0" fmla="*/ 1916 h 130604"/>
                <a:gd name="connsiteX1" fmla="*/ 1941 w 17393"/>
                <a:gd name="connsiteY1" fmla="*/ 0 h 130604"/>
                <a:gd name="connsiteX2" fmla="*/ 15426 w 17393"/>
                <a:gd name="connsiteY2" fmla="*/ 0 h 130604"/>
                <a:gd name="connsiteX3" fmla="*/ 17393 w 17393"/>
                <a:gd name="connsiteY3" fmla="*/ 1916 h 130604"/>
                <a:gd name="connsiteX4" fmla="*/ 17393 w 17393"/>
                <a:gd name="connsiteY4" fmla="*/ 128682 h 130604"/>
                <a:gd name="connsiteX5" fmla="*/ 15426 w 17393"/>
                <a:gd name="connsiteY5" fmla="*/ 130604 h 130604"/>
                <a:gd name="connsiteX6" fmla="*/ 1947 w 17393"/>
                <a:gd name="connsiteY6" fmla="*/ 130604 h 130604"/>
                <a:gd name="connsiteX7" fmla="*/ 0 w 17393"/>
                <a:gd name="connsiteY7" fmla="*/ 128682 h 130604"/>
                <a:gd name="connsiteX8" fmla="*/ 0 w 17393"/>
                <a:gd name="connsiteY8"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93" h="130604">
                  <a:moveTo>
                    <a:pt x="0" y="1916"/>
                  </a:moveTo>
                  <a:cubicBezTo>
                    <a:pt x="0" y="636"/>
                    <a:pt x="653" y="0"/>
                    <a:pt x="1941" y="0"/>
                  </a:cubicBezTo>
                  <a:lnTo>
                    <a:pt x="15426" y="0"/>
                  </a:lnTo>
                  <a:cubicBezTo>
                    <a:pt x="16746" y="0"/>
                    <a:pt x="17393" y="636"/>
                    <a:pt x="17393" y="1916"/>
                  </a:cubicBezTo>
                  <a:lnTo>
                    <a:pt x="17393" y="128682"/>
                  </a:lnTo>
                  <a:cubicBezTo>
                    <a:pt x="17393" y="129961"/>
                    <a:pt x="16740" y="130604"/>
                    <a:pt x="15426" y="130604"/>
                  </a:cubicBezTo>
                  <a:lnTo>
                    <a:pt x="1947"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sp>
          <p:nvSpPr>
            <p:cNvPr id="41" name="Freeform: Shape 40">
              <a:extLst>
                <a:ext uri="{FF2B5EF4-FFF2-40B4-BE49-F238E27FC236}">
                  <a16:creationId xmlns:a16="http://schemas.microsoft.com/office/drawing/2014/main" id="{66D3EDE2-A324-43D6-8457-BA4287D957CD}"/>
                </a:ext>
              </a:extLst>
            </p:cNvPr>
            <p:cNvSpPr/>
            <p:nvPr/>
          </p:nvSpPr>
          <p:spPr>
            <a:xfrm>
              <a:off x="11684127" y="921730"/>
              <a:ext cx="93929" cy="130604"/>
            </a:xfrm>
            <a:custGeom>
              <a:avLst/>
              <a:gdLst>
                <a:gd name="connsiteX0" fmla="*/ 0 w 93929"/>
                <a:gd name="connsiteY0" fmla="*/ 1916 h 130604"/>
                <a:gd name="connsiteX1" fmla="*/ 1934 w 93929"/>
                <a:gd name="connsiteY1" fmla="*/ 0 h 130604"/>
                <a:gd name="connsiteX2" fmla="*/ 14310 w 93929"/>
                <a:gd name="connsiteY2" fmla="*/ 0 h 130604"/>
                <a:gd name="connsiteX3" fmla="*/ 17584 w 93929"/>
                <a:gd name="connsiteY3" fmla="*/ 1916 h 130604"/>
                <a:gd name="connsiteX4" fmla="*/ 77117 w 93929"/>
                <a:gd name="connsiteY4" fmla="*/ 99877 h 130604"/>
                <a:gd name="connsiteX5" fmla="*/ 77896 w 93929"/>
                <a:gd name="connsiteY5" fmla="*/ 99877 h 130604"/>
                <a:gd name="connsiteX6" fmla="*/ 77896 w 93929"/>
                <a:gd name="connsiteY6" fmla="*/ 1916 h 130604"/>
                <a:gd name="connsiteX7" fmla="*/ 79823 w 93929"/>
                <a:gd name="connsiteY7" fmla="*/ 0 h 130604"/>
                <a:gd name="connsiteX8" fmla="*/ 92008 w 93929"/>
                <a:gd name="connsiteY8" fmla="*/ 0 h 130604"/>
                <a:gd name="connsiteX9" fmla="*/ 93929 w 93929"/>
                <a:gd name="connsiteY9" fmla="*/ 1916 h 130604"/>
                <a:gd name="connsiteX10" fmla="*/ 93929 w 93929"/>
                <a:gd name="connsiteY10" fmla="*/ 128682 h 130604"/>
                <a:gd name="connsiteX11" fmla="*/ 92008 w 93929"/>
                <a:gd name="connsiteY11" fmla="*/ 130604 h 130604"/>
                <a:gd name="connsiteX12" fmla="*/ 79625 w 93929"/>
                <a:gd name="connsiteY12" fmla="*/ 130604 h 130604"/>
                <a:gd name="connsiteX13" fmla="*/ 76345 w 93929"/>
                <a:gd name="connsiteY13" fmla="*/ 128682 h 130604"/>
                <a:gd name="connsiteX14" fmla="*/ 16634 w 93929"/>
                <a:gd name="connsiteY14" fmla="*/ 31108 h 130604"/>
                <a:gd name="connsiteX15" fmla="*/ 16053 w 93929"/>
                <a:gd name="connsiteY15" fmla="*/ 31108 h 130604"/>
                <a:gd name="connsiteX16" fmla="*/ 16053 w 93929"/>
                <a:gd name="connsiteY16" fmla="*/ 128682 h 130604"/>
                <a:gd name="connsiteX17" fmla="*/ 14106 w 93929"/>
                <a:gd name="connsiteY17" fmla="*/ 130604 h 130604"/>
                <a:gd name="connsiteX18" fmla="*/ 1934 w 93929"/>
                <a:gd name="connsiteY18" fmla="*/ 130604 h 130604"/>
                <a:gd name="connsiteX19" fmla="*/ 0 w 93929"/>
                <a:gd name="connsiteY19" fmla="*/ 128682 h 130604"/>
                <a:gd name="connsiteX20" fmla="*/ 0 w 93929"/>
                <a:gd name="connsiteY20" fmla="*/ 1916 h 13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29" h="130604">
                  <a:moveTo>
                    <a:pt x="0" y="1916"/>
                  </a:moveTo>
                  <a:cubicBezTo>
                    <a:pt x="0" y="636"/>
                    <a:pt x="653" y="0"/>
                    <a:pt x="1934" y="0"/>
                  </a:cubicBezTo>
                  <a:lnTo>
                    <a:pt x="14310" y="0"/>
                  </a:lnTo>
                  <a:cubicBezTo>
                    <a:pt x="15855" y="0"/>
                    <a:pt x="16944" y="636"/>
                    <a:pt x="17584" y="1916"/>
                  </a:cubicBezTo>
                  <a:lnTo>
                    <a:pt x="77117" y="99877"/>
                  </a:lnTo>
                  <a:lnTo>
                    <a:pt x="77896" y="99877"/>
                  </a:lnTo>
                  <a:lnTo>
                    <a:pt x="77896" y="1916"/>
                  </a:lnTo>
                  <a:cubicBezTo>
                    <a:pt x="77896" y="636"/>
                    <a:pt x="78536" y="0"/>
                    <a:pt x="79823" y="0"/>
                  </a:cubicBezTo>
                  <a:lnTo>
                    <a:pt x="92008" y="0"/>
                  </a:lnTo>
                  <a:cubicBezTo>
                    <a:pt x="93276" y="0"/>
                    <a:pt x="93929" y="636"/>
                    <a:pt x="93929" y="1916"/>
                  </a:cubicBezTo>
                  <a:lnTo>
                    <a:pt x="93929" y="128682"/>
                  </a:lnTo>
                  <a:cubicBezTo>
                    <a:pt x="93929" y="129961"/>
                    <a:pt x="93276" y="130604"/>
                    <a:pt x="92008" y="130604"/>
                  </a:cubicBezTo>
                  <a:lnTo>
                    <a:pt x="79625" y="130604"/>
                  </a:lnTo>
                  <a:cubicBezTo>
                    <a:pt x="78074" y="130604"/>
                    <a:pt x="76985" y="129961"/>
                    <a:pt x="76345" y="128682"/>
                  </a:cubicBezTo>
                  <a:lnTo>
                    <a:pt x="16634" y="31108"/>
                  </a:lnTo>
                  <a:lnTo>
                    <a:pt x="16053" y="31108"/>
                  </a:lnTo>
                  <a:lnTo>
                    <a:pt x="16053" y="128682"/>
                  </a:lnTo>
                  <a:cubicBezTo>
                    <a:pt x="16053" y="129961"/>
                    <a:pt x="15400" y="130604"/>
                    <a:pt x="14106" y="130604"/>
                  </a:cubicBezTo>
                  <a:lnTo>
                    <a:pt x="1934" y="130604"/>
                  </a:lnTo>
                  <a:cubicBezTo>
                    <a:pt x="653" y="130604"/>
                    <a:pt x="0" y="129961"/>
                    <a:pt x="0" y="128682"/>
                  </a:cubicBezTo>
                  <a:lnTo>
                    <a:pt x="0" y="1916"/>
                  </a:lnTo>
                  <a:close/>
                </a:path>
              </a:pathLst>
            </a:custGeom>
            <a:solidFill>
              <a:srgbClr val="FFFFFF"/>
            </a:solidFill>
            <a:ln w="7" cap="flat">
              <a:noFill/>
              <a:prstDash val="solid"/>
              <a:miter/>
            </a:ln>
          </p:spPr>
          <p:txBody>
            <a:bodyPr rtlCol="0" anchor="ctr"/>
            <a:lstStyle/>
            <a:p>
              <a:endParaRPr lang="de-DE"/>
            </a:p>
          </p:txBody>
        </p:sp>
      </p:grpSp>
    </p:spTree>
    <p:extLst>
      <p:ext uri="{BB962C8B-B14F-4D97-AF65-F5344CB8AC3E}">
        <p14:creationId xmlns:p14="http://schemas.microsoft.com/office/powerpoint/2010/main" val="51069618"/>
      </p:ext>
    </p:extLst>
  </p:cSld>
  <p:clrMap bg1="dk1" tx1="lt1" bg2="dk2" tx2="lt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 id="2147484591" r:id="rId11"/>
    <p:sldLayoutId id="2147484592" r:id="rId12"/>
    <p:sldLayoutId id="2147484593" r:id="rId13"/>
    <p:sldLayoutId id="2147484594" r:id="rId14"/>
  </p:sldLayoutIdLst>
  <p:hf hdr="0" ftr="0"/>
  <p:txStyles>
    <p:titleStyle>
      <a:lvl1pPr algn="l" defTabSz="903006" rtl="0" eaLnBrk="1" latinLnBrk="0" hangingPunct="1">
        <a:lnSpc>
          <a:spcPct val="100000"/>
        </a:lnSpc>
        <a:spcBef>
          <a:spcPct val="0"/>
        </a:spcBef>
        <a:buNone/>
        <a:defRPr sz="2200" b="0" kern="1200" cap="all" baseline="0">
          <a:solidFill>
            <a:schemeClr val="tx1"/>
          </a:solidFill>
          <a:latin typeface="+mj-lt"/>
          <a:ea typeface="+mj-ea"/>
          <a:cs typeface="+mj-cs"/>
        </a:defRPr>
      </a:lvl1pPr>
    </p:titleStyle>
    <p:bodyStyle>
      <a:lvl1pPr marL="0" indent="0" algn="l" defTabSz="903006" rtl="0" eaLnBrk="1" latinLnBrk="0" hangingPunct="1">
        <a:lnSpc>
          <a:spcPct val="114000"/>
        </a:lnSpc>
        <a:spcBef>
          <a:spcPts val="600"/>
        </a:spcBef>
        <a:spcAft>
          <a:spcPts val="0"/>
        </a:spcAft>
        <a:buFontTx/>
        <a:buNone/>
        <a:defRPr sz="1200" b="0" kern="1200" cap="none" baseline="0">
          <a:solidFill>
            <a:schemeClr val="tx1"/>
          </a:solidFill>
          <a:latin typeface="+mn-lt"/>
          <a:ea typeface="+mn-ea"/>
          <a:cs typeface="+mn-cs"/>
        </a:defRPr>
      </a:lvl1pPr>
      <a:lvl2pPr marL="252000" indent="-252000" algn="l" defTabSz="903006" rtl="0" eaLnBrk="1" latinLnBrk="0" hangingPunct="1">
        <a:lnSpc>
          <a:spcPct val="114000"/>
        </a:lnSpc>
        <a:spcBef>
          <a:spcPts val="600"/>
        </a:spcBef>
        <a:spcAft>
          <a:spcPts val="0"/>
        </a:spcAft>
        <a:buFont typeface="Arial" panose="020B0604020202020204" pitchFamily="34" charset="0"/>
        <a:buChar char="•"/>
        <a:defRPr sz="1200" b="0" kern="1200">
          <a:solidFill>
            <a:schemeClr val="tx1"/>
          </a:solidFill>
          <a:latin typeface="+mn-lt"/>
          <a:ea typeface="+mn-ea"/>
          <a:cs typeface="+mn-cs"/>
        </a:defRPr>
      </a:lvl2pPr>
      <a:lvl3pPr marL="504000" indent="-252000" algn="l" defTabSz="903006" rtl="0" eaLnBrk="1" latinLnBrk="0" hangingPunct="1">
        <a:lnSpc>
          <a:spcPct val="114000"/>
        </a:lnSpc>
        <a:spcBef>
          <a:spcPts val="600"/>
        </a:spcBef>
        <a:spcAft>
          <a:spcPts val="0"/>
        </a:spcAft>
        <a:buFont typeface="Symbol" panose="05050102010706020507" pitchFamily="18" charset="2"/>
        <a:buChar char=""/>
        <a:defRPr sz="1200" b="0" kern="1200">
          <a:solidFill>
            <a:schemeClr val="tx1"/>
          </a:solidFill>
          <a:latin typeface="+mn-lt"/>
          <a:ea typeface="+mn-ea"/>
          <a:cs typeface="+mn-cs"/>
        </a:defRPr>
      </a:lvl3pPr>
      <a:lvl4pPr marL="756000" indent="-252000" algn="l" defTabSz="903006" rtl="0" eaLnBrk="1" latinLnBrk="0" hangingPunct="1">
        <a:lnSpc>
          <a:spcPct val="114000"/>
        </a:lnSpc>
        <a:spcBef>
          <a:spcPts val="600"/>
        </a:spcBef>
        <a:spcAft>
          <a:spcPts val="0"/>
        </a:spcAft>
        <a:buFont typeface="Arial" panose="020B0604020202020204" pitchFamily="34" charset="0"/>
        <a:buChar char="•"/>
        <a:tabLst/>
        <a:defRPr sz="1200" b="0" kern="1200">
          <a:solidFill>
            <a:schemeClr val="tx1"/>
          </a:solidFill>
          <a:latin typeface="+mn-lt"/>
          <a:ea typeface="+mn-ea"/>
          <a:cs typeface="+mn-cs"/>
        </a:defRPr>
      </a:lvl4pPr>
      <a:lvl5pPr marL="0" indent="0" algn="l" defTabSz="903006" rtl="0" eaLnBrk="1" latinLnBrk="0" hangingPunct="1">
        <a:lnSpc>
          <a:spcPct val="114000"/>
        </a:lnSpc>
        <a:spcBef>
          <a:spcPts val="1200"/>
        </a:spcBef>
        <a:spcAft>
          <a:spcPts val="0"/>
        </a:spcAft>
        <a:buFont typeface="Arial" panose="020B0604020202020204" pitchFamily="34" charset="0"/>
        <a:buNone/>
        <a:defRPr sz="1200" b="1" kern="1200" cap="all" baseline="0">
          <a:solidFill>
            <a:schemeClr val="tx1"/>
          </a:solidFill>
          <a:latin typeface="+mn-lt"/>
          <a:ea typeface="+mn-ea"/>
          <a:cs typeface="+mn-cs"/>
        </a:defRPr>
      </a:lvl5pPr>
      <a:lvl6pPr marL="1067232" indent="-266611" algn="l" defTabSz="903006" rtl="0" eaLnBrk="1" latinLnBrk="0" hangingPunct="1">
        <a:lnSpc>
          <a:spcPct val="114000"/>
        </a:lnSpc>
        <a:spcBef>
          <a:spcPts val="0"/>
        </a:spcBef>
        <a:spcAft>
          <a:spcPts val="795"/>
        </a:spcAft>
        <a:buFont typeface="Symbol" panose="05050102010706020507" pitchFamily="18" charset="2"/>
        <a:buChar char="-"/>
        <a:defRPr sz="1193" kern="1200">
          <a:solidFill>
            <a:schemeClr val="bg1"/>
          </a:solidFill>
          <a:latin typeface="+mn-lt"/>
          <a:ea typeface="+mn-ea"/>
          <a:cs typeface="+mn-cs"/>
        </a:defRPr>
      </a:lvl6pPr>
      <a:lvl7pPr marL="0" indent="0" algn="l" defTabSz="903006" rtl="0" eaLnBrk="1" latinLnBrk="0" hangingPunct="1">
        <a:lnSpc>
          <a:spcPct val="114000"/>
        </a:lnSpc>
        <a:spcBef>
          <a:spcPts val="1200"/>
        </a:spcBef>
        <a:spcAft>
          <a:spcPts val="0"/>
        </a:spcAft>
        <a:buFontTx/>
        <a:buNone/>
        <a:defRPr sz="1200" kern="1200">
          <a:solidFill>
            <a:schemeClr val="tx1"/>
          </a:solidFill>
          <a:latin typeface="+mn-lt"/>
          <a:ea typeface="+mn-ea"/>
          <a:cs typeface="+mn-cs"/>
        </a:defRPr>
      </a:lvl7pPr>
      <a:lvl8pPr marL="252000" indent="-252000" algn="l" defTabSz="903006" rtl="0" eaLnBrk="1" latinLnBrk="0" hangingPunct="1">
        <a:lnSpc>
          <a:spcPct val="114000"/>
        </a:lnSpc>
        <a:spcBef>
          <a:spcPts val="600"/>
        </a:spcBef>
        <a:spcAft>
          <a:spcPts val="0"/>
        </a:spcAft>
        <a:buFont typeface="+mj-lt"/>
        <a:buAutoNum type="arabicPeriod"/>
        <a:defRPr sz="1200" kern="1200">
          <a:solidFill>
            <a:schemeClr val="tx1"/>
          </a:solidFill>
          <a:latin typeface="+mn-lt"/>
          <a:ea typeface="+mn-ea"/>
          <a:cs typeface="+mn-cs"/>
        </a:defRPr>
      </a:lvl8pPr>
      <a:lvl9pPr marL="504000" indent="-252000" algn="l" defTabSz="903006" rtl="0" eaLnBrk="1" latinLnBrk="0" hangingPunct="1">
        <a:lnSpc>
          <a:spcPct val="114000"/>
        </a:lnSpc>
        <a:spcBef>
          <a:spcPts val="600"/>
        </a:spcBef>
        <a:spcAft>
          <a:spcPts val="0"/>
        </a:spcAft>
        <a:buFont typeface="+mj-lt"/>
        <a:buAutoNum type="alphaLcParenR"/>
        <a:defRPr sz="1200" kern="1200">
          <a:solidFill>
            <a:schemeClr val="tx1"/>
          </a:solidFill>
          <a:latin typeface="+mn-lt"/>
          <a:ea typeface="+mn-ea"/>
          <a:cs typeface="+mn-cs"/>
        </a:defRPr>
      </a:lvl9pPr>
    </p:bodyStyle>
    <p:otherStyle>
      <a:defPPr>
        <a:defRPr lang="en-US"/>
      </a:defPPr>
      <a:lvl1pPr marL="0" algn="l" defTabSz="903006" rtl="0" eaLnBrk="1" latinLnBrk="0" hangingPunct="1">
        <a:defRPr sz="1778" kern="1200">
          <a:solidFill>
            <a:schemeClr val="tx1"/>
          </a:solidFill>
          <a:latin typeface="+mn-lt"/>
          <a:ea typeface="+mn-ea"/>
          <a:cs typeface="+mn-cs"/>
        </a:defRPr>
      </a:lvl1pPr>
      <a:lvl2pPr marL="451504" algn="l" defTabSz="903006" rtl="0" eaLnBrk="1" latinLnBrk="0" hangingPunct="1">
        <a:defRPr sz="1778" kern="1200">
          <a:solidFill>
            <a:schemeClr val="tx1"/>
          </a:solidFill>
          <a:latin typeface="+mn-lt"/>
          <a:ea typeface="+mn-ea"/>
          <a:cs typeface="+mn-cs"/>
        </a:defRPr>
      </a:lvl2pPr>
      <a:lvl3pPr marL="903006" algn="l" defTabSz="903006" rtl="0" eaLnBrk="1" latinLnBrk="0" hangingPunct="1">
        <a:defRPr sz="1778" kern="1200">
          <a:solidFill>
            <a:schemeClr val="tx1"/>
          </a:solidFill>
          <a:latin typeface="+mn-lt"/>
          <a:ea typeface="+mn-ea"/>
          <a:cs typeface="+mn-cs"/>
        </a:defRPr>
      </a:lvl3pPr>
      <a:lvl4pPr marL="1354509" algn="l" defTabSz="903006" rtl="0" eaLnBrk="1" latinLnBrk="0" hangingPunct="1">
        <a:defRPr sz="1778" kern="1200">
          <a:solidFill>
            <a:schemeClr val="tx1"/>
          </a:solidFill>
          <a:latin typeface="+mn-lt"/>
          <a:ea typeface="+mn-ea"/>
          <a:cs typeface="+mn-cs"/>
        </a:defRPr>
      </a:lvl4pPr>
      <a:lvl5pPr marL="1806012" algn="l" defTabSz="903006" rtl="0" eaLnBrk="1" latinLnBrk="0" hangingPunct="1">
        <a:defRPr sz="1778" kern="1200">
          <a:solidFill>
            <a:schemeClr val="tx1"/>
          </a:solidFill>
          <a:latin typeface="+mn-lt"/>
          <a:ea typeface="+mn-ea"/>
          <a:cs typeface="+mn-cs"/>
        </a:defRPr>
      </a:lvl5pPr>
      <a:lvl6pPr marL="2257515" algn="l" defTabSz="903006" rtl="0" eaLnBrk="1" latinLnBrk="0" hangingPunct="1">
        <a:defRPr sz="1778" kern="1200">
          <a:solidFill>
            <a:schemeClr val="tx1"/>
          </a:solidFill>
          <a:latin typeface="+mn-lt"/>
          <a:ea typeface="+mn-ea"/>
          <a:cs typeface="+mn-cs"/>
        </a:defRPr>
      </a:lvl6pPr>
      <a:lvl7pPr marL="2709017" algn="l" defTabSz="903006" rtl="0" eaLnBrk="1" latinLnBrk="0" hangingPunct="1">
        <a:defRPr sz="1778" kern="1200">
          <a:solidFill>
            <a:schemeClr val="tx1"/>
          </a:solidFill>
          <a:latin typeface="+mn-lt"/>
          <a:ea typeface="+mn-ea"/>
          <a:cs typeface="+mn-cs"/>
        </a:defRPr>
      </a:lvl7pPr>
      <a:lvl8pPr marL="3160521" algn="l" defTabSz="903006" rtl="0" eaLnBrk="1" latinLnBrk="0" hangingPunct="1">
        <a:defRPr sz="1778" kern="1200">
          <a:solidFill>
            <a:schemeClr val="tx1"/>
          </a:solidFill>
          <a:latin typeface="+mn-lt"/>
          <a:ea typeface="+mn-ea"/>
          <a:cs typeface="+mn-cs"/>
        </a:defRPr>
      </a:lvl8pPr>
      <a:lvl9pPr marL="3612023" algn="l" defTabSz="903006" rtl="0" eaLnBrk="1" latinLnBrk="0" hangingPunct="1">
        <a:defRPr sz="1778" kern="1200">
          <a:solidFill>
            <a:schemeClr val="tx1"/>
          </a:solidFill>
          <a:latin typeface="+mn-lt"/>
          <a:ea typeface="+mn-ea"/>
          <a:cs typeface="+mn-cs"/>
        </a:defRPr>
      </a:lvl9pPr>
    </p:otherStyle>
  </p:txStyles>
  <p:extLst>
    <p:ext uri="{27BBF7A9-308A-43DC-89C8-2F10F3537804}">
      <p15:sldGuideLst xmlns:p15="http://schemas.microsoft.com/office/powerpoint/2012/main">
        <p15:guide id="9" orient="horz" pos="996">
          <p15:clr>
            <a:srgbClr val="F26B43"/>
          </p15:clr>
        </p15:guide>
        <p15:guide id="10" pos="3058">
          <p15:clr>
            <a:srgbClr val="F26B43"/>
          </p15:clr>
        </p15:guide>
        <p15:guide id="11" pos="257">
          <p15:clr>
            <a:srgbClr val="F26B43"/>
          </p15:clr>
        </p15:guide>
        <p15:guide id="12" orient="horz" pos="720">
          <p15:clr>
            <a:srgbClr val="F26B43"/>
          </p15:clr>
        </p15:guide>
        <p15:guide id="13" pos="6017">
          <p15:clr>
            <a:srgbClr val="F26B43"/>
          </p15:clr>
        </p15:guide>
        <p15:guide id="14" pos="5858">
          <p15:clr>
            <a:srgbClr val="F26B43"/>
          </p15:clr>
        </p15:guide>
        <p15:guide id="15" orient="horz" pos="3895">
          <p15:clr>
            <a:srgbClr val="F26B43"/>
          </p15:clr>
        </p15:guide>
        <p15:guide id="16" pos="3137">
          <p15:clr>
            <a:srgbClr val="F26B43"/>
          </p15:clr>
        </p15:guide>
        <p15:guide id="17" pos="7242">
          <p15:clr>
            <a:srgbClr val="F26B43"/>
          </p15:clr>
        </p15:guide>
        <p15:guide id="18" pos="7423">
          <p15:clr>
            <a:srgbClr val="F26B43"/>
          </p15:clr>
        </p15:guide>
        <p15:guide id="19" pos="297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Layout" Target="../slideLayouts/slideLayout1.xml"/><Relationship Id="rId1" Type="http://schemas.openxmlformats.org/officeDocument/2006/relationships/tags" Target="../tags/tag1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2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2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2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2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2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25.xml"/></Relationships>
</file>

<file path=ppt/slides/_rels/slide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2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2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2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29.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30.xml"/><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14.xml"/><Relationship Id="rId1" Type="http://schemas.openxmlformats.org/officeDocument/2006/relationships/tags" Target="../tags/tag31.xml"/></Relationships>
</file>

<file path=ppt/slides/_rels/slide23.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image" Target="../media/image6.png"/><Relationship Id="rId5" Type="http://schemas.openxmlformats.org/officeDocument/2006/relationships/tags" Target="../tags/tag36.xml"/><Relationship Id="rId10" Type="http://schemas.openxmlformats.org/officeDocument/2006/relationships/notesSlide" Target="../notesSlides/notesSlide19.xml"/><Relationship Id="rId4" Type="http://schemas.openxmlformats.org/officeDocument/2006/relationships/tags" Target="../tags/tag35.xml"/><Relationship Id="rId9"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3.xml"/><Relationship Id="rId1" Type="http://schemas.openxmlformats.org/officeDocument/2006/relationships/tags" Target="../tags/tag1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1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1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725E12-6A01-6728-1CAC-07A00462C3F4}"/>
              </a:ext>
            </a:extLst>
          </p:cNvPr>
          <p:cNvSpPr>
            <a:spLocks noGrp="1"/>
          </p:cNvSpPr>
          <p:nvPr>
            <p:ph type="ctrTitle"/>
          </p:nvPr>
        </p:nvSpPr>
        <p:spPr>
          <a:xfrm>
            <a:off x="5262022" y="3595687"/>
            <a:ext cx="5813965" cy="1909763"/>
          </a:xfrm>
        </p:spPr>
        <p:txBody>
          <a:bodyPr/>
          <a:lstStyle/>
          <a:p>
            <a:br>
              <a:rPr lang="de-DE" dirty="0"/>
            </a:br>
            <a:r>
              <a:rPr lang="de-DE" dirty="0" err="1"/>
              <a:t>Overcoming</a:t>
            </a:r>
            <a:r>
              <a:rPr lang="de-DE" dirty="0"/>
              <a:t> </a:t>
            </a:r>
            <a:r>
              <a:rPr lang="de-DE" dirty="0" err="1"/>
              <a:t>the</a:t>
            </a:r>
            <a:r>
              <a:rPr lang="de-DE" dirty="0"/>
              <a:t> </a:t>
            </a:r>
            <a:r>
              <a:rPr lang="de-DE" dirty="0" err="1"/>
              <a:t>dichotomy</a:t>
            </a:r>
            <a:r>
              <a:rPr lang="de-DE" dirty="0"/>
              <a:t> </a:t>
            </a:r>
            <a:r>
              <a:rPr lang="de-DE" dirty="0" err="1"/>
              <a:t>of</a:t>
            </a:r>
            <a:r>
              <a:rPr lang="de-DE" dirty="0"/>
              <a:t> </a:t>
            </a:r>
            <a:r>
              <a:rPr lang="de-DE" dirty="0" err="1"/>
              <a:t>substantive</a:t>
            </a:r>
            <a:r>
              <a:rPr lang="de-DE" dirty="0"/>
              <a:t> and </a:t>
            </a:r>
            <a:r>
              <a:rPr lang="de-DE" dirty="0" err="1"/>
              <a:t>procedural</a:t>
            </a:r>
            <a:r>
              <a:rPr lang="de-DE" dirty="0"/>
              <a:t> </a:t>
            </a:r>
            <a:r>
              <a:rPr lang="de-DE" dirty="0" err="1"/>
              <a:t>aspects</a:t>
            </a:r>
            <a:r>
              <a:rPr lang="de-DE" dirty="0"/>
              <a:t>:</a:t>
            </a:r>
            <a:br>
              <a:rPr lang="de-DE" dirty="0"/>
            </a:br>
            <a:r>
              <a:rPr lang="de-DE" dirty="0"/>
              <a:t>The </a:t>
            </a:r>
            <a:r>
              <a:rPr lang="de-DE" dirty="0" err="1"/>
              <a:t>jurisdiction</a:t>
            </a:r>
            <a:r>
              <a:rPr lang="de-DE" dirty="0"/>
              <a:t> </a:t>
            </a:r>
            <a:r>
              <a:rPr lang="de-DE" dirty="0" err="1"/>
              <a:t>rules</a:t>
            </a:r>
            <a:r>
              <a:rPr lang="de-DE" dirty="0"/>
              <a:t> </a:t>
            </a:r>
            <a:r>
              <a:rPr lang="de-DE" dirty="0" err="1"/>
              <a:t>under</a:t>
            </a:r>
            <a:r>
              <a:rPr lang="de-DE" dirty="0"/>
              <a:t> a </a:t>
            </a:r>
            <a:r>
              <a:rPr lang="de-DE" dirty="0" err="1"/>
              <a:t>new</a:t>
            </a:r>
            <a:r>
              <a:rPr lang="de-DE" dirty="0"/>
              <a:t> collision </a:t>
            </a:r>
            <a:r>
              <a:rPr lang="de-DE" dirty="0" err="1"/>
              <a:t>convention</a:t>
            </a:r>
            <a:endParaRPr lang="en-US" sz="2400" dirty="0">
              <a:cs typeface="Arial"/>
            </a:endParaRPr>
          </a:p>
        </p:txBody>
      </p:sp>
      <p:sp>
        <p:nvSpPr>
          <p:cNvPr id="3" name="Untertitel 2">
            <a:extLst>
              <a:ext uri="{FF2B5EF4-FFF2-40B4-BE49-F238E27FC236}">
                <a16:creationId xmlns:a16="http://schemas.microsoft.com/office/drawing/2014/main" id="{4761C273-22BB-41CA-EA93-162BA3F603B3}"/>
              </a:ext>
            </a:extLst>
          </p:cNvPr>
          <p:cNvSpPr>
            <a:spLocks noGrp="1"/>
          </p:cNvSpPr>
          <p:nvPr>
            <p:ph type="subTitle" idx="1"/>
          </p:nvPr>
        </p:nvSpPr>
        <p:spPr>
          <a:xfrm>
            <a:off x="5332483" y="5505450"/>
            <a:ext cx="5813965" cy="675628"/>
          </a:xfrm>
        </p:spPr>
        <p:txBody>
          <a:bodyPr vert="horz" lIns="0" tIns="0" rIns="0" bIns="0" rtlCol="0" anchor="t">
            <a:noAutofit/>
          </a:bodyPr>
          <a:lstStyle/>
          <a:p>
            <a:endParaRPr lang="de-DE" sz="1600" dirty="0">
              <a:cs typeface="Arial"/>
            </a:endParaRPr>
          </a:p>
          <a:p>
            <a:pPr>
              <a:lnSpc>
                <a:spcPct val="113999"/>
              </a:lnSpc>
            </a:pPr>
            <a:r>
              <a:rPr lang="de-DE" sz="1600" dirty="0">
                <a:cs typeface="Arial"/>
              </a:rPr>
              <a:t>Prof. Dr. Dieter Schwampe</a:t>
            </a:r>
          </a:p>
        </p:txBody>
      </p:sp>
      <p:pic>
        <p:nvPicPr>
          <p:cNvPr id="9" name="Multimodalverkehr LKW Brücke Schiff Cargo Container">
            <a:extLst>
              <a:ext uri="{FF2B5EF4-FFF2-40B4-BE49-F238E27FC236}">
                <a16:creationId xmlns:a16="http://schemas.microsoft.com/office/drawing/2014/main" id="{708A1856-9F15-1D7E-C480-ACF5FF63009C}"/>
              </a:ext>
            </a:extLst>
          </p:cNvPr>
          <p:cNvPicPr>
            <a:picLocks noGrp="1" noChangeAspect="1"/>
          </p:cNvPicPr>
          <p:nvPr>
            <p:ph type="pic" sz="quarter" idx="10"/>
            <p:custDataLst>
              <p:tags r:id="rId1"/>
            </p:custDataLst>
          </p:nvPr>
        </p:nvPicPr>
        <p:blipFill>
          <a:blip r:embed="rId3" cstate="screen">
            <a:extLst>
              <a:ext uri="{28A0092B-C50C-407E-A947-70E740481C1C}">
                <a14:useLocalDpi xmlns:a14="http://schemas.microsoft.com/office/drawing/2010/main"/>
              </a:ext>
            </a:extLst>
          </a:blip>
          <a:srcRect/>
          <a:stretch>
            <a:fillRect/>
          </a:stretch>
        </p:blipFill>
        <p:spPr>
          <a:xfrm>
            <a:off x="1116013" y="2563813"/>
            <a:ext cx="3384000" cy="3384000"/>
          </a:xfrm>
        </p:spPr>
      </p:pic>
    </p:spTree>
    <p:extLst>
      <p:ext uri="{BB962C8B-B14F-4D97-AF65-F5344CB8AC3E}">
        <p14:creationId xmlns:p14="http://schemas.microsoft.com/office/powerpoint/2010/main" val="1957116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8C5083-FBC9-00E4-B8B6-90914550D091}"/>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EF37F9C9-290B-5C19-EA28-72D290501538}"/>
              </a:ext>
            </a:extLst>
          </p:cNvPr>
          <p:cNvSpPr>
            <a:spLocks noGrp="1"/>
          </p:cNvSpPr>
          <p:nvPr>
            <p:ph idx="1" hasCustomPrompt="1"/>
          </p:nvPr>
        </p:nvSpPr>
        <p:spPr/>
        <p:txBody>
          <a:bodyPr vert="horz" lIns="0" tIns="0" rIns="0" bIns="0" rtlCol="0" anchor="t">
            <a:noAutofit/>
          </a:bodyPr>
          <a:lstStyle/>
          <a:p>
            <a:pPr>
              <a:lnSpc>
                <a:spcPct val="113999"/>
              </a:lnSpc>
            </a:pPr>
            <a:endParaRPr lang="en-US" sz="2000" i="1" dirty="0">
              <a:ea typeface="+mn-lt"/>
              <a:cs typeface="+mn-lt"/>
            </a:endParaRPr>
          </a:p>
          <a:p>
            <a:pPr>
              <a:lnSpc>
                <a:spcPct val="113999"/>
              </a:lnSpc>
            </a:pPr>
            <a:r>
              <a:rPr lang="en-US" sz="2000" i="1" dirty="0">
                <a:ea typeface="+mn-lt"/>
                <a:cs typeface="+mn-lt"/>
              </a:rPr>
              <a:t>where the collision has occurred, provided that it occurred in the internal waters or </a:t>
            </a:r>
            <a:r>
              <a:rPr lang="en-US" sz="2000" i="1" dirty="0">
                <a:solidFill>
                  <a:srgbClr val="FF0000"/>
                </a:solidFill>
                <a:ea typeface="+mn-lt"/>
                <a:cs typeface="+mn-lt"/>
              </a:rPr>
              <a:t>territorial waters </a:t>
            </a:r>
            <a:r>
              <a:rPr lang="en-US" sz="2000" i="1" dirty="0">
                <a:ea typeface="+mn-lt"/>
                <a:cs typeface="+mn-lt"/>
              </a:rPr>
              <a:t>of that State</a:t>
            </a:r>
            <a:endParaRPr lang="en-GB" sz="2000" i="1" dirty="0">
              <a:ea typeface="+mn-lt"/>
              <a:cs typeface="+mn-lt"/>
            </a:endParaRPr>
          </a:p>
        </p:txBody>
      </p:sp>
      <p:sp>
        <p:nvSpPr>
          <p:cNvPr id="5" name="Inhaltsplatzhalter 4">
            <a:extLst>
              <a:ext uri="{FF2B5EF4-FFF2-40B4-BE49-F238E27FC236}">
                <a16:creationId xmlns:a16="http://schemas.microsoft.com/office/drawing/2014/main" id="{F9EFE587-D58F-C8B4-AAF0-C330928AA3EB}"/>
              </a:ext>
            </a:extLst>
          </p:cNvPr>
          <p:cNvSpPr>
            <a:spLocks noGrp="1"/>
          </p:cNvSpPr>
          <p:nvPr>
            <p:ph idx="13"/>
          </p:nvPr>
        </p:nvSpPr>
        <p:spPr/>
        <p:txBody>
          <a:bodyPr/>
          <a:lstStyle/>
          <a:p>
            <a:r>
              <a:rPr lang="en-US" sz="2000" dirty="0">
                <a:ea typeface="+mn-lt"/>
                <a:cs typeface="+mn-lt"/>
              </a:rPr>
              <a:t>Art. 1 (1) (c)</a:t>
            </a:r>
          </a:p>
          <a:p>
            <a:r>
              <a:rPr lang="en-US" sz="2000" i="1" dirty="0">
                <a:ea typeface="+mn-lt"/>
                <a:cs typeface="+mn-lt"/>
              </a:rPr>
              <a:t>or before the Court of the place of collision when the collision has occurred within the limits of a port or in inland waters.</a:t>
            </a:r>
            <a:endParaRPr lang="de-DE" sz="2000" i="1" dirty="0">
              <a:ea typeface="+mn-lt"/>
              <a:cs typeface="+mn-lt"/>
            </a:endParaRPr>
          </a:p>
        </p:txBody>
      </p:sp>
      <p:sp>
        <p:nvSpPr>
          <p:cNvPr id="3" name="Datumsplatzhalter 2">
            <a:extLst>
              <a:ext uri="{FF2B5EF4-FFF2-40B4-BE49-F238E27FC236}">
                <a16:creationId xmlns:a16="http://schemas.microsoft.com/office/drawing/2014/main" id="{2809EE9D-2BE4-C0CC-EC60-AC353B05D748}"/>
              </a:ext>
            </a:extLst>
          </p:cNvPr>
          <p:cNvSpPr>
            <a:spLocks noGrp="1"/>
          </p:cNvSpPr>
          <p:nvPr>
            <p:ph type="dt" sz="half" idx="14"/>
          </p:nvPr>
        </p:nvSpPr>
        <p:spPr/>
        <p:txBody>
          <a:bodyPr/>
          <a:lstStyle/>
          <a:p>
            <a:r>
              <a:rPr lang="de-DE" dirty="0"/>
              <a:t>14.06.2026</a:t>
            </a:r>
          </a:p>
        </p:txBody>
      </p:sp>
      <p:sp>
        <p:nvSpPr>
          <p:cNvPr id="2" name="Fußzeilenplatzhalter 1">
            <a:extLst>
              <a:ext uri="{FF2B5EF4-FFF2-40B4-BE49-F238E27FC236}">
                <a16:creationId xmlns:a16="http://schemas.microsoft.com/office/drawing/2014/main" id="{E1FE6563-BB20-F120-611F-C46E94919D57}"/>
              </a:ext>
            </a:extLst>
          </p:cNvPr>
          <p:cNvSpPr>
            <a:spLocks noGrp="1"/>
          </p:cNvSpPr>
          <p:nvPr>
            <p:ph type="ftr" sz="quarter" idx="15"/>
          </p:nvPr>
        </p:nvSpPr>
        <p:spPr/>
        <p:txBody>
          <a:bodyPr/>
          <a:lstStyle/>
          <a:p>
            <a:r>
              <a:rPr lang="de-DE" dirty="0">
                <a:cs typeface="Arial"/>
              </a:rPr>
              <a:t>CMI Colloquium Rio de Janeiro 2026 – Dieter Schwampe </a:t>
            </a:r>
          </a:p>
        </p:txBody>
      </p:sp>
      <p:sp>
        <p:nvSpPr>
          <p:cNvPr id="4" name="Foliennummernplatzhalter 3">
            <a:extLst>
              <a:ext uri="{FF2B5EF4-FFF2-40B4-BE49-F238E27FC236}">
                <a16:creationId xmlns:a16="http://schemas.microsoft.com/office/drawing/2014/main" id="{FA9FFE69-3ADE-0DDB-A3FA-5824024343C3}"/>
              </a:ext>
            </a:extLst>
          </p:cNvPr>
          <p:cNvSpPr>
            <a:spLocks noGrp="1"/>
          </p:cNvSpPr>
          <p:nvPr>
            <p:ph type="sldNum" sz="quarter" idx="16"/>
          </p:nvPr>
        </p:nvSpPr>
        <p:spPr/>
        <p:txBody>
          <a:bodyPr/>
          <a:lstStyle/>
          <a:p>
            <a:fld id="{EFDB17C1-FF3A-45DC-94C1-44444C959F3B}" type="slidenum">
              <a:rPr lang="de-DE" smtClean="0"/>
              <a:pPr/>
              <a:t>10</a:t>
            </a:fld>
            <a:endParaRPr lang="de-DE"/>
          </a:p>
        </p:txBody>
      </p:sp>
      <p:sp>
        <p:nvSpPr>
          <p:cNvPr id="9" name="Title 8">
            <a:extLst>
              <a:ext uri="{FF2B5EF4-FFF2-40B4-BE49-F238E27FC236}">
                <a16:creationId xmlns:a16="http://schemas.microsoft.com/office/drawing/2014/main" id="{5330F0C4-3180-ADDB-6A16-531F20FDE4B9}"/>
              </a:ext>
            </a:extLst>
          </p:cNvPr>
          <p:cNvSpPr>
            <a:spLocks noGrp="1"/>
          </p:cNvSpPr>
          <p:nvPr>
            <p:ph type="title"/>
          </p:nvPr>
        </p:nvSpPr>
        <p:spPr/>
        <p:txBody>
          <a:bodyPr/>
          <a:lstStyle/>
          <a:p>
            <a:r>
              <a:rPr lang="de-DE" b="1" dirty="0"/>
              <a:t>Art. 9.3 </a:t>
            </a:r>
            <a:r>
              <a:rPr lang="de-DE" b="1" dirty="0" err="1"/>
              <a:t>Draft</a:t>
            </a:r>
            <a:r>
              <a:rPr lang="de-DE" b="1" dirty="0"/>
              <a:t> Protocol and </a:t>
            </a:r>
            <a:r>
              <a:rPr lang="de-DE" b="1" dirty="0" err="1"/>
              <a:t>the</a:t>
            </a:r>
            <a:r>
              <a:rPr lang="de-DE" b="1" dirty="0"/>
              <a:t> 1952 </a:t>
            </a:r>
            <a:r>
              <a:rPr lang="de-DE" b="1" dirty="0" err="1"/>
              <a:t>Jurisidction</a:t>
            </a:r>
            <a:r>
              <a:rPr lang="de-DE" b="1" dirty="0"/>
              <a:t> </a:t>
            </a:r>
            <a:r>
              <a:rPr lang="de-DE" b="1" dirty="0" err="1"/>
              <a:t>convention</a:t>
            </a:r>
            <a:endParaRPr lang="en-US" b="1" dirty="0">
              <a:cs typeface="Arial"/>
            </a:endParaRPr>
          </a:p>
        </p:txBody>
      </p:sp>
      <p:sp>
        <p:nvSpPr>
          <p:cNvPr id="6" name="Title 8">
            <a:extLst>
              <a:ext uri="{FF2B5EF4-FFF2-40B4-BE49-F238E27FC236}">
                <a16:creationId xmlns:a16="http://schemas.microsoft.com/office/drawing/2014/main" id="{BB9FF4BB-6836-CFD6-4C1C-24A43F2215B0}"/>
              </a:ext>
            </a:extLst>
          </p:cNvPr>
          <p:cNvSpPr txBox="1">
            <a:spLocks/>
          </p:cNvSpPr>
          <p:nvPr/>
        </p:nvSpPr>
        <p:spPr>
          <a:xfrm>
            <a:off x="410151" y="1176611"/>
            <a:ext cx="9018000" cy="265460"/>
          </a:xfrm>
          <a:prstGeom prst="rect">
            <a:avLst/>
          </a:prstGeom>
        </p:spPr>
        <p:txBody>
          <a:bodyPr vert="horz" lIns="0" tIns="0" rIns="0" bIns="0" rtlCol="0" anchor="b" anchorCtr="0">
            <a:noAutofit/>
          </a:bodyPr>
          <a:lstStyle>
            <a:lvl1pPr algn="l" defTabSz="903006" rtl="0" eaLnBrk="1" latinLnBrk="0" hangingPunct="1">
              <a:lnSpc>
                <a:spcPct val="100000"/>
              </a:lnSpc>
              <a:spcBef>
                <a:spcPct val="0"/>
              </a:spcBef>
              <a:buNone/>
              <a:defRPr sz="2200" b="0" kern="1200" cap="all" baseline="0">
                <a:solidFill>
                  <a:schemeClr val="tx1"/>
                </a:solidFill>
                <a:latin typeface="+mj-lt"/>
                <a:ea typeface="+mj-ea"/>
                <a:cs typeface="+mj-cs"/>
              </a:defRPr>
            </a:lvl1pPr>
          </a:lstStyle>
          <a:p>
            <a:r>
              <a:rPr lang="de-DE" sz="1400" b="1" dirty="0"/>
              <a:t>               Protocol 				      1952 </a:t>
            </a:r>
            <a:r>
              <a:rPr lang="de-DE" sz="1400" b="1" dirty="0" err="1"/>
              <a:t>Jurisdiction</a:t>
            </a:r>
            <a:r>
              <a:rPr lang="de-DE" sz="1400" b="1" dirty="0"/>
              <a:t> </a:t>
            </a:r>
            <a:r>
              <a:rPr lang="de-DE" sz="1400" b="1" dirty="0" err="1"/>
              <a:t>convention</a:t>
            </a:r>
            <a:endParaRPr lang="en-US" sz="1400" b="1" dirty="0">
              <a:cs typeface="Arial"/>
            </a:endParaRPr>
          </a:p>
        </p:txBody>
      </p:sp>
    </p:spTree>
    <p:custDataLst>
      <p:tags r:id="rId1"/>
    </p:custDataLst>
    <p:extLst>
      <p:ext uri="{BB962C8B-B14F-4D97-AF65-F5344CB8AC3E}">
        <p14:creationId xmlns:p14="http://schemas.microsoft.com/office/powerpoint/2010/main" val="15659853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7710F3-995E-7B17-3F21-BCBA30F39318}"/>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6703CE35-F3B6-5F61-80D9-4F410107A1CC}"/>
              </a:ext>
            </a:extLst>
          </p:cNvPr>
          <p:cNvSpPr>
            <a:spLocks noGrp="1"/>
          </p:cNvSpPr>
          <p:nvPr>
            <p:ph idx="1" hasCustomPrompt="1"/>
          </p:nvPr>
        </p:nvSpPr>
        <p:spPr/>
        <p:txBody>
          <a:bodyPr vert="horz" lIns="0" tIns="0" rIns="0" bIns="0" rtlCol="0" anchor="t">
            <a:noAutofit/>
          </a:bodyPr>
          <a:lstStyle/>
          <a:p>
            <a:pPr>
              <a:lnSpc>
                <a:spcPct val="113999"/>
              </a:lnSpc>
            </a:pPr>
            <a:endParaRPr lang="en-US" sz="2000" i="1" dirty="0">
              <a:ea typeface="+mn-lt"/>
              <a:cs typeface="+mn-lt"/>
            </a:endParaRPr>
          </a:p>
          <a:p>
            <a:pPr>
              <a:lnSpc>
                <a:spcPct val="113999"/>
              </a:lnSpc>
            </a:pPr>
            <a:r>
              <a:rPr lang="en-US" sz="2000" i="1" dirty="0">
                <a:ea typeface="+mn-lt"/>
                <a:cs typeface="+mn-lt"/>
              </a:rPr>
              <a:t>where the collision has occurred, provided that it occurred in the internal waters or territorial waters of that State</a:t>
            </a:r>
            <a:endParaRPr lang="en-GB" sz="2000" i="1" dirty="0">
              <a:ea typeface="+mn-lt"/>
              <a:cs typeface="+mn-lt"/>
            </a:endParaRPr>
          </a:p>
        </p:txBody>
      </p:sp>
      <p:sp>
        <p:nvSpPr>
          <p:cNvPr id="5" name="Inhaltsplatzhalter 4">
            <a:extLst>
              <a:ext uri="{FF2B5EF4-FFF2-40B4-BE49-F238E27FC236}">
                <a16:creationId xmlns:a16="http://schemas.microsoft.com/office/drawing/2014/main" id="{F0BA6B91-9B33-9786-63CB-CB8EB4339699}"/>
              </a:ext>
            </a:extLst>
          </p:cNvPr>
          <p:cNvSpPr>
            <a:spLocks noGrp="1"/>
          </p:cNvSpPr>
          <p:nvPr>
            <p:ph idx="13"/>
          </p:nvPr>
        </p:nvSpPr>
        <p:spPr/>
        <p:txBody>
          <a:bodyPr/>
          <a:lstStyle/>
          <a:p>
            <a:r>
              <a:rPr lang="en-US" sz="2000" dirty="0">
                <a:ea typeface="+mn-lt"/>
                <a:cs typeface="+mn-lt"/>
              </a:rPr>
              <a:t>Art. 1 (1) (b):</a:t>
            </a:r>
          </a:p>
          <a:p>
            <a:r>
              <a:rPr lang="en-US" sz="2000" i="1" dirty="0">
                <a:ea typeface="+mn-lt"/>
                <a:cs typeface="+mn-lt"/>
              </a:rPr>
              <a:t>in the internal waters or territorial sea of which the collision has occurred</a:t>
            </a:r>
            <a:endParaRPr lang="de-DE" sz="2000" i="1" dirty="0">
              <a:ea typeface="+mn-lt"/>
              <a:cs typeface="+mn-lt"/>
            </a:endParaRPr>
          </a:p>
        </p:txBody>
      </p:sp>
      <p:sp>
        <p:nvSpPr>
          <p:cNvPr id="3" name="Datumsplatzhalter 2">
            <a:extLst>
              <a:ext uri="{FF2B5EF4-FFF2-40B4-BE49-F238E27FC236}">
                <a16:creationId xmlns:a16="http://schemas.microsoft.com/office/drawing/2014/main" id="{8D88203F-2A02-FF98-0682-F62A31F9BFBC}"/>
              </a:ext>
            </a:extLst>
          </p:cNvPr>
          <p:cNvSpPr>
            <a:spLocks noGrp="1"/>
          </p:cNvSpPr>
          <p:nvPr>
            <p:ph type="dt" sz="half" idx="14"/>
          </p:nvPr>
        </p:nvSpPr>
        <p:spPr/>
        <p:txBody>
          <a:bodyPr/>
          <a:lstStyle/>
          <a:p>
            <a:r>
              <a:rPr lang="de-DE" dirty="0"/>
              <a:t>14.06.2026</a:t>
            </a:r>
          </a:p>
        </p:txBody>
      </p:sp>
      <p:sp>
        <p:nvSpPr>
          <p:cNvPr id="2" name="Fußzeilenplatzhalter 1">
            <a:extLst>
              <a:ext uri="{FF2B5EF4-FFF2-40B4-BE49-F238E27FC236}">
                <a16:creationId xmlns:a16="http://schemas.microsoft.com/office/drawing/2014/main" id="{1DE1901F-5AA1-53AA-1CD7-4E7501D03530}"/>
              </a:ext>
            </a:extLst>
          </p:cNvPr>
          <p:cNvSpPr>
            <a:spLocks noGrp="1"/>
          </p:cNvSpPr>
          <p:nvPr>
            <p:ph type="ftr" sz="quarter" idx="15"/>
          </p:nvPr>
        </p:nvSpPr>
        <p:spPr/>
        <p:txBody>
          <a:bodyPr/>
          <a:lstStyle/>
          <a:p>
            <a:r>
              <a:rPr lang="de-DE" dirty="0">
                <a:cs typeface="Arial"/>
              </a:rPr>
              <a:t>CMI Colloquium Rio de Janeiro 2026 – Dieter Schwampe </a:t>
            </a:r>
          </a:p>
        </p:txBody>
      </p:sp>
      <p:sp>
        <p:nvSpPr>
          <p:cNvPr id="4" name="Foliennummernplatzhalter 3">
            <a:extLst>
              <a:ext uri="{FF2B5EF4-FFF2-40B4-BE49-F238E27FC236}">
                <a16:creationId xmlns:a16="http://schemas.microsoft.com/office/drawing/2014/main" id="{AB3271E8-19E5-97A8-09E3-C72F54734A73}"/>
              </a:ext>
            </a:extLst>
          </p:cNvPr>
          <p:cNvSpPr>
            <a:spLocks noGrp="1"/>
          </p:cNvSpPr>
          <p:nvPr>
            <p:ph type="sldNum" sz="quarter" idx="16"/>
          </p:nvPr>
        </p:nvSpPr>
        <p:spPr/>
        <p:txBody>
          <a:bodyPr/>
          <a:lstStyle/>
          <a:p>
            <a:fld id="{EFDB17C1-FF3A-45DC-94C1-44444C959F3B}" type="slidenum">
              <a:rPr lang="de-DE" smtClean="0"/>
              <a:pPr/>
              <a:t>11</a:t>
            </a:fld>
            <a:endParaRPr lang="de-DE"/>
          </a:p>
        </p:txBody>
      </p:sp>
      <p:sp>
        <p:nvSpPr>
          <p:cNvPr id="9" name="Title 8">
            <a:extLst>
              <a:ext uri="{FF2B5EF4-FFF2-40B4-BE49-F238E27FC236}">
                <a16:creationId xmlns:a16="http://schemas.microsoft.com/office/drawing/2014/main" id="{7929A622-6C04-1E96-1BFE-4BDD09D388E6}"/>
              </a:ext>
            </a:extLst>
          </p:cNvPr>
          <p:cNvSpPr>
            <a:spLocks noGrp="1"/>
          </p:cNvSpPr>
          <p:nvPr>
            <p:ph type="title"/>
          </p:nvPr>
        </p:nvSpPr>
        <p:spPr/>
        <p:txBody>
          <a:bodyPr/>
          <a:lstStyle/>
          <a:p>
            <a:r>
              <a:rPr lang="de-DE" b="1" dirty="0"/>
              <a:t>Art. 9.3 </a:t>
            </a:r>
            <a:r>
              <a:rPr lang="de-DE" b="1" dirty="0" err="1"/>
              <a:t>Draft</a:t>
            </a:r>
            <a:r>
              <a:rPr lang="de-DE" b="1" dirty="0"/>
              <a:t> Protocol and </a:t>
            </a:r>
            <a:r>
              <a:rPr lang="de-DE" b="1" dirty="0" err="1"/>
              <a:t>the</a:t>
            </a:r>
            <a:r>
              <a:rPr lang="de-DE" b="1" dirty="0"/>
              <a:t> 1952 </a:t>
            </a:r>
            <a:r>
              <a:rPr lang="de-DE" b="1" dirty="0" err="1"/>
              <a:t>Jurisidction</a:t>
            </a:r>
            <a:r>
              <a:rPr lang="de-DE" b="1" dirty="0"/>
              <a:t> </a:t>
            </a:r>
            <a:r>
              <a:rPr lang="de-DE" b="1" dirty="0" err="1"/>
              <a:t>convention</a:t>
            </a:r>
            <a:endParaRPr lang="en-US" b="1" dirty="0">
              <a:cs typeface="Arial"/>
            </a:endParaRPr>
          </a:p>
        </p:txBody>
      </p:sp>
      <p:sp>
        <p:nvSpPr>
          <p:cNvPr id="6" name="Title 8">
            <a:extLst>
              <a:ext uri="{FF2B5EF4-FFF2-40B4-BE49-F238E27FC236}">
                <a16:creationId xmlns:a16="http://schemas.microsoft.com/office/drawing/2014/main" id="{7DEF56CE-A8C1-5EEC-F964-092AF97068B4}"/>
              </a:ext>
            </a:extLst>
          </p:cNvPr>
          <p:cNvSpPr txBox="1">
            <a:spLocks/>
          </p:cNvSpPr>
          <p:nvPr/>
        </p:nvSpPr>
        <p:spPr>
          <a:xfrm>
            <a:off x="410151" y="1176611"/>
            <a:ext cx="9018000" cy="265460"/>
          </a:xfrm>
          <a:prstGeom prst="rect">
            <a:avLst/>
          </a:prstGeom>
        </p:spPr>
        <p:txBody>
          <a:bodyPr vert="horz" lIns="0" tIns="0" rIns="0" bIns="0" rtlCol="0" anchor="b" anchorCtr="0">
            <a:noAutofit/>
          </a:bodyPr>
          <a:lstStyle>
            <a:lvl1pPr algn="l" defTabSz="903006" rtl="0" eaLnBrk="1" latinLnBrk="0" hangingPunct="1">
              <a:lnSpc>
                <a:spcPct val="100000"/>
              </a:lnSpc>
              <a:spcBef>
                <a:spcPct val="0"/>
              </a:spcBef>
              <a:buNone/>
              <a:defRPr sz="2200" b="0" kern="1200" cap="all" baseline="0">
                <a:solidFill>
                  <a:schemeClr val="tx1"/>
                </a:solidFill>
                <a:latin typeface="+mj-lt"/>
                <a:ea typeface="+mj-ea"/>
                <a:cs typeface="+mj-cs"/>
              </a:defRPr>
            </a:lvl1pPr>
          </a:lstStyle>
          <a:p>
            <a:r>
              <a:rPr lang="de-DE" sz="1400" b="1" dirty="0"/>
              <a:t>               Protocol 				              Rio draft 1977</a:t>
            </a:r>
            <a:endParaRPr lang="en-US" sz="1400" b="1" dirty="0">
              <a:cs typeface="Arial"/>
            </a:endParaRPr>
          </a:p>
        </p:txBody>
      </p:sp>
    </p:spTree>
    <p:custDataLst>
      <p:tags r:id="rId1"/>
    </p:custDataLst>
    <p:extLst>
      <p:ext uri="{BB962C8B-B14F-4D97-AF65-F5344CB8AC3E}">
        <p14:creationId xmlns:p14="http://schemas.microsoft.com/office/powerpoint/2010/main" val="33764089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F4E348-109B-98E4-BB1E-6FEFB69BE1CE}"/>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3430FE7F-B889-C502-9A39-FE6F38CEC48A}"/>
              </a:ext>
            </a:extLst>
          </p:cNvPr>
          <p:cNvSpPr>
            <a:spLocks noGrp="1"/>
          </p:cNvSpPr>
          <p:nvPr>
            <p:ph idx="1" hasCustomPrompt="1"/>
          </p:nvPr>
        </p:nvSpPr>
        <p:spPr/>
        <p:txBody>
          <a:bodyPr vert="horz" lIns="0" tIns="0" rIns="0" bIns="0" rtlCol="0" anchor="t">
            <a:noAutofit/>
          </a:bodyPr>
          <a:lstStyle/>
          <a:p>
            <a:pPr>
              <a:lnSpc>
                <a:spcPct val="113999"/>
              </a:lnSpc>
            </a:pPr>
            <a:endParaRPr lang="en-US" sz="2000" i="1" dirty="0">
              <a:ea typeface="+mn-lt"/>
              <a:cs typeface="+mn-lt"/>
            </a:endParaRPr>
          </a:p>
          <a:p>
            <a:pPr>
              <a:lnSpc>
                <a:spcPct val="113999"/>
              </a:lnSpc>
            </a:pPr>
            <a:r>
              <a:rPr lang="en-US" sz="2000" i="1" dirty="0">
                <a:ea typeface="+mn-lt"/>
                <a:cs typeface="+mn-lt"/>
              </a:rPr>
              <a:t>where a vessel involved in the collision or another vessel owned by the owner of the vessel has been arrested </a:t>
            </a:r>
            <a:r>
              <a:rPr lang="en-US" sz="2000" i="1" dirty="0">
                <a:solidFill>
                  <a:srgbClr val="FF0000"/>
                </a:solidFill>
                <a:ea typeface="+mn-lt"/>
                <a:cs typeface="+mn-lt"/>
              </a:rPr>
              <a:t>and the arrest has not been challenged or, if challenged, has been uphold</a:t>
            </a:r>
            <a:r>
              <a:rPr lang="en-US" sz="2000" i="1" dirty="0">
                <a:ea typeface="+mn-lt"/>
                <a:cs typeface="+mn-lt"/>
              </a:rPr>
              <a:t>, or where the arrest has been lifted by the provision of security </a:t>
            </a:r>
            <a:endParaRPr lang="en-US" sz="800" i="1" dirty="0">
              <a:ea typeface="+mn-lt"/>
              <a:cs typeface="+mn-lt"/>
            </a:endParaRPr>
          </a:p>
          <a:p>
            <a:pPr>
              <a:lnSpc>
                <a:spcPct val="113999"/>
              </a:lnSpc>
            </a:pPr>
            <a:endParaRPr lang="en-US" sz="800" i="1" dirty="0">
              <a:ea typeface="+mn-lt"/>
              <a:cs typeface="+mn-lt"/>
            </a:endParaRPr>
          </a:p>
        </p:txBody>
      </p:sp>
      <p:sp>
        <p:nvSpPr>
          <p:cNvPr id="5" name="Inhaltsplatzhalter 4">
            <a:extLst>
              <a:ext uri="{FF2B5EF4-FFF2-40B4-BE49-F238E27FC236}">
                <a16:creationId xmlns:a16="http://schemas.microsoft.com/office/drawing/2014/main" id="{2638641C-C748-4B93-BCEE-D70D2FA1AF8D}"/>
              </a:ext>
            </a:extLst>
          </p:cNvPr>
          <p:cNvSpPr>
            <a:spLocks noGrp="1"/>
          </p:cNvSpPr>
          <p:nvPr>
            <p:ph idx="13"/>
          </p:nvPr>
        </p:nvSpPr>
        <p:spPr/>
        <p:txBody>
          <a:bodyPr/>
          <a:lstStyle/>
          <a:p>
            <a:r>
              <a:rPr lang="en-US" sz="2000" dirty="0">
                <a:ea typeface="+mn-lt"/>
                <a:cs typeface="+mn-lt"/>
              </a:rPr>
              <a:t>Art. 1 (1) (c):</a:t>
            </a:r>
          </a:p>
          <a:p>
            <a:r>
              <a:rPr lang="en-US" sz="2000" i="1" dirty="0">
                <a:ea typeface="+mn-lt"/>
                <a:cs typeface="+mn-lt"/>
              </a:rPr>
              <a:t>where a vessel involved in the collision (other than the plaintiff's own vessel) or a vessel under the same ownership lawfully subject to arrest, has been arrested or security has been provided to avoid arrest on account of the collision</a:t>
            </a:r>
            <a:endParaRPr lang="de-DE" sz="2000" i="1" dirty="0">
              <a:solidFill>
                <a:srgbClr val="FF0000"/>
              </a:solidFill>
              <a:ea typeface="+mn-lt"/>
              <a:cs typeface="+mn-lt"/>
            </a:endParaRPr>
          </a:p>
        </p:txBody>
      </p:sp>
      <p:sp>
        <p:nvSpPr>
          <p:cNvPr id="3" name="Datumsplatzhalter 2">
            <a:extLst>
              <a:ext uri="{FF2B5EF4-FFF2-40B4-BE49-F238E27FC236}">
                <a16:creationId xmlns:a16="http://schemas.microsoft.com/office/drawing/2014/main" id="{45D255C6-CF61-9FF2-8DC9-A337E7A229A9}"/>
              </a:ext>
            </a:extLst>
          </p:cNvPr>
          <p:cNvSpPr>
            <a:spLocks noGrp="1"/>
          </p:cNvSpPr>
          <p:nvPr>
            <p:ph type="dt" sz="half" idx="14"/>
          </p:nvPr>
        </p:nvSpPr>
        <p:spPr/>
        <p:txBody>
          <a:bodyPr/>
          <a:lstStyle/>
          <a:p>
            <a:r>
              <a:rPr lang="de-DE" dirty="0"/>
              <a:t>14.06.2026</a:t>
            </a:r>
          </a:p>
        </p:txBody>
      </p:sp>
      <p:sp>
        <p:nvSpPr>
          <p:cNvPr id="2" name="Fußzeilenplatzhalter 1">
            <a:extLst>
              <a:ext uri="{FF2B5EF4-FFF2-40B4-BE49-F238E27FC236}">
                <a16:creationId xmlns:a16="http://schemas.microsoft.com/office/drawing/2014/main" id="{F3E42573-5519-4FB6-3C9D-5684DBA5D97D}"/>
              </a:ext>
            </a:extLst>
          </p:cNvPr>
          <p:cNvSpPr>
            <a:spLocks noGrp="1"/>
          </p:cNvSpPr>
          <p:nvPr>
            <p:ph type="ftr" sz="quarter" idx="15"/>
          </p:nvPr>
        </p:nvSpPr>
        <p:spPr/>
        <p:txBody>
          <a:bodyPr/>
          <a:lstStyle/>
          <a:p>
            <a:r>
              <a:rPr lang="de-DE" dirty="0">
                <a:cs typeface="Arial"/>
              </a:rPr>
              <a:t>CMI Colloquium Rio de Janeiro 2026 – Dieter Schwampe </a:t>
            </a:r>
          </a:p>
        </p:txBody>
      </p:sp>
      <p:sp>
        <p:nvSpPr>
          <p:cNvPr id="4" name="Foliennummernplatzhalter 3">
            <a:extLst>
              <a:ext uri="{FF2B5EF4-FFF2-40B4-BE49-F238E27FC236}">
                <a16:creationId xmlns:a16="http://schemas.microsoft.com/office/drawing/2014/main" id="{E8DE8F95-9EF0-4207-994F-C6D186C91390}"/>
              </a:ext>
            </a:extLst>
          </p:cNvPr>
          <p:cNvSpPr>
            <a:spLocks noGrp="1"/>
          </p:cNvSpPr>
          <p:nvPr>
            <p:ph type="sldNum" sz="quarter" idx="16"/>
          </p:nvPr>
        </p:nvSpPr>
        <p:spPr/>
        <p:txBody>
          <a:bodyPr/>
          <a:lstStyle/>
          <a:p>
            <a:fld id="{EFDB17C1-FF3A-45DC-94C1-44444C959F3B}" type="slidenum">
              <a:rPr lang="de-DE" smtClean="0"/>
              <a:pPr/>
              <a:t>12</a:t>
            </a:fld>
            <a:endParaRPr lang="de-DE"/>
          </a:p>
        </p:txBody>
      </p:sp>
      <p:sp>
        <p:nvSpPr>
          <p:cNvPr id="9" name="Title 8">
            <a:extLst>
              <a:ext uri="{FF2B5EF4-FFF2-40B4-BE49-F238E27FC236}">
                <a16:creationId xmlns:a16="http://schemas.microsoft.com/office/drawing/2014/main" id="{EDAE61D0-B8DF-5774-7846-563F581DCD69}"/>
              </a:ext>
            </a:extLst>
          </p:cNvPr>
          <p:cNvSpPr>
            <a:spLocks noGrp="1"/>
          </p:cNvSpPr>
          <p:nvPr>
            <p:ph type="title"/>
          </p:nvPr>
        </p:nvSpPr>
        <p:spPr/>
        <p:txBody>
          <a:bodyPr/>
          <a:lstStyle/>
          <a:p>
            <a:r>
              <a:rPr lang="de-DE" b="1" dirty="0"/>
              <a:t>Art. 9.3 </a:t>
            </a:r>
            <a:r>
              <a:rPr lang="de-DE" b="1" dirty="0" err="1"/>
              <a:t>Draft</a:t>
            </a:r>
            <a:r>
              <a:rPr lang="de-DE" b="1" dirty="0"/>
              <a:t> Protocol and </a:t>
            </a:r>
            <a:r>
              <a:rPr lang="de-DE" b="1" dirty="0" err="1"/>
              <a:t>the</a:t>
            </a:r>
            <a:r>
              <a:rPr lang="de-DE" b="1" dirty="0"/>
              <a:t> 1952 </a:t>
            </a:r>
            <a:r>
              <a:rPr lang="de-DE" b="1" dirty="0" err="1"/>
              <a:t>Jurisidction</a:t>
            </a:r>
            <a:r>
              <a:rPr lang="de-DE" b="1" dirty="0"/>
              <a:t> </a:t>
            </a:r>
            <a:r>
              <a:rPr lang="de-DE" b="1" dirty="0" err="1"/>
              <a:t>convention</a:t>
            </a:r>
            <a:endParaRPr lang="en-US" b="1" dirty="0">
              <a:cs typeface="Arial"/>
            </a:endParaRPr>
          </a:p>
        </p:txBody>
      </p:sp>
      <p:sp>
        <p:nvSpPr>
          <p:cNvPr id="6" name="Title 8">
            <a:extLst>
              <a:ext uri="{FF2B5EF4-FFF2-40B4-BE49-F238E27FC236}">
                <a16:creationId xmlns:a16="http://schemas.microsoft.com/office/drawing/2014/main" id="{9167FF90-1B48-6A17-F480-82BBED10B24E}"/>
              </a:ext>
            </a:extLst>
          </p:cNvPr>
          <p:cNvSpPr txBox="1">
            <a:spLocks/>
          </p:cNvSpPr>
          <p:nvPr/>
        </p:nvSpPr>
        <p:spPr>
          <a:xfrm>
            <a:off x="410151" y="1176611"/>
            <a:ext cx="9018000" cy="265460"/>
          </a:xfrm>
          <a:prstGeom prst="rect">
            <a:avLst/>
          </a:prstGeom>
        </p:spPr>
        <p:txBody>
          <a:bodyPr vert="horz" lIns="0" tIns="0" rIns="0" bIns="0" rtlCol="0" anchor="b" anchorCtr="0">
            <a:noAutofit/>
          </a:bodyPr>
          <a:lstStyle>
            <a:lvl1pPr algn="l" defTabSz="903006" rtl="0" eaLnBrk="1" latinLnBrk="0" hangingPunct="1">
              <a:lnSpc>
                <a:spcPct val="100000"/>
              </a:lnSpc>
              <a:spcBef>
                <a:spcPct val="0"/>
              </a:spcBef>
              <a:buNone/>
              <a:defRPr sz="2200" b="0" kern="1200" cap="all" baseline="0">
                <a:solidFill>
                  <a:schemeClr val="tx1"/>
                </a:solidFill>
                <a:latin typeface="+mj-lt"/>
                <a:ea typeface="+mj-ea"/>
                <a:cs typeface="+mj-cs"/>
              </a:defRPr>
            </a:lvl1pPr>
          </a:lstStyle>
          <a:p>
            <a:r>
              <a:rPr lang="de-DE" sz="1400" b="1" dirty="0"/>
              <a:t>               Protocol 				                  Rio draft 1977</a:t>
            </a:r>
            <a:endParaRPr lang="en-US" sz="1400" b="1" dirty="0">
              <a:cs typeface="Arial"/>
            </a:endParaRPr>
          </a:p>
        </p:txBody>
      </p:sp>
    </p:spTree>
    <p:custDataLst>
      <p:tags r:id="rId1"/>
    </p:custDataLst>
    <p:extLst>
      <p:ext uri="{BB962C8B-B14F-4D97-AF65-F5344CB8AC3E}">
        <p14:creationId xmlns:p14="http://schemas.microsoft.com/office/powerpoint/2010/main" val="40959259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586A58-CDC0-95AF-B670-84A4AB51F963}"/>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9CC0E82F-B0A0-048F-9EB5-6F2F9790C5B1}"/>
              </a:ext>
            </a:extLst>
          </p:cNvPr>
          <p:cNvSpPr>
            <a:spLocks noGrp="1"/>
          </p:cNvSpPr>
          <p:nvPr>
            <p:ph idx="1" hasCustomPrompt="1"/>
          </p:nvPr>
        </p:nvSpPr>
        <p:spPr/>
        <p:txBody>
          <a:bodyPr vert="horz" lIns="0" tIns="0" rIns="0" bIns="0" rtlCol="0" anchor="t">
            <a:noAutofit/>
          </a:bodyPr>
          <a:lstStyle/>
          <a:p>
            <a:pPr>
              <a:lnSpc>
                <a:spcPct val="113999"/>
              </a:lnSpc>
            </a:pPr>
            <a:endParaRPr lang="en-US" sz="2000" i="1" dirty="0">
              <a:ea typeface="+mn-lt"/>
              <a:cs typeface="+mn-lt"/>
            </a:endParaRPr>
          </a:p>
          <a:p>
            <a:pPr>
              <a:lnSpc>
                <a:spcPct val="113999"/>
              </a:lnSpc>
            </a:pPr>
            <a:r>
              <a:rPr lang="en-US" sz="2000" i="1" dirty="0">
                <a:ea typeface="+mn-lt"/>
                <a:cs typeface="+mn-lt"/>
              </a:rPr>
              <a:t>where a vessel involved in the collision or another vessel owned by the owner of the vessel has been arrested </a:t>
            </a:r>
            <a:r>
              <a:rPr lang="en-US" sz="2000" i="1" dirty="0">
                <a:solidFill>
                  <a:srgbClr val="FF0000"/>
                </a:solidFill>
                <a:ea typeface="+mn-lt"/>
                <a:cs typeface="+mn-lt"/>
              </a:rPr>
              <a:t>and the arrest has not been challenged or, if challenged, has been uphold</a:t>
            </a:r>
            <a:r>
              <a:rPr lang="en-US" sz="2000" i="1" dirty="0">
                <a:ea typeface="+mn-lt"/>
                <a:cs typeface="+mn-lt"/>
              </a:rPr>
              <a:t>, or where the arrest has been lifted by the provision of security; </a:t>
            </a:r>
            <a:endParaRPr lang="en-US" sz="800" i="1" dirty="0">
              <a:ea typeface="+mn-lt"/>
              <a:cs typeface="+mn-lt"/>
            </a:endParaRPr>
          </a:p>
          <a:p>
            <a:pPr>
              <a:lnSpc>
                <a:spcPct val="113999"/>
              </a:lnSpc>
            </a:pPr>
            <a:endParaRPr lang="en-US" sz="800" i="1" dirty="0">
              <a:ea typeface="+mn-lt"/>
              <a:cs typeface="+mn-lt"/>
            </a:endParaRPr>
          </a:p>
        </p:txBody>
      </p:sp>
      <p:sp>
        <p:nvSpPr>
          <p:cNvPr id="5" name="Inhaltsplatzhalter 4">
            <a:extLst>
              <a:ext uri="{FF2B5EF4-FFF2-40B4-BE49-F238E27FC236}">
                <a16:creationId xmlns:a16="http://schemas.microsoft.com/office/drawing/2014/main" id="{F8A70E4E-ED07-56BB-F0B2-59DA7854B8AD}"/>
              </a:ext>
            </a:extLst>
          </p:cNvPr>
          <p:cNvSpPr>
            <a:spLocks noGrp="1"/>
          </p:cNvSpPr>
          <p:nvPr>
            <p:ph idx="13"/>
          </p:nvPr>
        </p:nvSpPr>
        <p:spPr/>
        <p:txBody>
          <a:bodyPr/>
          <a:lstStyle/>
          <a:p>
            <a:r>
              <a:rPr lang="en-US" sz="2000" dirty="0">
                <a:ea typeface="+mn-lt"/>
                <a:cs typeface="+mn-lt"/>
              </a:rPr>
              <a:t>Art. 1 (1) (b):</a:t>
            </a:r>
          </a:p>
          <a:p>
            <a:r>
              <a:rPr lang="en-US" sz="2000" i="1" dirty="0">
                <a:ea typeface="+mn-lt"/>
                <a:cs typeface="+mn-lt"/>
              </a:rPr>
              <a:t>or before the Court of the place where arrest has been effected of the defendant ship or of any other ship belonging to the defendant which can be lawfully arrested, or where arrest could have been effected and bail or other security has been furnished</a:t>
            </a:r>
            <a:endParaRPr lang="de-DE" sz="2000" i="1" dirty="0">
              <a:ea typeface="+mn-lt"/>
              <a:cs typeface="+mn-lt"/>
            </a:endParaRPr>
          </a:p>
        </p:txBody>
      </p:sp>
      <p:sp>
        <p:nvSpPr>
          <p:cNvPr id="3" name="Datumsplatzhalter 2">
            <a:extLst>
              <a:ext uri="{FF2B5EF4-FFF2-40B4-BE49-F238E27FC236}">
                <a16:creationId xmlns:a16="http://schemas.microsoft.com/office/drawing/2014/main" id="{309C405E-638A-28E0-098C-05F90F9A7FF6}"/>
              </a:ext>
            </a:extLst>
          </p:cNvPr>
          <p:cNvSpPr>
            <a:spLocks noGrp="1"/>
          </p:cNvSpPr>
          <p:nvPr>
            <p:ph type="dt" sz="half" idx="14"/>
          </p:nvPr>
        </p:nvSpPr>
        <p:spPr/>
        <p:txBody>
          <a:bodyPr/>
          <a:lstStyle/>
          <a:p>
            <a:r>
              <a:rPr lang="de-DE" dirty="0"/>
              <a:t>14.06.2026</a:t>
            </a:r>
          </a:p>
        </p:txBody>
      </p:sp>
      <p:sp>
        <p:nvSpPr>
          <p:cNvPr id="2" name="Fußzeilenplatzhalter 1">
            <a:extLst>
              <a:ext uri="{FF2B5EF4-FFF2-40B4-BE49-F238E27FC236}">
                <a16:creationId xmlns:a16="http://schemas.microsoft.com/office/drawing/2014/main" id="{A227C179-A85D-2433-800A-7EEC75F21517}"/>
              </a:ext>
            </a:extLst>
          </p:cNvPr>
          <p:cNvSpPr>
            <a:spLocks noGrp="1"/>
          </p:cNvSpPr>
          <p:nvPr>
            <p:ph type="ftr" sz="quarter" idx="15"/>
          </p:nvPr>
        </p:nvSpPr>
        <p:spPr/>
        <p:txBody>
          <a:bodyPr/>
          <a:lstStyle/>
          <a:p>
            <a:r>
              <a:rPr lang="de-DE" dirty="0">
                <a:cs typeface="Arial"/>
              </a:rPr>
              <a:t>CMI Colloquium Rio de Janeiro 2026 – Dieter Schwampe </a:t>
            </a:r>
          </a:p>
        </p:txBody>
      </p:sp>
      <p:sp>
        <p:nvSpPr>
          <p:cNvPr id="4" name="Foliennummernplatzhalter 3">
            <a:extLst>
              <a:ext uri="{FF2B5EF4-FFF2-40B4-BE49-F238E27FC236}">
                <a16:creationId xmlns:a16="http://schemas.microsoft.com/office/drawing/2014/main" id="{A5B5DCC1-6B7B-852A-DD48-47CF168C01A0}"/>
              </a:ext>
            </a:extLst>
          </p:cNvPr>
          <p:cNvSpPr>
            <a:spLocks noGrp="1"/>
          </p:cNvSpPr>
          <p:nvPr>
            <p:ph type="sldNum" sz="quarter" idx="16"/>
          </p:nvPr>
        </p:nvSpPr>
        <p:spPr/>
        <p:txBody>
          <a:bodyPr/>
          <a:lstStyle/>
          <a:p>
            <a:fld id="{EFDB17C1-FF3A-45DC-94C1-44444C959F3B}" type="slidenum">
              <a:rPr lang="de-DE" smtClean="0"/>
              <a:pPr/>
              <a:t>13</a:t>
            </a:fld>
            <a:endParaRPr lang="de-DE"/>
          </a:p>
        </p:txBody>
      </p:sp>
      <p:sp>
        <p:nvSpPr>
          <p:cNvPr id="9" name="Title 8">
            <a:extLst>
              <a:ext uri="{FF2B5EF4-FFF2-40B4-BE49-F238E27FC236}">
                <a16:creationId xmlns:a16="http://schemas.microsoft.com/office/drawing/2014/main" id="{ECD6A84D-8062-3713-088F-D4312D1F65DD}"/>
              </a:ext>
            </a:extLst>
          </p:cNvPr>
          <p:cNvSpPr>
            <a:spLocks noGrp="1"/>
          </p:cNvSpPr>
          <p:nvPr>
            <p:ph type="title"/>
          </p:nvPr>
        </p:nvSpPr>
        <p:spPr/>
        <p:txBody>
          <a:bodyPr/>
          <a:lstStyle/>
          <a:p>
            <a:r>
              <a:rPr lang="de-DE" b="1" dirty="0"/>
              <a:t>Art. 9.3 </a:t>
            </a:r>
            <a:r>
              <a:rPr lang="de-DE" b="1" dirty="0" err="1"/>
              <a:t>Draft</a:t>
            </a:r>
            <a:r>
              <a:rPr lang="de-DE" b="1" dirty="0"/>
              <a:t> Protocol and </a:t>
            </a:r>
            <a:r>
              <a:rPr lang="de-DE" b="1" dirty="0" err="1"/>
              <a:t>the</a:t>
            </a:r>
            <a:r>
              <a:rPr lang="de-DE" b="1" dirty="0"/>
              <a:t> 1952 </a:t>
            </a:r>
            <a:r>
              <a:rPr lang="de-DE" b="1" dirty="0" err="1"/>
              <a:t>Jurisidction</a:t>
            </a:r>
            <a:r>
              <a:rPr lang="de-DE" b="1" dirty="0"/>
              <a:t> </a:t>
            </a:r>
            <a:r>
              <a:rPr lang="de-DE" b="1" dirty="0" err="1"/>
              <a:t>convention</a:t>
            </a:r>
            <a:endParaRPr lang="en-US" b="1" dirty="0">
              <a:cs typeface="Arial"/>
            </a:endParaRPr>
          </a:p>
        </p:txBody>
      </p:sp>
      <p:sp>
        <p:nvSpPr>
          <p:cNvPr id="6" name="Title 8">
            <a:extLst>
              <a:ext uri="{FF2B5EF4-FFF2-40B4-BE49-F238E27FC236}">
                <a16:creationId xmlns:a16="http://schemas.microsoft.com/office/drawing/2014/main" id="{FEA901E4-85CE-CC8B-A2B9-CFCA076FE986}"/>
              </a:ext>
            </a:extLst>
          </p:cNvPr>
          <p:cNvSpPr txBox="1">
            <a:spLocks/>
          </p:cNvSpPr>
          <p:nvPr/>
        </p:nvSpPr>
        <p:spPr>
          <a:xfrm>
            <a:off x="410151" y="1176611"/>
            <a:ext cx="9018000" cy="265460"/>
          </a:xfrm>
          <a:prstGeom prst="rect">
            <a:avLst/>
          </a:prstGeom>
        </p:spPr>
        <p:txBody>
          <a:bodyPr vert="horz" lIns="0" tIns="0" rIns="0" bIns="0" rtlCol="0" anchor="b" anchorCtr="0">
            <a:noAutofit/>
          </a:bodyPr>
          <a:lstStyle>
            <a:lvl1pPr algn="l" defTabSz="903006" rtl="0" eaLnBrk="1" latinLnBrk="0" hangingPunct="1">
              <a:lnSpc>
                <a:spcPct val="100000"/>
              </a:lnSpc>
              <a:spcBef>
                <a:spcPct val="0"/>
              </a:spcBef>
              <a:buNone/>
              <a:defRPr sz="2200" b="0" kern="1200" cap="all" baseline="0">
                <a:solidFill>
                  <a:schemeClr val="tx1"/>
                </a:solidFill>
                <a:latin typeface="+mj-lt"/>
                <a:ea typeface="+mj-ea"/>
                <a:cs typeface="+mj-cs"/>
              </a:defRPr>
            </a:lvl1pPr>
          </a:lstStyle>
          <a:p>
            <a:r>
              <a:rPr lang="de-DE" sz="1400" b="1" dirty="0"/>
              <a:t>               Protocol 				      1952 </a:t>
            </a:r>
            <a:r>
              <a:rPr lang="de-DE" sz="1400" b="1" dirty="0" err="1"/>
              <a:t>Jurisdiction</a:t>
            </a:r>
            <a:r>
              <a:rPr lang="de-DE" sz="1400" b="1" dirty="0"/>
              <a:t> </a:t>
            </a:r>
            <a:r>
              <a:rPr lang="de-DE" sz="1400" b="1" dirty="0" err="1"/>
              <a:t>convention</a:t>
            </a:r>
            <a:endParaRPr lang="en-US" sz="1400" b="1" dirty="0">
              <a:cs typeface="Arial"/>
            </a:endParaRPr>
          </a:p>
        </p:txBody>
      </p:sp>
    </p:spTree>
    <p:custDataLst>
      <p:tags r:id="rId1"/>
    </p:custDataLst>
    <p:extLst>
      <p:ext uri="{BB962C8B-B14F-4D97-AF65-F5344CB8AC3E}">
        <p14:creationId xmlns:p14="http://schemas.microsoft.com/office/powerpoint/2010/main" val="11503837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18BC75-0AFF-4250-849C-799CB23B85A2}"/>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92BCDD1-BF00-4038-3C34-E090FCBCACB4}"/>
              </a:ext>
            </a:extLst>
          </p:cNvPr>
          <p:cNvSpPr>
            <a:spLocks noGrp="1"/>
          </p:cNvSpPr>
          <p:nvPr>
            <p:ph idx="1" hasCustomPrompt="1"/>
          </p:nvPr>
        </p:nvSpPr>
        <p:spPr/>
        <p:txBody>
          <a:bodyPr vert="horz" lIns="0" tIns="0" rIns="0" bIns="0" rtlCol="0" anchor="t">
            <a:noAutofit/>
          </a:bodyPr>
          <a:lstStyle/>
          <a:p>
            <a:pPr>
              <a:lnSpc>
                <a:spcPct val="113999"/>
              </a:lnSpc>
            </a:pPr>
            <a:endParaRPr lang="en-US" sz="2000" i="1" dirty="0">
              <a:ea typeface="+mn-lt"/>
              <a:cs typeface="+mn-lt"/>
            </a:endParaRPr>
          </a:p>
          <a:p>
            <a:pPr>
              <a:lnSpc>
                <a:spcPct val="113999"/>
              </a:lnSpc>
            </a:pPr>
            <a:r>
              <a:rPr lang="en-US" sz="2000" i="1" dirty="0">
                <a:ea typeface="+mn-lt"/>
                <a:cs typeface="+mn-lt"/>
              </a:rPr>
              <a:t>where a limitation fund has been properly constituted by the defendant in accordance with the law of that State on account of the collision.</a:t>
            </a:r>
            <a:endParaRPr lang="en-US" sz="800" i="1" dirty="0">
              <a:ea typeface="+mn-lt"/>
              <a:cs typeface="+mn-lt"/>
            </a:endParaRPr>
          </a:p>
        </p:txBody>
      </p:sp>
      <p:sp>
        <p:nvSpPr>
          <p:cNvPr id="5" name="Inhaltsplatzhalter 4">
            <a:extLst>
              <a:ext uri="{FF2B5EF4-FFF2-40B4-BE49-F238E27FC236}">
                <a16:creationId xmlns:a16="http://schemas.microsoft.com/office/drawing/2014/main" id="{CB744F9F-D1D3-65F6-6B28-C552C2E09B0A}"/>
              </a:ext>
            </a:extLst>
          </p:cNvPr>
          <p:cNvSpPr>
            <a:spLocks noGrp="1"/>
          </p:cNvSpPr>
          <p:nvPr>
            <p:ph idx="13"/>
          </p:nvPr>
        </p:nvSpPr>
        <p:spPr/>
        <p:txBody>
          <a:bodyPr/>
          <a:lstStyle/>
          <a:p>
            <a:endParaRPr lang="de-DE" sz="2000" dirty="0">
              <a:solidFill>
                <a:srgbClr val="FF0000"/>
              </a:solidFill>
              <a:ea typeface="+mn-lt"/>
              <a:cs typeface="+mn-lt"/>
            </a:endParaRPr>
          </a:p>
          <a:p>
            <a:endParaRPr lang="de-DE" sz="2000" dirty="0">
              <a:solidFill>
                <a:srgbClr val="FF0000"/>
              </a:solidFill>
              <a:ea typeface="+mn-lt"/>
              <a:cs typeface="+mn-lt"/>
            </a:endParaRPr>
          </a:p>
          <a:p>
            <a:r>
              <a:rPr lang="de-DE" sz="2000" dirty="0">
                <a:solidFill>
                  <a:srgbClr val="625578"/>
                </a:solidFill>
                <a:ea typeface="+mn-lt"/>
                <a:cs typeface="+mn-lt"/>
              </a:rPr>
              <a:t>		xxx</a:t>
            </a:r>
          </a:p>
        </p:txBody>
      </p:sp>
      <p:sp>
        <p:nvSpPr>
          <p:cNvPr id="3" name="Datumsplatzhalter 2">
            <a:extLst>
              <a:ext uri="{FF2B5EF4-FFF2-40B4-BE49-F238E27FC236}">
                <a16:creationId xmlns:a16="http://schemas.microsoft.com/office/drawing/2014/main" id="{84B61666-FE8A-3A31-EF0C-0D0CC2484DD6}"/>
              </a:ext>
            </a:extLst>
          </p:cNvPr>
          <p:cNvSpPr>
            <a:spLocks noGrp="1"/>
          </p:cNvSpPr>
          <p:nvPr>
            <p:ph type="dt" sz="half" idx="14"/>
          </p:nvPr>
        </p:nvSpPr>
        <p:spPr/>
        <p:txBody>
          <a:bodyPr/>
          <a:lstStyle/>
          <a:p>
            <a:r>
              <a:rPr lang="de-DE" dirty="0"/>
              <a:t>14.06.2026</a:t>
            </a:r>
          </a:p>
        </p:txBody>
      </p:sp>
      <p:sp>
        <p:nvSpPr>
          <p:cNvPr id="2" name="Fußzeilenplatzhalter 1">
            <a:extLst>
              <a:ext uri="{FF2B5EF4-FFF2-40B4-BE49-F238E27FC236}">
                <a16:creationId xmlns:a16="http://schemas.microsoft.com/office/drawing/2014/main" id="{176F7E72-0FF6-E9CD-11B9-242C6957C13E}"/>
              </a:ext>
            </a:extLst>
          </p:cNvPr>
          <p:cNvSpPr>
            <a:spLocks noGrp="1"/>
          </p:cNvSpPr>
          <p:nvPr>
            <p:ph type="ftr" sz="quarter" idx="15"/>
          </p:nvPr>
        </p:nvSpPr>
        <p:spPr/>
        <p:txBody>
          <a:bodyPr/>
          <a:lstStyle/>
          <a:p>
            <a:r>
              <a:rPr lang="de-DE" dirty="0">
                <a:cs typeface="Arial"/>
              </a:rPr>
              <a:t>CMI Colloquium Rio de Janeiro 2026 – Dieter Schwampe </a:t>
            </a:r>
          </a:p>
        </p:txBody>
      </p:sp>
      <p:sp>
        <p:nvSpPr>
          <p:cNvPr id="4" name="Foliennummernplatzhalter 3">
            <a:extLst>
              <a:ext uri="{FF2B5EF4-FFF2-40B4-BE49-F238E27FC236}">
                <a16:creationId xmlns:a16="http://schemas.microsoft.com/office/drawing/2014/main" id="{EAC492A1-8BEA-B480-AB2E-2F29DEE8138B}"/>
              </a:ext>
            </a:extLst>
          </p:cNvPr>
          <p:cNvSpPr>
            <a:spLocks noGrp="1"/>
          </p:cNvSpPr>
          <p:nvPr>
            <p:ph type="sldNum" sz="quarter" idx="16"/>
          </p:nvPr>
        </p:nvSpPr>
        <p:spPr/>
        <p:txBody>
          <a:bodyPr/>
          <a:lstStyle/>
          <a:p>
            <a:fld id="{EFDB17C1-FF3A-45DC-94C1-44444C959F3B}" type="slidenum">
              <a:rPr lang="de-DE" smtClean="0"/>
              <a:pPr/>
              <a:t>14</a:t>
            </a:fld>
            <a:endParaRPr lang="de-DE"/>
          </a:p>
        </p:txBody>
      </p:sp>
      <p:sp>
        <p:nvSpPr>
          <p:cNvPr id="9" name="Title 8">
            <a:extLst>
              <a:ext uri="{FF2B5EF4-FFF2-40B4-BE49-F238E27FC236}">
                <a16:creationId xmlns:a16="http://schemas.microsoft.com/office/drawing/2014/main" id="{DEBDA9C7-BD47-B35F-A729-46D70360E2F5}"/>
              </a:ext>
            </a:extLst>
          </p:cNvPr>
          <p:cNvSpPr>
            <a:spLocks noGrp="1"/>
          </p:cNvSpPr>
          <p:nvPr>
            <p:ph type="title"/>
          </p:nvPr>
        </p:nvSpPr>
        <p:spPr/>
        <p:txBody>
          <a:bodyPr/>
          <a:lstStyle/>
          <a:p>
            <a:r>
              <a:rPr lang="de-DE" b="1" dirty="0"/>
              <a:t>Art. 9.3 </a:t>
            </a:r>
            <a:r>
              <a:rPr lang="de-DE" b="1" dirty="0" err="1"/>
              <a:t>Draft</a:t>
            </a:r>
            <a:r>
              <a:rPr lang="de-DE" b="1" dirty="0"/>
              <a:t> Protocol and </a:t>
            </a:r>
            <a:r>
              <a:rPr lang="de-DE" b="1" dirty="0" err="1"/>
              <a:t>the</a:t>
            </a:r>
            <a:r>
              <a:rPr lang="de-DE" b="1" dirty="0"/>
              <a:t> 1952 </a:t>
            </a:r>
            <a:r>
              <a:rPr lang="de-DE" b="1" dirty="0" err="1"/>
              <a:t>Jurisidction</a:t>
            </a:r>
            <a:r>
              <a:rPr lang="de-DE" b="1" dirty="0"/>
              <a:t> </a:t>
            </a:r>
            <a:r>
              <a:rPr lang="de-DE" b="1" dirty="0" err="1"/>
              <a:t>convention</a:t>
            </a:r>
            <a:endParaRPr lang="en-US" b="1" dirty="0">
              <a:cs typeface="Arial"/>
            </a:endParaRPr>
          </a:p>
        </p:txBody>
      </p:sp>
      <p:sp>
        <p:nvSpPr>
          <p:cNvPr id="6" name="Title 8">
            <a:extLst>
              <a:ext uri="{FF2B5EF4-FFF2-40B4-BE49-F238E27FC236}">
                <a16:creationId xmlns:a16="http://schemas.microsoft.com/office/drawing/2014/main" id="{53B646E5-CC14-F80A-BC8E-AE3B992A3DAE}"/>
              </a:ext>
            </a:extLst>
          </p:cNvPr>
          <p:cNvSpPr txBox="1">
            <a:spLocks/>
          </p:cNvSpPr>
          <p:nvPr/>
        </p:nvSpPr>
        <p:spPr>
          <a:xfrm>
            <a:off x="410151" y="1176611"/>
            <a:ext cx="9018000" cy="265460"/>
          </a:xfrm>
          <a:prstGeom prst="rect">
            <a:avLst/>
          </a:prstGeom>
        </p:spPr>
        <p:txBody>
          <a:bodyPr vert="horz" lIns="0" tIns="0" rIns="0" bIns="0" rtlCol="0" anchor="b" anchorCtr="0">
            <a:noAutofit/>
          </a:bodyPr>
          <a:lstStyle>
            <a:lvl1pPr algn="l" defTabSz="903006" rtl="0" eaLnBrk="1" latinLnBrk="0" hangingPunct="1">
              <a:lnSpc>
                <a:spcPct val="100000"/>
              </a:lnSpc>
              <a:spcBef>
                <a:spcPct val="0"/>
              </a:spcBef>
              <a:buNone/>
              <a:defRPr sz="2200" b="0" kern="1200" cap="all" baseline="0">
                <a:solidFill>
                  <a:schemeClr val="tx1"/>
                </a:solidFill>
                <a:latin typeface="+mj-lt"/>
                <a:ea typeface="+mj-ea"/>
                <a:cs typeface="+mj-cs"/>
              </a:defRPr>
            </a:lvl1pPr>
          </a:lstStyle>
          <a:p>
            <a:r>
              <a:rPr lang="de-DE" sz="1400" b="1" dirty="0"/>
              <a:t>               Protocol 				      1952 </a:t>
            </a:r>
            <a:r>
              <a:rPr lang="de-DE" sz="1400" b="1" dirty="0" err="1"/>
              <a:t>Jurisdiction</a:t>
            </a:r>
            <a:r>
              <a:rPr lang="de-DE" sz="1400" b="1" dirty="0"/>
              <a:t> </a:t>
            </a:r>
            <a:r>
              <a:rPr lang="de-DE" sz="1400" b="1" dirty="0" err="1"/>
              <a:t>convention</a:t>
            </a:r>
            <a:endParaRPr lang="en-US" sz="1400" b="1" dirty="0">
              <a:cs typeface="Arial"/>
            </a:endParaRPr>
          </a:p>
        </p:txBody>
      </p:sp>
    </p:spTree>
    <p:custDataLst>
      <p:tags r:id="rId1"/>
    </p:custDataLst>
    <p:extLst>
      <p:ext uri="{BB962C8B-B14F-4D97-AF65-F5344CB8AC3E}">
        <p14:creationId xmlns:p14="http://schemas.microsoft.com/office/powerpoint/2010/main" val="8803973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679DB2-4C2D-5742-6010-CC640D127B25}"/>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8EE31B21-2CFB-4474-3CFE-A788CEFFD02B}"/>
              </a:ext>
            </a:extLst>
          </p:cNvPr>
          <p:cNvSpPr>
            <a:spLocks noGrp="1"/>
          </p:cNvSpPr>
          <p:nvPr>
            <p:ph idx="1" hasCustomPrompt="1"/>
          </p:nvPr>
        </p:nvSpPr>
        <p:spPr/>
        <p:txBody>
          <a:bodyPr vert="horz" lIns="0" tIns="0" rIns="0" bIns="0" rtlCol="0" anchor="t">
            <a:noAutofit/>
          </a:bodyPr>
          <a:lstStyle/>
          <a:p>
            <a:pPr>
              <a:lnSpc>
                <a:spcPct val="113999"/>
              </a:lnSpc>
            </a:pPr>
            <a:endParaRPr lang="en-US" sz="2000" i="1" dirty="0">
              <a:ea typeface="+mn-lt"/>
              <a:cs typeface="+mn-lt"/>
            </a:endParaRPr>
          </a:p>
          <a:p>
            <a:pPr>
              <a:lnSpc>
                <a:spcPct val="113999"/>
              </a:lnSpc>
            </a:pPr>
            <a:r>
              <a:rPr lang="en-US" sz="2000" i="1" dirty="0">
                <a:ea typeface="+mn-lt"/>
                <a:cs typeface="+mn-lt"/>
              </a:rPr>
              <a:t>where a limitation fund has been properly constituted by the defendant in accordance with the law of that State on account of the collision.</a:t>
            </a:r>
            <a:endParaRPr lang="en-US" sz="800" i="1" dirty="0">
              <a:ea typeface="+mn-lt"/>
              <a:cs typeface="+mn-lt"/>
            </a:endParaRPr>
          </a:p>
        </p:txBody>
      </p:sp>
      <p:sp>
        <p:nvSpPr>
          <p:cNvPr id="5" name="Inhaltsplatzhalter 4">
            <a:extLst>
              <a:ext uri="{FF2B5EF4-FFF2-40B4-BE49-F238E27FC236}">
                <a16:creationId xmlns:a16="http://schemas.microsoft.com/office/drawing/2014/main" id="{28E95B3C-946E-FFC3-7C8A-E0E5A054E6D3}"/>
              </a:ext>
            </a:extLst>
          </p:cNvPr>
          <p:cNvSpPr>
            <a:spLocks noGrp="1"/>
          </p:cNvSpPr>
          <p:nvPr>
            <p:ph idx="13"/>
          </p:nvPr>
        </p:nvSpPr>
        <p:spPr/>
        <p:txBody>
          <a:bodyPr/>
          <a:lstStyle/>
          <a:p>
            <a:r>
              <a:rPr lang="de-DE" sz="2000" dirty="0">
                <a:solidFill>
                  <a:schemeClr val="tx1">
                    <a:lumMod val="50000"/>
                  </a:schemeClr>
                </a:solidFill>
                <a:ea typeface="+mn-lt"/>
                <a:cs typeface="+mn-lt"/>
              </a:rPr>
              <a:t>Art. 2 (1) (e)</a:t>
            </a:r>
          </a:p>
          <a:p>
            <a:r>
              <a:rPr lang="en-US" sz="2000" i="1" dirty="0">
                <a:ea typeface="+mn-lt"/>
                <a:cs typeface="+mn-lt"/>
              </a:rPr>
              <a:t>where a limitation fund has been properly constituted by the defendant in accordance with the law of that State on account of the collision.</a:t>
            </a:r>
            <a:endParaRPr lang="de-DE" sz="2000" i="1" dirty="0">
              <a:ea typeface="+mn-lt"/>
              <a:cs typeface="+mn-lt"/>
            </a:endParaRPr>
          </a:p>
        </p:txBody>
      </p:sp>
      <p:sp>
        <p:nvSpPr>
          <p:cNvPr id="3" name="Datumsplatzhalter 2">
            <a:extLst>
              <a:ext uri="{FF2B5EF4-FFF2-40B4-BE49-F238E27FC236}">
                <a16:creationId xmlns:a16="http://schemas.microsoft.com/office/drawing/2014/main" id="{CD81C299-5CD4-E252-A5BF-2BE8FE53CAC7}"/>
              </a:ext>
            </a:extLst>
          </p:cNvPr>
          <p:cNvSpPr>
            <a:spLocks noGrp="1"/>
          </p:cNvSpPr>
          <p:nvPr>
            <p:ph type="dt" sz="half" idx="14"/>
          </p:nvPr>
        </p:nvSpPr>
        <p:spPr/>
        <p:txBody>
          <a:bodyPr/>
          <a:lstStyle/>
          <a:p>
            <a:r>
              <a:rPr lang="de-DE" dirty="0"/>
              <a:t>14.06.2026</a:t>
            </a:r>
          </a:p>
        </p:txBody>
      </p:sp>
      <p:sp>
        <p:nvSpPr>
          <p:cNvPr id="2" name="Fußzeilenplatzhalter 1">
            <a:extLst>
              <a:ext uri="{FF2B5EF4-FFF2-40B4-BE49-F238E27FC236}">
                <a16:creationId xmlns:a16="http://schemas.microsoft.com/office/drawing/2014/main" id="{C22AC469-7EA8-F480-3BD1-5503E5E89D50}"/>
              </a:ext>
            </a:extLst>
          </p:cNvPr>
          <p:cNvSpPr>
            <a:spLocks noGrp="1"/>
          </p:cNvSpPr>
          <p:nvPr>
            <p:ph type="ftr" sz="quarter" idx="15"/>
          </p:nvPr>
        </p:nvSpPr>
        <p:spPr/>
        <p:txBody>
          <a:bodyPr/>
          <a:lstStyle/>
          <a:p>
            <a:r>
              <a:rPr lang="de-DE" dirty="0">
                <a:cs typeface="Arial"/>
              </a:rPr>
              <a:t>CMI Colloquium Rio de Janeiro 2026 – Dieter Schwampe </a:t>
            </a:r>
          </a:p>
        </p:txBody>
      </p:sp>
      <p:sp>
        <p:nvSpPr>
          <p:cNvPr id="4" name="Foliennummernplatzhalter 3">
            <a:extLst>
              <a:ext uri="{FF2B5EF4-FFF2-40B4-BE49-F238E27FC236}">
                <a16:creationId xmlns:a16="http://schemas.microsoft.com/office/drawing/2014/main" id="{97A2D041-4AA0-D150-A42A-E6FEFC8A23AD}"/>
              </a:ext>
            </a:extLst>
          </p:cNvPr>
          <p:cNvSpPr>
            <a:spLocks noGrp="1"/>
          </p:cNvSpPr>
          <p:nvPr>
            <p:ph type="sldNum" sz="quarter" idx="16"/>
          </p:nvPr>
        </p:nvSpPr>
        <p:spPr/>
        <p:txBody>
          <a:bodyPr/>
          <a:lstStyle/>
          <a:p>
            <a:fld id="{EFDB17C1-FF3A-45DC-94C1-44444C959F3B}" type="slidenum">
              <a:rPr lang="de-DE" smtClean="0"/>
              <a:pPr/>
              <a:t>15</a:t>
            </a:fld>
            <a:endParaRPr lang="de-DE"/>
          </a:p>
        </p:txBody>
      </p:sp>
      <p:sp>
        <p:nvSpPr>
          <p:cNvPr id="9" name="Title 8">
            <a:extLst>
              <a:ext uri="{FF2B5EF4-FFF2-40B4-BE49-F238E27FC236}">
                <a16:creationId xmlns:a16="http://schemas.microsoft.com/office/drawing/2014/main" id="{4063F3DF-2C27-AE6F-D175-1841E25B831B}"/>
              </a:ext>
            </a:extLst>
          </p:cNvPr>
          <p:cNvSpPr>
            <a:spLocks noGrp="1"/>
          </p:cNvSpPr>
          <p:nvPr>
            <p:ph type="title"/>
          </p:nvPr>
        </p:nvSpPr>
        <p:spPr/>
        <p:txBody>
          <a:bodyPr/>
          <a:lstStyle/>
          <a:p>
            <a:r>
              <a:rPr lang="de-DE" b="1" dirty="0"/>
              <a:t>Art. 9.3 </a:t>
            </a:r>
            <a:r>
              <a:rPr lang="de-DE" b="1" dirty="0" err="1"/>
              <a:t>Draft</a:t>
            </a:r>
            <a:r>
              <a:rPr lang="de-DE" b="1" dirty="0"/>
              <a:t> Protocol and </a:t>
            </a:r>
            <a:r>
              <a:rPr lang="de-DE" b="1" dirty="0" err="1"/>
              <a:t>the</a:t>
            </a:r>
            <a:r>
              <a:rPr lang="de-DE" b="1" dirty="0"/>
              <a:t> 1952 </a:t>
            </a:r>
            <a:r>
              <a:rPr lang="de-DE" b="1" dirty="0" err="1"/>
              <a:t>Jurisidction</a:t>
            </a:r>
            <a:r>
              <a:rPr lang="de-DE" b="1" dirty="0"/>
              <a:t> </a:t>
            </a:r>
            <a:r>
              <a:rPr lang="de-DE" b="1" dirty="0" err="1"/>
              <a:t>convention</a:t>
            </a:r>
            <a:endParaRPr lang="en-US" b="1" dirty="0">
              <a:cs typeface="Arial"/>
            </a:endParaRPr>
          </a:p>
        </p:txBody>
      </p:sp>
      <p:sp>
        <p:nvSpPr>
          <p:cNvPr id="6" name="Title 8">
            <a:extLst>
              <a:ext uri="{FF2B5EF4-FFF2-40B4-BE49-F238E27FC236}">
                <a16:creationId xmlns:a16="http://schemas.microsoft.com/office/drawing/2014/main" id="{BCC58414-B32D-7CA4-B32E-F1C08DF19B1E}"/>
              </a:ext>
            </a:extLst>
          </p:cNvPr>
          <p:cNvSpPr txBox="1">
            <a:spLocks/>
          </p:cNvSpPr>
          <p:nvPr/>
        </p:nvSpPr>
        <p:spPr>
          <a:xfrm>
            <a:off x="410151" y="1176611"/>
            <a:ext cx="9018000" cy="265460"/>
          </a:xfrm>
          <a:prstGeom prst="rect">
            <a:avLst/>
          </a:prstGeom>
        </p:spPr>
        <p:txBody>
          <a:bodyPr vert="horz" lIns="0" tIns="0" rIns="0" bIns="0" rtlCol="0" anchor="b" anchorCtr="0">
            <a:noAutofit/>
          </a:bodyPr>
          <a:lstStyle>
            <a:lvl1pPr algn="l" defTabSz="903006" rtl="0" eaLnBrk="1" latinLnBrk="0" hangingPunct="1">
              <a:lnSpc>
                <a:spcPct val="100000"/>
              </a:lnSpc>
              <a:spcBef>
                <a:spcPct val="0"/>
              </a:spcBef>
              <a:buNone/>
              <a:defRPr sz="2200" b="0" kern="1200" cap="all" baseline="0">
                <a:solidFill>
                  <a:schemeClr val="tx1"/>
                </a:solidFill>
                <a:latin typeface="+mj-lt"/>
                <a:ea typeface="+mj-ea"/>
                <a:cs typeface="+mj-cs"/>
              </a:defRPr>
            </a:lvl1pPr>
          </a:lstStyle>
          <a:p>
            <a:r>
              <a:rPr lang="de-DE" sz="1400" b="1" dirty="0"/>
              <a:t>               Protocol 				                  Rio draft 1977</a:t>
            </a:r>
            <a:endParaRPr lang="en-US" sz="1400" b="1" dirty="0">
              <a:cs typeface="Arial"/>
            </a:endParaRPr>
          </a:p>
        </p:txBody>
      </p:sp>
    </p:spTree>
    <p:custDataLst>
      <p:tags r:id="rId1"/>
    </p:custDataLst>
    <p:extLst>
      <p:ext uri="{BB962C8B-B14F-4D97-AF65-F5344CB8AC3E}">
        <p14:creationId xmlns:p14="http://schemas.microsoft.com/office/powerpoint/2010/main" val="21619168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B7FFE0-4B81-FE05-80BD-6428907CB867}"/>
              </a:ext>
            </a:extLst>
          </p:cNvPr>
          <p:cNvSpPr>
            <a:spLocks noGrp="1"/>
          </p:cNvSpPr>
          <p:nvPr>
            <p:ph type="title"/>
          </p:nvPr>
        </p:nvSpPr>
        <p:spPr>
          <a:xfrm>
            <a:off x="688302" y="3544478"/>
            <a:ext cx="2928508" cy="2638836"/>
          </a:xfrm>
        </p:spPr>
        <p:txBody>
          <a:bodyPr/>
          <a:lstStyle/>
          <a:p>
            <a:r>
              <a:rPr lang="de-DE" dirty="0" err="1"/>
              <a:t>Conflicting</a:t>
            </a:r>
            <a:r>
              <a:rPr lang="de-DE" dirty="0"/>
              <a:t> </a:t>
            </a:r>
            <a:r>
              <a:rPr lang="de-DE" dirty="0" err="1"/>
              <a:t>proceedings</a:t>
            </a:r>
            <a:endParaRPr lang="de-DE" dirty="0"/>
          </a:p>
        </p:txBody>
      </p:sp>
      <p:pic>
        <p:nvPicPr>
          <p:cNvPr id="7" name="Bildplatzhalter 6" descr="Ein Bild, das Frachtcontainer, Behälter, Containerschiff enthält.&#10;&#10;KI-generierte Inhalte können fehlerhaft sein.">
            <a:extLst>
              <a:ext uri="{FF2B5EF4-FFF2-40B4-BE49-F238E27FC236}">
                <a16:creationId xmlns:a16="http://schemas.microsoft.com/office/drawing/2014/main" id="{41F840F1-9DAF-367A-155C-AC8A62C8C941}"/>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8066" r="18066"/>
          <a:stretch>
            <a:fillRect/>
          </a:stretch>
        </p:blipFill>
        <p:spPr>
          <a:prstGeom prst="rect">
            <a:avLst/>
          </a:prstGeom>
          <a:solidFill>
            <a:srgbClr val="FFFFFF"/>
          </a:solidFill>
        </p:spPr>
      </p:pic>
    </p:spTree>
    <p:extLst>
      <p:ext uri="{BB962C8B-B14F-4D97-AF65-F5344CB8AC3E}">
        <p14:creationId xmlns:p14="http://schemas.microsoft.com/office/powerpoint/2010/main" val="18092529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4D2D2-B459-2E4C-3BFF-C4D2B441B262}"/>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32EE3AF3-B294-8202-ABAC-CA88E9AA1038}"/>
              </a:ext>
            </a:extLst>
          </p:cNvPr>
          <p:cNvSpPr>
            <a:spLocks noGrp="1"/>
          </p:cNvSpPr>
          <p:nvPr>
            <p:ph idx="1" hasCustomPrompt="1"/>
          </p:nvPr>
        </p:nvSpPr>
        <p:spPr/>
        <p:txBody>
          <a:bodyPr vert="horz" lIns="0" tIns="0" rIns="0" bIns="0" rtlCol="0" anchor="t">
            <a:noAutofit/>
          </a:bodyPr>
          <a:lstStyle/>
          <a:p>
            <a:pPr>
              <a:lnSpc>
                <a:spcPct val="113999"/>
              </a:lnSpc>
            </a:pPr>
            <a:endParaRPr lang="en-US" sz="2000" i="1" dirty="0">
              <a:ea typeface="+mn-lt"/>
              <a:cs typeface="+mn-lt"/>
            </a:endParaRPr>
          </a:p>
          <a:p>
            <a:pPr>
              <a:lnSpc>
                <a:spcPct val="113999"/>
              </a:lnSpc>
            </a:pPr>
            <a:r>
              <a:rPr lang="en-US" sz="2000" i="1" dirty="0">
                <a:ea typeface="+mn-lt"/>
                <a:cs typeface="+mn-lt"/>
              </a:rPr>
              <a:t>If an action on the merits of a collision is pending before a court of a State Party,</a:t>
            </a:r>
          </a:p>
          <a:p>
            <a:pPr>
              <a:lnSpc>
                <a:spcPct val="113999"/>
              </a:lnSpc>
            </a:pPr>
            <a:endParaRPr lang="en-US" sz="2000" i="1" dirty="0">
              <a:ea typeface="+mn-lt"/>
              <a:cs typeface="+mn-lt"/>
            </a:endParaRPr>
          </a:p>
          <a:p>
            <a:pPr>
              <a:lnSpc>
                <a:spcPct val="113999"/>
              </a:lnSpc>
            </a:pPr>
            <a:r>
              <a:rPr lang="en-US" sz="2000" i="1" dirty="0">
                <a:ea typeface="+mn-lt"/>
                <a:cs typeface="+mn-lt"/>
              </a:rPr>
              <a:t>(a) any action, whether by counterclaim, subrogation, recourse or otherwise relating to damages caused by the collision, which could reasonably risk leading to contradictory judgments if heard separately, may be brought before that court</a:t>
            </a:r>
          </a:p>
        </p:txBody>
      </p:sp>
      <p:sp>
        <p:nvSpPr>
          <p:cNvPr id="5" name="Inhaltsplatzhalter 4">
            <a:extLst>
              <a:ext uri="{FF2B5EF4-FFF2-40B4-BE49-F238E27FC236}">
                <a16:creationId xmlns:a16="http://schemas.microsoft.com/office/drawing/2014/main" id="{2D085049-469F-0B31-F9D8-662F21116890}"/>
              </a:ext>
            </a:extLst>
          </p:cNvPr>
          <p:cNvSpPr>
            <a:spLocks noGrp="1"/>
          </p:cNvSpPr>
          <p:nvPr>
            <p:ph idx="13"/>
          </p:nvPr>
        </p:nvSpPr>
        <p:spPr/>
        <p:txBody>
          <a:bodyPr/>
          <a:lstStyle/>
          <a:p>
            <a:endParaRPr lang="en-US" sz="2000" i="1" dirty="0">
              <a:ea typeface="+mn-lt"/>
              <a:cs typeface="+mn-lt"/>
            </a:endParaRPr>
          </a:p>
          <a:p>
            <a:endParaRPr lang="en-US" sz="2000" i="1" dirty="0">
              <a:ea typeface="+mn-lt"/>
              <a:cs typeface="+mn-lt"/>
            </a:endParaRPr>
          </a:p>
          <a:p>
            <a:r>
              <a:rPr lang="de-DE" sz="2000" i="1" dirty="0">
                <a:ea typeface="+mn-lt"/>
                <a:cs typeface="+mn-lt"/>
              </a:rPr>
              <a:t>		</a:t>
            </a:r>
            <a:r>
              <a:rPr lang="de-DE" sz="2000" dirty="0">
                <a:ea typeface="+mn-lt"/>
                <a:cs typeface="+mn-lt"/>
              </a:rPr>
              <a:t>xxx</a:t>
            </a:r>
            <a:endParaRPr lang="en-US" sz="2000" dirty="0">
              <a:ea typeface="+mn-lt"/>
              <a:cs typeface="+mn-lt"/>
            </a:endParaRPr>
          </a:p>
        </p:txBody>
      </p:sp>
      <p:sp>
        <p:nvSpPr>
          <p:cNvPr id="3" name="Datumsplatzhalter 2">
            <a:extLst>
              <a:ext uri="{FF2B5EF4-FFF2-40B4-BE49-F238E27FC236}">
                <a16:creationId xmlns:a16="http://schemas.microsoft.com/office/drawing/2014/main" id="{C3733DB1-FCB1-1DEC-50CF-183AE37A2FEB}"/>
              </a:ext>
            </a:extLst>
          </p:cNvPr>
          <p:cNvSpPr>
            <a:spLocks noGrp="1"/>
          </p:cNvSpPr>
          <p:nvPr>
            <p:ph type="dt" sz="half" idx="14"/>
          </p:nvPr>
        </p:nvSpPr>
        <p:spPr/>
        <p:txBody>
          <a:bodyPr/>
          <a:lstStyle/>
          <a:p>
            <a:r>
              <a:rPr lang="de-DE" dirty="0"/>
              <a:t>14.06.2026</a:t>
            </a:r>
          </a:p>
        </p:txBody>
      </p:sp>
      <p:sp>
        <p:nvSpPr>
          <p:cNvPr id="2" name="Fußzeilenplatzhalter 1">
            <a:extLst>
              <a:ext uri="{FF2B5EF4-FFF2-40B4-BE49-F238E27FC236}">
                <a16:creationId xmlns:a16="http://schemas.microsoft.com/office/drawing/2014/main" id="{2043D2A2-BDC2-1CAA-5846-5147C8BCBF60}"/>
              </a:ext>
            </a:extLst>
          </p:cNvPr>
          <p:cNvSpPr>
            <a:spLocks noGrp="1"/>
          </p:cNvSpPr>
          <p:nvPr>
            <p:ph type="ftr" sz="quarter" idx="15"/>
          </p:nvPr>
        </p:nvSpPr>
        <p:spPr/>
        <p:txBody>
          <a:bodyPr/>
          <a:lstStyle/>
          <a:p>
            <a:r>
              <a:rPr lang="de-DE" dirty="0">
                <a:cs typeface="Arial"/>
              </a:rPr>
              <a:t>CMI Colloquium Rio de Janeiro 2026 – Dieter Schwampe </a:t>
            </a:r>
          </a:p>
        </p:txBody>
      </p:sp>
      <p:sp>
        <p:nvSpPr>
          <p:cNvPr id="4" name="Foliennummernplatzhalter 3">
            <a:extLst>
              <a:ext uri="{FF2B5EF4-FFF2-40B4-BE49-F238E27FC236}">
                <a16:creationId xmlns:a16="http://schemas.microsoft.com/office/drawing/2014/main" id="{11DC72ED-AC52-DB64-09C5-0C92D96F9F08}"/>
              </a:ext>
            </a:extLst>
          </p:cNvPr>
          <p:cNvSpPr>
            <a:spLocks noGrp="1"/>
          </p:cNvSpPr>
          <p:nvPr>
            <p:ph type="sldNum" sz="quarter" idx="16"/>
          </p:nvPr>
        </p:nvSpPr>
        <p:spPr/>
        <p:txBody>
          <a:bodyPr/>
          <a:lstStyle/>
          <a:p>
            <a:fld id="{EFDB17C1-FF3A-45DC-94C1-44444C959F3B}" type="slidenum">
              <a:rPr lang="de-DE" smtClean="0"/>
              <a:pPr/>
              <a:t>17</a:t>
            </a:fld>
            <a:endParaRPr lang="de-DE"/>
          </a:p>
        </p:txBody>
      </p:sp>
      <p:sp>
        <p:nvSpPr>
          <p:cNvPr id="9" name="Title 8">
            <a:extLst>
              <a:ext uri="{FF2B5EF4-FFF2-40B4-BE49-F238E27FC236}">
                <a16:creationId xmlns:a16="http://schemas.microsoft.com/office/drawing/2014/main" id="{07E9CE24-939C-6F01-B1A3-B30ACE4AB1BC}"/>
              </a:ext>
            </a:extLst>
          </p:cNvPr>
          <p:cNvSpPr>
            <a:spLocks noGrp="1"/>
          </p:cNvSpPr>
          <p:nvPr>
            <p:ph type="title"/>
          </p:nvPr>
        </p:nvSpPr>
        <p:spPr/>
        <p:txBody>
          <a:bodyPr/>
          <a:lstStyle/>
          <a:p>
            <a:r>
              <a:rPr lang="de-DE" b="1" dirty="0"/>
              <a:t>Art. 9.3 </a:t>
            </a:r>
            <a:r>
              <a:rPr lang="de-DE" b="1" dirty="0" err="1"/>
              <a:t>Draft</a:t>
            </a:r>
            <a:r>
              <a:rPr lang="de-DE" b="1" dirty="0"/>
              <a:t> Protocol and </a:t>
            </a:r>
            <a:r>
              <a:rPr lang="de-DE" b="1" dirty="0" err="1"/>
              <a:t>the</a:t>
            </a:r>
            <a:r>
              <a:rPr lang="de-DE" b="1" dirty="0"/>
              <a:t> 1952 </a:t>
            </a:r>
            <a:r>
              <a:rPr lang="de-DE" b="1" dirty="0" err="1"/>
              <a:t>Jurisidction</a:t>
            </a:r>
            <a:r>
              <a:rPr lang="de-DE" b="1" dirty="0"/>
              <a:t> </a:t>
            </a:r>
            <a:r>
              <a:rPr lang="de-DE" b="1" dirty="0" err="1"/>
              <a:t>convention</a:t>
            </a:r>
            <a:endParaRPr lang="en-US" b="1" dirty="0">
              <a:cs typeface="Arial"/>
            </a:endParaRPr>
          </a:p>
        </p:txBody>
      </p:sp>
      <p:sp>
        <p:nvSpPr>
          <p:cNvPr id="6" name="Title 8">
            <a:extLst>
              <a:ext uri="{FF2B5EF4-FFF2-40B4-BE49-F238E27FC236}">
                <a16:creationId xmlns:a16="http://schemas.microsoft.com/office/drawing/2014/main" id="{DC4AAD46-A662-171B-F9C4-A30BB49760DB}"/>
              </a:ext>
            </a:extLst>
          </p:cNvPr>
          <p:cNvSpPr txBox="1">
            <a:spLocks/>
          </p:cNvSpPr>
          <p:nvPr/>
        </p:nvSpPr>
        <p:spPr>
          <a:xfrm>
            <a:off x="410151" y="1176611"/>
            <a:ext cx="9018000" cy="265460"/>
          </a:xfrm>
          <a:prstGeom prst="rect">
            <a:avLst/>
          </a:prstGeom>
        </p:spPr>
        <p:txBody>
          <a:bodyPr vert="horz" lIns="0" tIns="0" rIns="0" bIns="0" rtlCol="0" anchor="b" anchorCtr="0">
            <a:noAutofit/>
          </a:bodyPr>
          <a:lstStyle>
            <a:lvl1pPr algn="l" defTabSz="903006" rtl="0" eaLnBrk="1" latinLnBrk="0" hangingPunct="1">
              <a:lnSpc>
                <a:spcPct val="100000"/>
              </a:lnSpc>
              <a:spcBef>
                <a:spcPct val="0"/>
              </a:spcBef>
              <a:buNone/>
              <a:defRPr sz="2200" b="0" kern="1200" cap="all" baseline="0">
                <a:solidFill>
                  <a:schemeClr val="tx1"/>
                </a:solidFill>
                <a:latin typeface="+mj-lt"/>
                <a:ea typeface="+mj-ea"/>
                <a:cs typeface="+mj-cs"/>
              </a:defRPr>
            </a:lvl1pPr>
          </a:lstStyle>
          <a:p>
            <a:r>
              <a:rPr lang="de-DE" sz="1400" b="1" dirty="0"/>
              <a:t>               Protocol 				      1952 </a:t>
            </a:r>
            <a:r>
              <a:rPr lang="de-DE" sz="1400" b="1" dirty="0" err="1"/>
              <a:t>Jurisdiction</a:t>
            </a:r>
            <a:r>
              <a:rPr lang="de-DE" sz="1400" b="1" dirty="0"/>
              <a:t> </a:t>
            </a:r>
            <a:r>
              <a:rPr lang="de-DE" sz="1400" b="1" dirty="0" err="1"/>
              <a:t>convention</a:t>
            </a:r>
            <a:endParaRPr lang="en-US" sz="1400" b="1" dirty="0">
              <a:cs typeface="Arial"/>
            </a:endParaRPr>
          </a:p>
        </p:txBody>
      </p:sp>
    </p:spTree>
    <p:custDataLst>
      <p:tags r:id="rId1"/>
    </p:custDataLst>
    <p:extLst>
      <p:ext uri="{BB962C8B-B14F-4D97-AF65-F5344CB8AC3E}">
        <p14:creationId xmlns:p14="http://schemas.microsoft.com/office/powerpoint/2010/main" val="13798746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B52CF-DEAB-43DF-2AF9-8E241EE01601}"/>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F4992F0B-27ED-A5B5-CFF1-03F974ED16E0}"/>
              </a:ext>
            </a:extLst>
          </p:cNvPr>
          <p:cNvSpPr>
            <a:spLocks noGrp="1"/>
          </p:cNvSpPr>
          <p:nvPr>
            <p:ph idx="1" hasCustomPrompt="1"/>
          </p:nvPr>
        </p:nvSpPr>
        <p:spPr/>
        <p:txBody>
          <a:bodyPr vert="horz" lIns="0" tIns="0" rIns="0" bIns="0" rtlCol="0" anchor="t">
            <a:noAutofit/>
          </a:bodyPr>
          <a:lstStyle/>
          <a:p>
            <a:pPr>
              <a:lnSpc>
                <a:spcPct val="113999"/>
              </a:lnSpc>
            </a:pPr>
            <a:endParaRPr lang="en-US" sz="2000" i="1" dirty="0">
              <a:ea typeface="+mn-lt"/>
              <a:cs typeface="+mn-lt"/>
            </a:endParaRPr>
          </a:p>
          <a:p>
            <a:pPr>
              <a:lnSpc>
                <a:spcPct val="113999"/>
              </a:lnSpc>
            </a:pPr>
            <a:r>
              <a:rPr lang="en-US" sz="2000" i="1" dirty="0">
                <a:ea typeface="+mn-lt"/>
                <a:cs typeface="+mn-lt"/>
              </a:rPr>
              <a:t>If an action on the merits of a collision is pending before a court of a State Party,</a:t>
            </a:r>
            <a:endParaRPr lang="en-US" sz="800" i="1" dirty="0">
              <a:ea typeface="+mn-lt"/>
              <a:cs typeface="+mn-lt"/>
            </a:endParaRPr>
          </a:p>
          <a:p>
            <a:pPr>
              <a:lnSpc>
                <a:spcPct val="113999"/>
              </a:lnSpc>
            </a:pPr>
            <a:endParaRPr lang="en-US" sz="800" i="1" dirty="0">
              <a:ea typeface="+mn-lt"/>
              <a:cs typeface="+mn-lt"/>
            </a:endParaRPr>
          </a:p>
          <a:p>
            <a:pPr>
              <a:lnSpc>
                <a:spcPct val="113999"/>
              </a:lnSpc>
            </a:pPr>
            <a:endParaRPr lang="en-US" sz="800" i="1" dirty="0">
              <a:ea typeface="+mn-lt"/>
              <a:cs typeface="+mn-lt"/>
            </a:endParaRPr>
          </a:p>
          <a:p>
            <a:pPr>
              <a:lnSpc>
                <a:spcPct val="113999"/>
              </a:lnSpc>
            </a:pPr>
            <a:r>
              <a:rPr lang="en-US" sz="2000" i="1" dirty="0">
                <a:ea typeface="+mn-lt"/>
                <a:cs typeface="+mn-lt"/>
              </a:rPr>
              <a:t>(a) any action,</a:t>
            </a:r>
            <a:r>
              <a:rPr lang="en-US" sz="2000" i="1" dirty="0">
                <a:solidFill>
                  <a:srgbClr val="FF0000"/>
                </a:solidFill>
                <a:ea typeface="+mn-lt"/>
                <a:cs typeface="+mn-lt"/>
              </a:rPr>
              <a:t> </a:t>
            </a:r>
            <a:r>
              <a:rPr lang="en-US" sz="2000" i="1" dirty="0">
                <a:ea typeface="+mn-lt"/>
                <a:cs typeface="+mn-lt"/>
              </a:rPr>
              <a:t>whether by counterclaim, </a:t>
            </a:r>
            <a:r>
              <a:rPr lang="en-US" sz="2000" i="1" dirty="0">
                <a:solidFill>
                  <a:srgbClr val="FF0000"/>
                </a:solidFill>
                <a:ea typeface="+mn-lt"/>
                <a:cs typeface="+mn-lt"/>
              </a:rPr>
              <a:t>subrogation, recourse </a:t>
            </a:r>
            <a:r>
              <a:rPr lang="en-US" sz="2000" i="1" dirty="0">
                <a:ea typeface="+mn-lt"/>
                <a:cs typeface="+mn-lt"/>
              </a:rPr>
              <a:t>or otherwise </a:t>
            </a:r>
            <a:r>
              <a:rPr lang="en-US" sz="2000" i="1" dirty="0">
                <a:solidFill>
                  <a:srgbClr val="FF0000"/>
                </a:solidFill>
                <a:ea typeface="+mn-lt"/>
                <a:cs typeface="+mn-lt"/>
              </a:rPr>
              <a:t>relating to damages caused by the collision, which could reasonably risk leading to contradictory judgments if heard separately, </a:t>
            </a:r>
            <a:r>
              <a:rPr lang="en-US" sz="2000" i="1" dirty="0">
                <a:ea typeface="+mn-lt"/>
                <a:cs typeface="+mn-lt"/>
              </a:rPr>
              <a:t>may be brought before that court</a:t>
            </a:r>
          </a:p>
        </p:txBody>
      </p:sp>
      <p:sp>
        <p:nvSpPr>
          <p:cNvPr id="5" name="Inhaltsplatzhalter 4">
            <a:extLst>
              <a:ext uri="{FF2B5EF4-FFF2-40B4-BE49-F238E27FC236}">
                <a16:creationId xmlns:a16="http://schemas.microsoft.com/office/drawing/2014/main" id="{CB6038B5-FE37-E9A5-D397-C849A35B5261}"/>
              </a:ext>
            </a:extLst>
          </p:cNvPr>
          <p:cNvSpPr>
            <a:spLocks noGrp="1"/>
          </p:cNvSpPr>
          <p:nvPr>
            <p:ph idx="13"/>
          </p:nvPr>
        </p:nvSpPr>
        <p:spPr/>
        <p:txBody>
          <a:bodyPr/>
          <a:lstStyle/>
          <a:p>
            <a:r>
              <a:rPr lang="en-US" sz="2000" dirty="0">
                <a:ea typeface="+mn-lt"/>
                <a:cs typeface="+mn-lt"/>
              </a:rPr>
              <a:t>Art. 3</a:t>
            </a:r>
          </a:p>
          <a:p>
            <a:r>
              <a:rPr lang="en-US" sz="2000" i="1" dirty="0">
                <a:ea typeface="+mn-lt"/>
                <a:cs typeface="+mn-lt"/>
              </a:rPr>
              <a:t>In the event of there being more than one claim to which this Convention applies arising out of the same collision,</a:t>
            </a:r>
          </a:p>
          <a:p>
            <a:r>
              <a:rPr lang="en-US" sz="2000" i="1" dirty="0">
                <a:ea typeface="+mn-lt"/>
                <a:cs typeface="+mn-lt"/>
              </a:rPr>
              <a:t>action on any such claim, whether by counterclaim or otherwise, may be brought against any party or parties to the proceedings before the Court seized of the original action</a:t>
            </a:r>
          </a:p>
        </p:txBody>
      </p:sp>
      <p:sp>
        <p:nvSpPr>
          <p:cNvPr id="3" name="Datumsplatzhalter 2">
            <a:extLst>
              <a:ext uri="{FF2B5EF4-FFF2-40B4-BE49-F238E27FC236}">
                <a16:creationId xmlns:a16="http://schemas.microsoft.com/office/drawing/2014/main" id="{79735653-1BD6-9221-AA3F-76C8281B95A7}"/>
              </a:ext>
            </a:extLst>
          </p:cNvPr>
          <p:cNvSpPr>
            <a:spLocks noGrp="1"/>
          </p:cNvSpPr>
          <p:nvPr>
            <p:ph type="dt" sz="half" idx="14"/>
          </p:nvPr>
        </p:nvSpPr>
        <p:spPr/>
        <p:txBody>
          <a:bodyPr/>
          <a:lstStyle/>
          <a:p>
            <a:r>
              <a:rPr lang="de-DE" dirty="0"/>
              <a:t>14.06.2026</a:t>
            </a:r>
          </a:p>
        </p:txBody>
      </p:sp>
      <p:sp>
        <p:nvSpPr>
          <p:cNvPr id="2" name="Fußzeilenplatzhalter 1">
            <a:extLst>
              <a:ext uri="{FF2B5EF4-FFF2-40B4-BE49-F238E27FC236}">
                <a16:creationId xmlns:a16="http://schemas.microsoft.com/office/drawing/2014/main" id="{05A136D7-08C6-BD55-9510-578184463905}"/>
              </a:ext>
            </a:extLst>
          </p:cNvPr>
          <p:cNvSpPr>
            <a:spLocks noGrp="1"/>
          </p:cNvSpPr>
          <p:nvPr>
            <p:ph type="ftr" sz="quarter" idx="15"/>
          </p:nvPr>
        </p:nvSpPr>
        <p:spPr/>
        <p:txBody>
          <a:bodyPr/>
          <a:lstStyle/>
          <a:p>
            <a:r>
              <a:rPr lang="de-DE" dirty="0">
                <a:cs typeface="Arial"/>
              </a:rPr>
              <a:t>CMI Colloquium Rio de Janeiro 2026 – Dieter Schwampe </a:t>
            </a:r>
          </a:p>
        </p:txBody>
      </p:sp>
      <p:sp>
        <p:nvSpPr>
          <p:cNvPr id="4" name="Foliennummernplatzhalter 3">
            <a:extLst>
              <a:ext uri="{FF2B5EF4-FFF2-40B4-BE49-F238E27FC236}">
                <a16:creationId xmlns:a16="http://schemas.microsoft.com/office/drawing/2014/main" id="{116B203E-3F4A-AB69-618E-B58AA5B9B43C}"/>
              </a:ext>
            </a:extLst>
          </p:cNvPr>
          <p:cNvSpPr>
            <a:spLocks noGrp="1"/>
          </p:cNvSpPr>
          <p:nvPr>
            <p:ph type="sldNum" sz="quarter" idx="16"/>
          </p:nvPr>
        </p:nvSpPr>
        <p:spPr/>
        <p:txBody>
          <a:bodyPr/>
          <a:lstStyle/>
          <a:p>
            <a:fld id="{EFDB17C1-FF3A-45DC-94C1-44444C959F3B}" type="slidenum">
              <a:rPr lang="de-DE" smtClean="0"/>
              <a:pPr/>
              <a:t>18</a:t>
            </a:fld>
            <a:endParaRPr lang="de-DE"/>
          </a:p>
        </p:txBody>
      </p:sp>
      <p:sp>
        <p:nvSpPr>
          <p:cNvPr id="9" name="Title 8">
            <a:extLst>
              <a:ext uri="{FF2B5EF4-FFF2-40B4-BE49-F238E27FC236}">
                <a16:creationId xmlns:a16="http://schemas.microsoft.com/office/drawing/2014/main" id="{735CBC7A-6B61-D625-13A8-D7538819E3F8}"/>
              </a:ext>
            </a:extLst>
          </p:cNvPr>
          <p:cNvSpPr>
            <a:spLocks noGrp="1"/>
          </p:cNvSpPr>
          <p:nvPr>
            <p:ph type="title"/>
          </p:nvPr>
        </p:nvSpPr>
        <p:spPr/>
        <p:txBody>
          <a:bodyPr/>
          <a:lstStyle/>
          <a:p>
            <a:r>
              <a:rPr lang="de-DE" b="1" dirty="0"/>
              <a:t>Art. 9.3 </a:t>
            </a:r>
            <a:r>
              <a:rPr lang="de-DE" b="1" dirty="0" err="1"/>
              <a:t>Draft</a:t>
            </a:r>
            <a:r>
              <a:rPr lang="de-DE" b="1" dirty="0"/>
              <a:t> Protocol and </a:t>
            </a:r>
            <a:r>
              <a:rPr lang="de-DE" b="1" dirty="0" err="1"/>
              <a:t>the</a:t>
            </a:r>
            <a:r>
              <a:rPr lang="de-DE" b="1" dirty="0"/>
              <a:t> 1952 </a:t>
            </a:r>
            <a:r>
              <a:rPr lang="de-DE" b="1" dirty="0" err="1"/>
              <a:t>Jurisidction</a:t>
            </a:r>
            <a:r>
              <a:rPr lang="de-DE" b="1" dirty="0"/>
              <a:t> </a:t>
            </a:r>
            <a:r>
              <a:rPr lang="de-DE" b="1" dirty="0" err="1"/>
              <a:t>convention</a:t>
            </a:r>
            <a:endParaRPr lang="en-US" b="1" dirty="0">
              <a:cs typeface="Arial"/>
            </a:endParaRPr>
          </a:p>
        </p:txBody>
      </p:sp>
      <p:sp>
        <p:nvSpPr>
          <p:cNvPr id="6" name="Title 8">
            <a:extLst>
              <a:ext uri="{FF2B5EF4-FFF2-40B4-BE49-F238E27FC236}">
                <a16:creationId xmlns:a16="http://schemas.microsoft.com/office/drawing/2014/main" id="{F779D895-43F6-929A-79FF-03BBDD0A061C}"/>
              </a:ext>
            </a:extLst>
          </p:cNvPr>
          <p:cNvSpPr txBox="1">
            <a:spLocks/>
          </p:cNvSpPr>
          <p:nvPr/>
        </p:nvSpPr>
        <p:spPr>
          <a:xfrm>
            <a:off x="410151" y="1176611"/>
            <a:ext cx="9018000" cy="265460"/>
          </a:xfrm>
          <a:prstGeom prst="rect">
            <a:avLst/>
          </a:prstGeom>
        </p:spPr>
        <p:txBody>
          <a:bodyPr vert="horz" lIns="0" tIns="0" rIns="0" bIns="0" rtlCol="0" anchor="b" anchorCtr="0">
            <a:noAutofit/>
          </a:bodyPr>
          <a:lstStyle>
            <a:lvl1pPr algn="l" defTabSz="903006" rtl="0" eaLnBrk="1" latinLnBrk="0" hangingPunct="1">
              <a:lnSpc>
                <a:spcPct val="100000"/>
              </a:lnSpc>
              <a:spcBef>
                <a:spcPct val="0"/>
              </a:spcBef>
              <a:buNone/>
              <a:defRPr sz="2200" b="0" kern="1200" cap="all" baseline="0">
                <a:solidFill>
                  <a:schemeClr val="tx1"/>
                </a:solidFill>
                <a:latin typeface="+mj-lt"/>
                <a:ea typeface="+mj-ea"/>
                <a:cs typeface="+mj-cs"/>
              </a:defRPr>
            </a:lvl1pPr>
          </a:lstStyle>
          <a:p>
            <a:r>
              <a:rPr lang="de-DE" sz="1400" b="1" dirty="0"/>
              <a:t>               Protocol 				                Rio draft 1977</a:t>
            </a:r>
            <a:endParaRPr lang="en-US" sz="1400" b="1" dirty="0">
              <a:cs typeface="Arial"/>
            </a:endParaRPr>
          </a:p>
        </p:txBody>
      </p:sp>
    </p:spTree>
    <p:custDataLst>
      <p:tags r:id="rId1"/>
    </p:custDataLst>
    <p:extLst>
      <p:ext uri="{BB962C8B-B14F-4D97-AF65-F5344CB8AC3E}">
        <p14:creationId xmlns:p14="http://schemas.microsoft.com/office/powerpoint/2010/main" val="28923804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08CF26-46CA-4B9F-F29B-284368A9AE0C}"/>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7007EBB3-E540-83C5-C3D8-4E0819011981}"/>
              </a:ext>
            </a:extLst>
          </p:cNvPr>
          <p:cNvSpPr>
            <a:spLocks noGrp="1"/>
          </p:cNvSpPr>
          <p:nvPr>
            <p:ph idx="1" hasCustomPrompt="1"/>
          </p:nvPr>
        </p:nvSpPr>
        <p:spPr/>
        <p:txBody>
          <a:bodyPr vert="horz" lIns="0" tIns="0" rIns="0" bIns="0" rtlCol="0" anchor="t">
            <a:noAutofit/>
          </a:bodyPr>
          <a:lstStyle/>
          <a:p>
            <a:pPr>
              <a:lnSpc>
                <a:spcPct val="113999"/>
              </a:lnSpc>
            </a:pPr>
            <a:endParaRPr lang="en-US" sz="2000" i="1" dirty="0">
              <a:ea typeface="+mn-lt"/>
              <a:cs typeface="+mn-lt"/>
            </a:endParaRPr>
          </a:p>
          <a:p>
            <a:pPr>
              <a:lnSpc>
                <a:spcPct val="113999"/>
              </a:lnSpc>
            </a:pPr>
            <a:r>
              <a:rPr lang="en-US" sz="2000" i="1" dirty="0">
                <a:ea typeface="+mn-lt"/>
                <a:cs typeface="+mn-lt"/>
              </a:rPr>
              <a:t>If an action on the merits of a collision is pending before a court of a State Party,</a:t>
            </a:r>
          </a:p>
          <a:p>
            <a:pPr>
              <a:lnSpc>
                <a:spcPct val="113999"/>
              </a:lnSpc>
            </a:pPr>
            <a:r>
              <a:rPr lang="en-US" sz="2000" i="1" dirty="0">
                <a:ea typeface="+mn-lt"/>
                <a:cs typeface="+mn-lt"/>
              </a:rPr>
              <a:t>any further action brought in another State Party to recover the same damage shall be stayed unless and until the previous action has been discontinued, or, if the court so permits, stayed.</a:t>
            </a:r>
          </a:p>
        </p:txBody>
      </p:sp>
      <p:sp>
        <p:nvSpPr>
          <p:cNvPr id="5" name="Inhaltsplatzhalter 4">
            <a:extLst>
              <a:ext uri="{FF2B5EF4-FFF2-40B4-BE49-F238E27FC236}">
                <a16:creationId xmlns:a16="http://schemas.microsoft.com/office/drawing/2014/main" id="{5AB8A012-243F-8EF4-E263-5426D654F115}"/>
              </a:ext>
            </a:extLst>
          </p:cNvPr>
          <p:cNvSpPr>
            <a:spLocks noGrp="1"/>
          </p:cNvSpPr>
          <p:nvPr>
            <p:ph idx="13"/>
          </p:nvPr>
        </p:nvSpPr>
        <p:spPr/>
        <p:txBody>
          <a:bodyPr/>
          <a:lstStyle/>
          <a:p>
            <a:r>
              <a:rPr lang="en-US" sz="2000" dirty="0">
                <a:ea typeface="+mn-lt"/>
                <a:cs typeface="+mn-lt"/>
              </a:rPr>
              <a:t>Art. 1 (3)</a:t>
            </a:r>
            <a:endParaRPr lang="en-US" sz="800" i="1" dirty="0">
              <a:ea typeface="+mn-lt"/>
              <a:cs typeface="+mn-lt"/>
            </a:endParaRPr>
          </a:p>
          <a:p>
            <a:r>
              <a:rPr lang="en-US" sz="2000" i="1" dirty="0">
                <a:ea typeface="+mn-lt"/>
                <a:cs typeface="+mn-lt"/>
              </a:rPr>
              <a:t>A claimant shall not be allowed to bring a further action against the same defendant on the same facts in another jurisdiction, without discontinuing an action already instituted</a:t>
            </a:r>
            <a:endParaRPr lang="de-DE" sz="2000" i="1" dirty="0">
              <a:ea typeface="+mn-lt"/>
              <a:cs typeface="+mn-lt"/>
            </a:endParaRPr>
          </a:p>
          <a:p>
            <a:endParaRPr lang="de-DE" sz="2000" dirty="0">
              <a:solidFill>
                <a:srgbClr val="625578"/>
              </a:solidFill>
              <a:ea typeface="+mn-lt"/>
              <a:cs typeface="+mn-lt"/>
            </a:endParaRPr>
          </a:p>
        </p:txBody>
      </p:sp>
      <p:sp>
        <p:nvSpPr>
          <p:cNvPr id="3" name="Datumsplatzhalter 2">
            <a:extLst>
              <a:ext uri="{FF2B5EF4-FFF2-40B4-BE49-F238E27FC236}">
                <a16:creationId xmlns:a16="http://schemas.microsoft.com/office/drawing/2014/main" id="{A3A58A93-11D5-92CB-6A23-2B8E72B029D9}"/>
              </a:ext>
            </a:extLst>
          </p:cNvPr>
          <p:cNvSpPr>
            <a:spLocks noGrp="1"/>
          </p:cNvSpPr>
          <p:nvPr>
            <p:ph type="dt" sz="half" idx="14"/>
          </p:nvPr>
        </p:nvSpPr>
        <p:spPr/>
        <p:txBody>
          <a:bodyPr/>
          <a:lstStyle/>
          <a:p>
            <a:r>
              <a:rPr lang="de-DE" dirty="0"/>
              <a:t>14.06.2026</a:t>
            </a:r>
          </a:p>
        </p:txBody>
      </p:sp>
      <p:sp>
        <p:nvSpPr>
          <p:cNvPr id="2" name="Fußzeilenplatzhalter 1">
            <a:extLst>
              <a:ext uri="{FF2B5EF4-FFF2-40B4-BE49-F238E27FC236}">
                <a16:creationId xmlns:a16="http://schemas.microsoft.com/office/drawing/2014/main" id="{34E58930-7A3F-508F-3D0A-6BB4EABF6069}"/>
              </a:ext>
            </a:extLst>
          </p:cNvPr>
          <p:cNvSpPr>
            <a:spLocks noGrp="1"/>
          </p:cNvSpPr>
          <p:nvPr>
            <p:ph type="ftr" sz="quarter" idx="15"/>
          </p:nvPr>
        </p:nvSpPr>
        <p:spPr/>
        <p:txBody>
          <a:bodyPr/>
          <a:lstStyle/>
          <a:p>
            <a:r>
              <a:rPr lang="de-DE" dirty="0">
                <a:cs typeface="Arial"/>
              </a:rPr>
              <a:t>CMI Colloquium Rio de Janeiro 2026 – Dieter Schwampe </a:t>
            </a:r>
          </a:p>
        </p:txBody>
      </p:sp>
      <p:sp>
        <p:nvSpPr>
          <p:cNvPr id="4" name="Foliennummernplatzhalter 3">
            <a:extLst>
              <a:ext uri="{FF2B5EF4-FFF2-40B4-BE49-F238E27FC236}">
                <a16:creationId xmlns:a16="http://schemas.microsoft.com/office/drawing/2014/main" id="{8058C15B-3C22-A61C-5D90-3E80742D8C76}"/>
              </a:ext>
            </a:extLst>
          </p:cNvPr>
          <p:cNvSpPr>
            <a:spLocks noGrp="1"/>
          </p:cNvSpPr>
          <p:nvPr>
            <p:ph type="sldNum" sz="quarter" idx="16"/>
          </p:nvPr>
        </p:nvSpPr>
        <p:spPr/>
        <p:txBody>
          <a:bodyPr/>
          <a:lstStyle/>
          <a:p>
            <a:fld id="{EFDB17C1-FF3A-45DC-94C1-44444C959F3B}" type="slidenum">
              <a:rPr lang="de-DE" smtClean="0"/>
              <a:pPr/>
              <a:t>19</a:t>
            </a:fld>
            <a:endParaRPr lang="de-DE"/>
          </a:p>
        </p:txBody>
      </p:sp>
      <p:sp>
        <p:nvSpPr>
          <p:cNvPr id="9" name="Title 8">
            <a:extLst>
              <a:ext uri="{FF2B5EF4-FFF2-40B4-BE49-F238E27FC236}">
                <a16:creationId xmlns:a16="http://schemas.microsoft.com/office/drawing/2014/main" id="{FC69DA16-6C31-A202-B11E-F821A57631DD}"/>
              </a:ext>
            </a:extLst>
          </p:cNvPr>
          <p:cNvSpPr>
            <a:spLocks noGrp="1"/>
          </p:cNvSpPr>
          <p:nvPr>
            <p:ph type="title"/>
          </p:nvPr>
        </p:nvSpPr>
        <p:spPr/>
        <p:txBody>
          <a:bodyPr/>
          <a:lstStyle/>
          <a:p>
            <a:r>
              <a:rPr lang="de-DE" b="1" dirty="0"/>
              <a:t>Art. 9.3 </a:t>
            </a:r>
            <a:r>
              <a:rPr lang="de-DE" b="1" dirty="0" err="1"/>
              <a:t>Draft</a:t>
            </a:r>
            <a:r>
              <a:rPr lang="de-DE" b="1" dirty="0"/>
              <a:t> Protocol and </a:t>
            </a:r>
            <a:r>
              <a:rPr lang="de-DE" b="1" dirty="0" err="1"/>
              <a:t>the</a:t>
            </a:r>
            <a:r>
              <a:rPr lang="de-DE" b="1" dirty="0"/>
              <a:t> 1952 </a:t>
            </a:r>
            <a:r>
              <a:rPr lang="de-DE" b="1" dirty="0" err="1"/>
              <a:t>Jurisidction</a:t>
            </a:r>
            <a:r>
              <a:rPr lang="de-DE" b="1" dirty="0"/>
              <a:t> </a:t>
            </a:r>
            <a:r>
              <a:rPr lang="de-DE" b="1" dirty="0" err="1"/>
              <a:t>convention</a:t>
            </a:r>
            <a:endParaRPr lang="en-US" b="1" dirty="0">
              <a:cs typeface="Arial"/>
            </a:endParaRPr>
          </a:p>
        </p:txBody>
      </p:sp>
      <p:sp>
        <p:nvSpPr>
          <p:cNvPr id="6" name="Title 8">
            <a:extLst>
              <a:ext uri="{FF2B5EF4-FFF2-40B4-BE49-F238E27FC236}">
                <a16:creationId xmlns:a16="http://schemas.microsoft.com/office/drawing/2014/main" id="{F3EEE07A-BD7D-B4E9-4560-F2B0286AFBF8}"/>
              </a:ext>
            </a:extLst>
          </p:cNvPr>
          <p:cNvSpPr txBox="1">
            <a:spLocks/>
          </p:cNvSpPr>
          <p:nvPr/>
        </p:nvSpPr>
        <p:spPr>
          <a:xfrm>
            <a:off x="410151" y="1176611"/>
            <a:ext cx="9018000" cy="265460"/>
          </a:xfrm>
          <a:prstGeom prst="rect">
            <a:avLst/>
          </a:prstGeom>
        </p:spPr>
        <p:txBody>
          <a:bodyPr vert="horz" lIns="0" tIns="0" rIns="0" bIns="0" rtlCol="0" anchor="b" anchorCtr="0">
            <a:noAutofit/>
          </a:bodyPr>
          <a:lstStyle>
            <a:lvl1pPr algn="l" defTabSz="903006" rtl="0" eaLnBrk="1" latinLnBrk="0" hangingPunct="1">
              <a:lnSpc>
                <a:spcPct val="100000"/>
              </a:lnSpc>
              <a:spcBef>
                <a:spcPct val="0"/>
              </a:spcBef>
              <a:buNone/>
              <a:defRPr sz="2200" b="0" kern="1200" cap="all" baseline="0">
                <a:solidFill>
                  <a:schemeClr val="tx1"/>
                </a:solidFill>
                <a:latin typeface="+mj-lt"/>
                <a:ea typeface="+mj-ea"/>
                <a:cs typeface="+mj-cs"/>
              </a:defRPr>
            </a:lvl1pPr>
          </a:lstStyle>
          <a:p>
            <a:r>
              <a:rPr lang="de-DE" sz="1400" b="1" dirty="0"/>
              <a:t>               Protocol 				      1952 </a:t>
            </a:r>
            <a:r>
              <a:rPr lang="de-DE" sz="1400" b="1" dirty="0" err="1"/>
              <a:t>Jurisdiction</a:t>
            </a:r>
            <a:r>
              <a:rPr lang="de-DE" sz="1400" b="1" dirty="0"/>
              <a:t> </a:t>
            </a:r>
            <a:r>
              <a:rPr lang="de-DE" sz="1400" b="1" dirty="0" err="1"/>
              <a:t>convention</a:t>
            </a:r>
            <a:endParaRPr lang="en-US" sz="1400" b="1" dirty="0">
              <a:cs typeface="Arial"/>
            </a:endParaRPr>
          </a:p>
        </p:txBody>
      </p:sp>
    </p:spTree>
    <p:custDataLst>
      <p:tags r:id="rId1"/>
    </p:custDataLst>
    <p:extLst>
      <p:ext uri="{BB962C8B-B14F-4D97-AF65-F5344CB8AC3E}">
        <p14:creationId xmlns:p14="http://schemas.microsoft.com/office/powerpoint/2010/main" val="11760648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A8BA96-CA63-6105-B936-F8D094C9E34D}"/>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80C853CD-DF58-CAFA-0726-C1DEBF9E0C9B}"/>
              </a:ext>
            </a:extLst>
          </p:cNvPr>
          <p:cNvSpPr>
            <a:spLocks noGrp="1"/>
          </p:cNvSpPr>
          <p:nvPr>
            <p:ph type="title"/>
          </p:nvPr>
        </p:nvSpPr>
        <p:spPr/>
        <p:txBody>
          <a:bodyPr/>
          <a:lstStyle/>
          <a:p>
            <a:r>
              <a:rPr lang="de-DE" b="1" dirty="0"/>
              <a:t>The 1910 Collision Convention and </a:t>
            </a:r>
            <a:r>
              <a:rPr lang="de-DE" b="1" dirty="0" err="1"/>
              <a:t>its</a:t>
            </a:r>
            <a:r>
              <a:rPr lang="de-DE" b="1" dirty="0"/>
              <a:t> </a:t>
            </a:r>
            <a:r>
              <a:rPr lang="de-DE" b="1" dirty="0" err="1"/>
              <a:t>rules</a:t>
            </a:r>
            <a:r>
              <a:rPr lang="de-DE" b="1" dirty="0"/>
              <a:t> on </a:t>
            </a:r>
            <a:r>
              <a:rPr lang="de-DE" b="1" dirty="0" err="1"/>
              <a:t>Jurisdiction</a:t>
            </a:r>
            <a:endParaRPr lang="en-US" b="1" dirty="0">
              <a:cs typeface="Arial"/>
            </a:endParaRPr>
          </a:p>
        </p:txBody>
      </p:sp>
      <p:sp>
        <p:nvSpPr>
          <p:cNvPr id="10" name="Content Placeholder 9">
            <a:extLst>
              <a:ext uri="{FF2B5EF4-FFF2-40B4-BE49-F238E27FC236}">
                <a16:creationId xmlns:a16="http://schemas.microsoft.com/office/drawing/2014/main" id="{7FBE0B68-95FB-4226-1A8D-ADC40CC35A8E}"/>
              </a:ext>
            </a:extLst>
          </p:cNvPr>
          <p:cNvSpPr>
            <a:spLocks noGrp="1"/>
          </p:cNvSpPr>
          <p:nvPr>
            <p:ph sz="quarter" idx="17" hasCustomPrompt="1"/>
          </p:nvPr>
        </p:nvSpPr>
        <p:spPr/>
        <p:txBody>
          <a:bodyPr vert="horz" lIns="0" tIns="0" rIns="0" bIns="0" rtlCol="0" anchor="t">
            <a:noAutofit/>
          </a:bodyPr>
          <a:lstStyle/>
          <a:p>
            <a:pPr>
              <a:lnSpc>
                <a:spcPct val="113999"/>
              </a:lnSpc>
            </a:pPr>
            <a:endParaRPr lang="en-GB" sz="2000" dirty="0">
              <a:ea typeface="+mn-lt"/>
              <a:cs typeface="+mn-lt"/>
            </a:endParaRPr>
          </a:p>
          <a:p>
            <a:pPr marL="342900" indent="-342900">
              <a:lnSpc>
                <a:spcPct val="113999"/>
              </a:lnSpc>
              <a:buFont typeface="Arial" panose="020B0604020202020204" pitchFamily="34" charset="0"/>
              <a:buChar char="•"/>
            </a:pPr>
            <a:r>
              <a:rPr lang="en-US" sz="2000" dirty="0">
                <a:ea typeface="+mn-lt"/>
                <a:cs typeface="+mn-lt"/>
              </a:rPr>
              <a:t>International Convention for the Unification of Certain Rules of Law with respect to Collision between Vessels, Brussels, 23 September 1910</a:t>
            </a:r>
          </a:p>
          <a:p>
            <a:pPr marL="342900" indent="-342900">
              <a:lnSpc>
                <a:spcPct val="113999"/>
              </a:lnSpc>
              <a:buFont typeface="Arial" panose="020B0604020202020204" pitchFamily="34" charset="0"/>
              <a:buChar char="•"/>
            </a:pPr>
            <a:endParaRPr lang="en-US" sz="2000" dirty="0">
              <a:ea typeface="+mn-lt"/>
              <a:cs typeface="+mn-lt"/>
            </a:endParaRPr>
          </a:p>
          <a:p>
            <a:pPr marL="342900" indent="-342900">
              <a:lnSpc>
                <a:spcPct val="113999"/>
              </a:lnSpc>
              <a:buFont typeface="Arial" panose="020B0604020202020204" pitchFamily="34" charset="0"/>
              <a:buChar char="•"/>
            </a:pPr>
            <a:r>
              <a:rPr lang="en-US" sz="2000" dirty="0">
                <a:ea typeface="+mn-lt"/>
                <a:cs typeface="+mn-lt"/>
              </a:rPr>
              <a:t>Rules on jurisdiction:</a:t>
            </a:r>
          </a:p>
          <a:p>
            <a:pPr marL="342900" indent="-342900">
              <a:lnSpc>
                <a:spcPct val="113999"/>
              </a:lnSpc>
              <a:buFont typeface="Arial" panose="020B0604020202020204" pitchFamily="34" charset="0"/>
              <a:buChar char="•"/>
            </a:pPr>
            <a:endParaRPr lang="en-US" sz="2000" dirty="0">
              <a:ea typeface="+mn-lt"/>
              <a:cs typeface="+mn-lt"/>
            </a:endParaRPr>
          </a:p>
          <a:p>
            <a:pPr marL="361950">
              <a:lnSpc>
                <a:spcPct val="113999"/>
              </a:lnSpc>
            </a:pPr>
            <a:r>
              <a:rPr lang="en-US" sz="2000" dirty="0">
                <a:ea typeface="+mn-lt"/>
                <a:cs typeface="+mn-lt"/>
              </a:rPr>
              <a:t>None</a:t>
            </a:r>
          </a:p>
          <a:p>
            <a:pPr>
              <a:lnSpc>
                <a:spcPct val="113999"/>
              </a:lnSpc>
            </a:pPr>
            <a:endParaRPr lang="en-GB" sz="2000" dirty="0">
              <a:ea typeface="+mn-lt"/>
              <a:cs typeface="+mn-lt"/>
            </a:endParaRPr>
          </a:p>
        </p:txBody>
      </p:sp>
      <p:sp>
        <p:nvSpPr>
          <p:cNvPr id="2" name="Fußzeilenplatzhalter 1">
            <a:extLst>
              <a:ext uri="{FF2B5EF4-FFF2-40B4-BE49-F238E27FC236}">
                <a16:creationId xmlns:a16="http://schemas.microsoft.com/office/drawing/2014/main" id="{84445C12-D0BB-1D03-E9A6-89EDDF0603B0}"/>
              </a:ext>
            </a:extLst>
          </p:cNvPr>
          <p:cNvSpPr>
            <a:spLocks noGrp="1"/>
          </p:cNvSpPr>
          <p:nvPr>
            <p:ph type="ftr" sz="quarter" idx="15"/>
          </p:nvPr>
        </p:nvSpPr>
        <p:spPr/>
        <p:txBody>
          <a:bodyPr/>
          <a:lstStyle/>
          <a:p>
            <a:r>
              <a:rPr lang="de-DE" dirty="0">
                <a:cs typeface="Arial"/>
              </a:rPr>
              <a:t>CMI Colloquium Rio de Janeiro 2026 – Dieter Schwampe </a:t>
            </a:r>
          </a:p>
        </p:txBody>
      </p:sp>
      <p:sp>
        <p:nvSpPr>
          <p:cNvPr id="3" name="Datumsplatzhalter 2">
            <a:extLst>
              <a:ext uri="{FF2B5EF4-FFF2-40B4-BE49-F238E27FC236}">
                <a16:creationId xmlns:a16="http://schemas.microsoft.com/office/drawing/2014/main" id="{FB4B5188-E239-6507-2F0F-6507BF20B4AF}"/>
              </a:ext>
            </a:extLst>
          </p:cNvPr>
          <p:cNvSpPr>
            <a:spLocks noGrp="1"/>
          </p:cNvSpPr>
          <p:nvPr>
            <p:ph type="dt" sz="half" idx="14"/>
          </p:nvPr>
        </p:nvSpPr>
        <p:spPr/>
        <p:txBody>
          <a:bodyPr/>
          <a:lstStyle/>
          <a:p>
            <a:r>
              <a:rPr lang="de-DE" dirty="0"/>
              <a:t>14.06.2026</a:t>
            </a:r>
          </a:p>
        </p:txBody>
      </p:sp>
      <p:sp>
        <p:nvSpPr>
          <p:cNvPr id="4" name="Foliennummernplatzhalter 3">
            <a:extLst>
              <a:ext uri="{FF2B5EF4-FFF2-40B4-BE49-F238E27FC236}">
                <a16:creationId xmlns:a16="http://schemas.microsoft.com/office/drawing/2014/main" id="{04088CD3-62D8-84A1-CB1E-660A2F0357D1}"/>
              </a:ext>
            </a:extLst>
          </p:cNvPr>
          <p:cNvSpPr>
            <a:spLocks noGrp="1"/>
          </p:cNvSpPr>
          <p:nvPr>
            <p:ph type="sldNum" sz="quarter" idx="16"/>
          </p:nvPr>
        </p:nvSpPr>
        <p:spPr/>
        <p:txBody>
          <a:bodyPr/>
          <a:lstStyle/>
          <a:p>
            <a:fld id="{EFDB17C1-FF3A-45DC-94C1-44444C959F3B}" type="slidenum">
              <a:rPr lang="de-DE" smtClean="0"/>
              <a:pPr/>
              <a:t>2</a:t>
            </a:fld>
            <a:endParaRPr lang="de-DE"/>
          </a:p>
        </p:txBody>
      </p:sp>
    </p:spTree>
    <p:custDataLst>
      <p:tags r:id="rId1"/>
    </p:custDataLst>
    <p:extLst>
      <p:ext uri="{BB962C8B-B14F-4D97-AF65-F5344CB8AC3E}">
        <p14:creationId xmlns:p14="http://schemas.microsoft.com/office/powerpoint/2010/main" val="32760808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7A79A-3950-1936-AC34-8A8A847693A8}"/>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E7CB282F-3707-1CF7-FE0B-28F8894F440F}"/>
              </a:ext>
            </a:extLst>
          </p:cNvPr>
          <p:cNvSpPr>
            <a:spLocks noGrp="1"/>
          </p:cNvSpPr>
          <p:nvPr>
            <p:ph idx="1" hasCustomPrompt="1"/>
          </p:nvPr>
        </p:nvSpPr>
        <p:spPr/>
        <p:txBody>
          <a:bodyPr vert="horz" lIns="0" tIns="0" rIns="0" bIns="0" rtlCol="0" anchor="t">
            <a:noAutofit/>
          </a:bodyPr>
          <a:lstStyle/>
          <a:p>
            <a:pPr>
              <a:lnSpc>
                <a:spcPct val="113999"/>
              </a:lnSpc>
            </a:pPr>
            <a:endParaRPr lang="en-US" sz="800" i="1" dirty="0">
              <a:ea typeface="+mn-lt"/>
              <a:cs typeface="+mn-lt"/>
            </a:endParaRPr>
          </a:p>
          <a:p>
            <a:pPr>
              <a:lnSpc>
                <a:spcPct val="113999"/>
              </a:lnSpc>
            </a:pPr>
            <a:endParaRPr lang="en-US" sz="800" i="1" dirty="0">
              <a:ea typeface="+mn-lt"/>
              <a:cs typeface="+mn-lt"/>
            </a:endParaRPr>
          </a:p>
          <a:p>
            <a:pPr>
              <a:lnSpc>
                <a:spcPct val="113999"/>
              </a:lnSpc>
            </a:pPr>
            <a:endParaRPr lang="en-US" sz="800" i="1" dirty="0">
              <a:ea typeface="+mn-lt"/>
              <a:cs typeface="+mn-lt"/>
            </a:endParaRPr>
          </a:p>
          <a:p>
            <a:pPr>
              <a:lnSpc>
                <a:spcPct val="113999"/>
              </a:lnSpc>
            </a:pPr>
            <a:r>
              <a:rPr lang="en-US" sz="2000" i="1" dirty="0">
                <a:ea typeface="+mn-lt"/>
                <a:cs typeface="+mn-lt"/>
              </a:rPr>
              <a:t>If an action on the merits of a collision is pending before a court of a State Party,</a:t>
            </a:r>
            <a:endParaRPr lang="en-US" sz="800" i="1" dirty="0">
              <a:ea typeface="+mn-lt"/>
              <a:cs typeface="+mn-lt"/>
            </a:endParaRPr>
          </a:p>
          <a:p>
            <a:pPr>
              <a:lnSpc>
                <a:spcPct val="113999"/>
              </a:lnSpc>
            </a:pPr>
            <a:endParaRPr lang="en-US" sz="800" i="1" dirty="0">
              <a:ea typeface="+mn-lt"/>
              <a:cs typeface="+mn-lt"/>
            </a:endParaRPr>
          </a:p>
          <a:p>
            <a:pPr>
              <a:lnSpc>
                <a:spcPct val="113999"/>
              </a:lnSpc>
            </a:pPr>
            <a:r>
              <a:rPr lang="en-US" sz="2000" i="1" dirty="0">
                <a:ea typeface="+mn-lt"/>
                <a:cs typeface="+mn-lt"/>
              </a:rPr>
              <a:t>any further action brought in another State Party to recover the same damage shall be stayed unless and until the previous action has been discontinued, or, if the court so permits, stayed.</a:t>
            </a:r>
          </a:p>
        </p:txBody>
      </p:sp>
      <p:sp>
        <p:nvSpPr>
          <p:cNvPr id="5" name="Inhaltsplatzhalter 4">
            <a:extLst>
              <a:ext uri="{FF2B5EF4-FFF2-40B4-BE49-F238E27FC236}">
                <a16:creationId xmlns:a16="http://schemas.microsoft.com/office/drawing/2014/main" id="{E0F03545-445A-5145-944D-DB56BA28BCDE}"/>
              </a:ext>
            </a:extLst>
          </p:cNvPr>
          <p:cNvSpPr>
            <a:spLocks noGrp="1"/>
          </p:cNvSpPr>
          <p:nvPr>
            <p:ph idx="13"/>
          </p:nvPr>
        </p:nvSpPr>
        <p:spPr/>
        <p:txBody>
          <a:bodyPr/>
          <a:lstStyle/>
          <a:p>
            <a:r>
              <a:rPr lang="en-US" sz="2000" dirty="0">
                <a:ea typeface="+mn-lt"/>
                <a:cs typeface="+mn-lt"/>
              </a:rPr>
              <a:t>Art. 1 (2)</a:t>
            </a:r>
          </a:p>
          <a:p>
            <a:endParaRPr lang="en-US" sz="800" i="1" dirty="0">
              <a:ea typeface="+mn-lt"/>
              <a:cs typeface="+mn-lt"/>
            </a:endParaRPr>
          </a:p>
          <a:p>
            <a:r>
              <a:rPr lang="en-US" sz="2000" i="1" dirty="0">
                <a:ea typeface="+mn-lt"/>
                <a:cs typeface="+mn-lt"/>
              </a:rPr>
              <a:t>If an action is pending in one State Party, </a:t>
            </a:r>
          </a:p>
          <a:p>
            <a:endParaRPr lang="en-US" sz="2000" i="1" dirty="0">
              <a:ea typeface="+mn-lt"/>
              <a:cs typeface="+mn-lt"/>
            </a:endParaRPr>
          </a:p>
          <a:p>
            <a:r>
              <a:rPr lang="en-US" sz="2000" i="1" dirty="0">
                <a:ea typeface="+mn-lt"/>
                <a:cs typeface="+mn-lt"/>
              </a:rPr>
              <a:t>any further action brought in another State Party </a:t>
            </a:r>
            <a:r>
              <a:rPr lang="en-US" sz="2000" i="1" dirty="0">
                <a:solidFill>
                  <a:srgbClr val="FF0000"/>
                </a:solidFill>
                <a:ea typeface="+mn-lt"/>
                <a:cs typeface="+mn-lt"/>
              </a:rPr>
              <a:t>by the same plaintiff against the same defendant </a:t>
            </a:r>
            <a:r>
              <a:rPr lang="en-US" sz="2000" i="1" dirty="0">
                <a:ea typeface="+mn-lt"/>
                <a:cs typeface="+mn-lt"/>
              </a:rPr>
              <a:t>to recover for the same damage shall be stayed unless and until the previous action has been discontinued, or, if the Court so permits, stayed.</a:t>
            </a:r>
            <a:endParaRPr lang="de-DE" sz="2000" dirty="0">
              <a:solidFill>
                <a:srgbClr val="625578"/>
              </a:solidFill>
              <a:ea typeface="+mn-lt"/>
              <a:cs typeface="+mn-lt"/>
            </a:endParaRPr>
          </a:p>
        </p:txBody>
      </p:sp>
      <p:sp>
        <p:nvSpPr>
          <p:cNvPr id="3" name="Datumsplatzhalter 2">
            <a:extLst>
              <a:ext uri="{FF2B5EF4-FFF2-40B4-BE49-F238E27FC236}">
                <a16:creationId xmlns:a16="http://schemas.microsoft.com/office/drawing/2014/main" id="{0327EF49-8C7F-FF0F-DBF9-719126D332AE}"/>
              </a:ext>
            </a:extLst>
          </p:cNvPr>
          <p:cNvSpPr>
            <a:spLocks noGrp="1"/>
          </p:cNvSpPr>
          <p:nvPr>
            <p:ph type="dt" sz="half" idx="14"/>
          </p:nvPr>
        </p:nvSpPr>
        <p:spPr/>
        <p:txBody>
          <a:bodyPr/>
          <a:lstStyle/>
          <a:p>
            <a:r>
              <a:rPr lang="de-DE" dirty="0"/>
              <a:t>14.06.2026</a:t>
            </a:r>
          </a:p>
        </p:txBody>
      </p:sp>
      <p:sp>
        <p:nvSpPr>
          <p:cNvPr id="2" name="Fußzeilenplatzhalter 1">
            <a:extLst>
              <a:ext uri="{FF2B5EF4-FFF2-40B4-BE49-F238E27FC236}">
                <a16:creationId xmlns:a16="http://schemas.microsoft.com/office/drawing/2014/main" id="{9F8EB787-6FA1-2D8D-0604-C234C35C837E}"/>
              </a:ext>
            </a:extLst>
          </p:cNvPr>
          <p:cNvSpPr>
            <a:spLocks noGrp="1"/>
          </p:cNvSpPr>
          <p:nvPr>
            <p:ph type="ftr" sz="quarter" idx="15"/>
          </p:nvPr>
        </p:nvSpPr>
        <p:spPr/>
        <p:txBody>
          <a:bodyPr/>
          <a:lstStyle/>
          <a:p>
            <a:r>
              <a:rPr lang="de-DE" dirty="0">
                <a:cs typeface="Arial"/>
              </a:rPr>
              <a:t>CMI Colloquium Rio de Janeiro 2026 – Dieter Schwampe </a:t>
            </a:r>
          </a:p>
        </p:txBody>
      </p:sp>
      <p:sp>
        <p:nvSpPr>
          <p:cNvPr id="4" name="Foliennummernplatzhalter 3">
            <a:extLst>
              <a:ext uri="{FF2B5EF4-FFF2-40B4-BE49-F238E27FC236}">
                <a16:creationId xmlns:a16="http://schemas.microsoft.com/office/drawing/2014/main" id="{17519E66-8177-5F16-D191-570AF9054E19}"/>
              </a:ext>
            </a:extLst>
          </p:cNvPr>
          <p:cNvSpPr>
            <a:spLocks noGrp="1"/>
          </p:cNvSpPr>
          <p:nvPr>
            <p:ph type="sldNum" sz="quarter" idx="16"/>
          </p:nvPr>
        </p:nvSpPr>
        <p:spPr/>
        <p:txBody>
          <a:bodyPr/>
          <a:lstStyle/>
          <a:p>
            <a:fld id="{EFDB17C1-FF3A-45DC-94C1-44444C959F3B}" type="slidenum">
              <a:rPr lang="de-DE" smtClean="0"/>
              <a:pPr/>
              <a:t>20</a:t>
            </a:fld>
            <a:endParaRPr lang="de-DE"/>
          </a:p>
        </p:txBody>
      </p:sp>
      <p:sp>
        <p:nvSpPr>
          <p:cNvPr id="9" name="Title 8">
            <a:extLst>
              <a:ext uri="{FF2B5EF4-FFF2-40B4-BE49-F238E27FC236}">
                <a16:creationId xmlns:a16="http://schemas.microsoft.com/office/drawing/2014/main" id="{DAB646B0-6898-4918-5FE3-14669FBBEBA5}"/>
              </a:ext>
            </a:extLst>
          </p:cNvPr>
          <p:cNvSpPr>
            <a:spLocks noGrp="1"/>
          </p:cNvSpPr>
          <p:nvPr>
            <p:ph type="title"/>
          </p:nvPr>
        </p:nvSpPr>
        <p:spPr/>
        <p:txBody>
          <a:bodyPr/>
          <a:lstStyle/>
          <a:p>
            <a:r>
              <a:rPr lang="de-DE" b="1" dirty="0"/>
              <a:t>Art. 9.3 </a:t>
            </a:r>
            <a:r>
              <a:rPr lang="de-DE" b="1" dirty="0" err="1"/>
              <a:t>Draft</a:t>
            </a:r>
            <a:r>
              <a:rPr lang="de-DE" b="1" dirty="0"/>
              <a:t> Protocol and </a:t>
            </a:r>
            <a:r>
              <a:rPr lang="de-DE" b="1" dirty="0" err="1"/>
              <a:t>the</a:t>
            </a:r>
            <a:r>
              <a:rPr lang="de-DE" b="1" dirty="0"/>
              <a:t> 1952 </a:t>
            </a:r>
            <a:r>
              <a:rPr lang="de-DE" b="1" dirty="0" err="1"/>
              <a:t>Jurisidction</a:t>
            </a:r>
            <a:r>
              <a:rPr lang="de-DE" b="1" dirty="0"/>
              <a:t> </a:t>
            </a:r>
            <a:r>
              <a:rPr lang="de-DE" b="1" dirty="0" err="1"/>
              <a:t>convention</a:t>
            </a:r>
            <a:endParaRPr lang="en-US" b="1" dirty="0">
              <a:cs typeface="Arial"/>
            </a:endParaRPr>
          </a:p>
        </p:txBody>
      </p:sp>
      <p:sp>
        <p:nvSpPr>
          <p:cNvPr id="6" name="Title 8">
            <a:extLst>
              <a:ext uri="{FF2B5EF4-FFF2-40B4-BE49-F238E27FC236}">
                <a16:creationId xmlns:a16="http://schemas.microsoft.com/office/drawing/2014/main" id="{07634B6A-EAA8-0362-DCAA-1CE21DB6CEFC}"/>
              </a:ext>
            </a:extLst>
          </p:cNvPr>
          <p:cNvSpPr txBox="1">
            <a:spLocks/>
          </p:cNvSpPr>
          <p:nvPr/>
        </p:nvSpPr>
        <p:spPr>
          <a:xfrm>
            <a:off x="410151" y="1176611"/>
            <a:ext cx="9018000" cy="265460"/>
          </a:xfrm>
          <a:prstGeom prst="rect">
            <a:avLst/>
          </a:prstGeom>
        </p:spPr>
        <p:txBody>
          <a:bodyPr vert="horz" lIns="0" tIns="0" rIns="0" bIns="0" rtlCol="0" anchor="b" anchorCtr="0">
            <a:noAutofit/>
          </a:bodyPr>
          <a:lstStyle>
            <a:lvl1pPr algn="l" defTabSz="903006" rtl="0" eaLnBrk="1" latinLnBrk="0" hangingPunct="1">
              <a:lnSpc>
                <a:spcPct val="100000"/>
              </a:lnSpc>
              <a:spcBef>
                <a:spcPct val="0"/>
              </a:spcBef>
              <a:buNone/>
              <a:defRPr sz="2200" b="0" kern="1200" cap="all" baseline="0">
                <a:solidFill>
                  <a:schemeClr val="tx1"/>
                </a:solidFill>
                <a:latin typeface="+mj-lt"/>
                <a:ea typeface="+mj-ea"/>
                <a:cs typeface="+mj-cs"/>
              </a:defRPr>
            </a:lvl1pPr>
          </a:lstStyle>
          <a:p>
            <a:r>
              <a:rPr lang="de-DE" sz="1400" b="1" dirty="0"/>
              <a:t>               Protocol 				              Rio draft 1977</a:t>
            </a:r>
            <a:endParaRPr lang="en-US" sz="1400" b="1" dirty="0">
              <a:cs typeface="Arial"/>
            </a:endParaRPr>
          </a:p>
        </p:txBody>
      </p:sp>
    </p:spTree>
    <p:custDataLst>
      <p:tags r:id="rId1"/>
    </p:custDataLst>
    <p:extLst>
      <p:ext uri="{BB962C8B-B14F-4D97-AF65-F5344CB8AC3E}">
        <p14:creationId xmlns:p14="http://schemas.microsoft.com/office/powerpoint/2010/main" val="37008131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4F93DB-3F32-0274-4AEE-5E8D69DEE2B9}"/>
            </a:ext>
          </a:extLst>
        </p:cNvPr>
        <p:cNvGrpSpPr/>
        <p:nvPr/>
      </p:nvGrpSpPr>
      <p:grpSpPr>
        <a:xfrm>
          <a:off x="0" y="0"/>
          <a:ext cx="0" cy="0"/>
          <a:chOff x="0" y="0"/>
          <a:chExt cx="0" cy="0"/>
        </a:xfrm>
      </p:grpSpPr>
      <p:sp>
        <p:nvSpPr>
          <p:cNvPr id="3" name="Datumsplatzhalter 2">
            <a:extLst>
              <a:ext uri="{FF2B5EF4-FFF2-40B4-BE49-F238E27FC236}">
                <a16:creationId xmlns:a16="http://schemas.microsoft.com/office/drawing/2014/main" id="{1C0D7080-C266-1939-FF6D-D207BCC4964E}"/>
              </a:ext>
            </a:extLst>
          </p:cNvPr>
          <p:cNvSpPr>
            <a:spLocks noGrp="1"/>
          </p:cNvSpPr>
          <p:nvPr>
            <p:ph type="dt" sz="half" idx="14"/>
          </p:nvPr>
        </p:nvSpPr>
        <p:spPr/>
        <p:txBody>
          <a:bodyPr/>
          <a:lstStyle/>
          <a:p>
            <a:r>
              <a:rPr lang="de-DE" dirty="0"/>
              <a:t>14.06.2026</a:t>
            </a:r>
          </a:p>
        </p:txBody>
      </p:sp>
      <p:sp>
        <p:nvSpPr>
          <p:cNvPr id="2" name="Fußzeilenplatzhalter 1">
            <a:extLst>
              <a:ext uri="{FF2B5EF4-FFF2-40B4-BE49-F238E27FC236}">
                <a16:creationId xmlns:a16="http://schemas.microsoft.com/office/drawing/2014/main" id="{255AB104-DBA4-C434-68BE-B251569E0EEF}"/>
              </a:ext>
            </a:extLst>
          </p:cNvPr>
          <p:cNvSpPr>
            <a:spLocks noGrp="1"/>
          </p:cNvSpPr>
          <p:nvPr>
            <p:ph type="ftr" sz="quarter" idx="15"/>
          </p:nvPr>
        </p:nvSpPr>
        <p:spPr/>
        <p:txBody>
          <a:bodyPr/>
          <a:lstStyle/>
          <a:p>
            <a:r>
              <a:rPr lang="de-DE" dirty="0">
                <a:cs typeface="Arial"/>
              </a:rPr>
              <a:t>CMI Colloquium Rio de Janeiro 2026 – Dieter Schwampe </a:t>
            </a:r>
          </a:p>
        </p:txBody>
      </p:sp>
      <p:sp>
        <p:nvSpPr>
          <p:cNvPr id="4" name="Foliennummernplatzhalter 3">
            <a:extLst>
              <a:ext uri="{FF2B5EF4-FFF2-40B4-BE49-F238E27FC236}">
                <a16:creationId xmlns:a16="http://schemas.microsoft.com/office/drawing/2014/main" id="{D419B9CF-4E95-F567-C1D5-DE75E9B7C362}"/>
              </a:ext>
            </a:extLst>
          </p:cNvPr>
          <p:cNvSpPr>
            <a:spLocks noGrp="1"/>
          </p:cNvSpPr>
          <p:nvPr>
            <p:ph type="sldNum" sz="quarter" idx="16"/>
          </p:nvPr>
        </p:nvSpPr>
        <p:spPr/>
        <p:txBody>
          <a:bodyPr/>
          <a:lstStyle/>
          <a:p>
            <a:fld id="{EFDB17C1-FF3A-45DC-94C1-44444C959F3B}" type="slidenum">
              <a:rPr lang="de-DE" smtClean="0"/>
              <a:pPr/>
              <a:t>21</a:t>
            </a:fld>
            <a:endParaRPr lang="de-DE"/>
          </a:p>
        </p:txBody>
      </p:sp>
      <p:sp>
        <p:nvSpPr>
          <p:cNvPr id="9" name="Title 8">
            <a:extLst>
              <a:ext uri="{FF2B5EF4-FFF2-40B4-BE49-F238E27FC236}">
                <a16:creationId xmlns:a16="http://schemas.microsoft.com/office/drawing/2014/main" id="{68D93227-870E-40EF-C941-0CA7DF71EA56}"/>
              </a:ext>
            </a:extLst>
          </p:cNvPr>
          <p:cNvSpPr>
            <a:spLocks noGrp="1"/>
          </p:cNvSpPr>
          <p:nvPr>
            <p:ph type="title"/>
          </p:nvPr>
        </p:nvSpPr>
        <p:spPr/>
        <p:txBody>
          <a:bodyPr/>
          <a:lstStyle/>
          <a:p>
            <a:r>
              <a:rPr lang="de-DE" b="1" dirty="0"/>
              <a:t>Art. 9.3 </a:t>
            </a:r>
            <a:r>
              <a:rPr lang="de-DE" b="1" dirty="0" err="1"/>
              <a:t>Draft</a:t>
            </a:r>
            <a:r>
              <a:rPr lang="de-DE" b="1" dirty="0"/>
              <a:t> Protocol and </a:t>
            </a:r>
            <a:r>
              <a:rPr lang="de-DE" b="1" dirty="0" err="1"/>
              <a:t>the</a:t>
            </a:r>
            <a:r>
              <a:rPr lang="de-DE" b="1" dirty="0"/>
              <a:t> 1952 </a:t>
            </a:r>
            <a:r>
              <a:rPr lang="de-DE" b="1" dirty="0" err="1"/>
              <a:t>Jurisidction</a:t>
            </a:r>
            <a:r>
              <a:rPr lang="de-DE" b="1" dirty="0"/>
              <a:t> </a:t>
            </a:r>
            <a:r>
              <a:rPr lang="de-DE" b="1" dirty="0" err="1"/>
              <a:t>convention</a:t>
            </a:r>
            <a:endParaRPr lang="en-US" b="1" dirty="0">
              <a:cs typeface="Arial"/>
            </a:endParaRPr>
          </a:p>
        </p:txBody>
      </p:sp>
      <p:pic>
        <p:nvPicPr>
          <p:cNvPr id="12" name="Grafik 11">
            <a:extLst>
              <a:ext uri="{FF2B5EF4-FFF2-40B4-BE49-F238E27FC236}">
                <a16:creationId xmlns:a16="http://schemas.microsoft.com/office/drawing/2014/main" id="{694CB9D0-7096-E854-912E-2C951C743D54}"/>
              </a:ext>
            </a:extLst>
          </p:cNvPr>
          <p:cNvPicPr>
            <a:picLocks noChangeAspect="1"/>
          </p:cNvPicPr>
          <p:nvPr/>
        </p:nvPicPr>
        <p:blipFill>
          <a:blip r:embed="rId4"/>
          <a:stretch>
            <a:fillRect/>
          </a:stretch>
        </p:blipFill>
        <p:spPr>
          <a:xfrm>
            <a:off x="-613610" y="0"/>
            <a:ext cx="10207752" cy="8512766"/>
          </a:xfrm>
          <a:prstGeom prst="rect">
            <a:avLst/>
          </a:prstGeom>
        </p:spPr>
      </p:pic>
    </p:spTree>
    <p:custDataLst>
      <p:tags r:id="rId1"/>
    </p:custDataLst>
    <p:extLst>
      <p:ext uri="{BB962C8B-B14F-4D97-AF65-F5344CB8AC3E}">
        <p14:creationId xmlns:p14="http://schemas.microsoft.com/office/powerpoint/2010/main" val="30262966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hasCustomPrompt="1"/>
          </p:nvPr>
        </p:nvSpPr>
        <p:spPr>
          <a:xfrm>
            <a:off x="3380339" y="4407618"/>
            <a:ext cx="2955144" cy="1433383"/>
          </a:xfrm>
        </p:spPr>
        <p:txBody>
          <a:bodyPr/>
          <a:lstStyle/>
          <a:p>
            <a:r>
              <a:rPr lang="en-GB" dirty="0"/>
              <a:t>Dieter Schwampe </a:t>
            </a:r>
          </a:p>
          <a:p>
            <a:endParaRPr lang="en-GB" sz="1200" b="0" dirty="0"/>
          </a:p>
          <a:p>
            <a:r>
              <a:rPr lang="en-GB" sz="1200" b="0" dirty="0" err="1"/>
              <a:t>Große</a:t>
            </a:r>
            <a:r>
              <a:rPr lang="en-GB" sz="1200" b="0" dirty="0"/>
              <a:t> </a:t>
            </a:r>
            <a:r>
              <a:rPr lang="en-GB" sz="1200" b="0" dirty="0" err="1"/>
              <a:t>Elbstr</a:t>
            </a:r>
            <a:r>
              <a:rPr lang="en-GB" sz="1200" b="0" dirty="0"/>
              <a:t>. 36</a:t>
            </a:r>
          </a:p>
          <a:p>
            <a:r>
              <a:rPr lang="en-GB" sz="1200" b="0" dirty="0"/>
              <a:t>22767 Hamburg</a:t>
            </a:r>
          </a:p>
          <a:p>
            <a:r>
              <a:rPr lang="en-GB" sz="1200" dirty="0"/>
              <a:t>d.schwampe@asd-law.com</a:t>
            </a:r>
          </a:p>
        </p:txBody>
      </p:sp>
      <p:sp>
        <p:nvSpPr>
          <p:cNvPr id="3" name="Textplatzhalter 2"/>
          <p:cNvSpPr>
            <a:spLocks noGrp="1"/>
          </p:cNvSpPr>
          <p:nvPr>
            <p:ph type="body" sz="quarter" idx="11" hasCustomPrompt="1"/>
          </p:nvPr>
        </p:nvSpPr>
        <p:spPr>
          <a:xfrm>
            <a:off x="2790707" y="3890641"/>
            <a:ext cx="2955144" cy="725496"/>
          </a:xfrm>
        </p:spPr>
        <p:txBody>
          <a:bodyPr vert="horz" wrap="square" lIns="0" tIns="90000" rIns="0" bIns="90000" rtlCol="0" anchor="t">
            <a:spAutoFit/>
          </a:bodyPr>
          <a:lstStyle/>
          <a:p>
            <a:endParaRPr lang="en-GB" sz="1200" i="0" u="none" strike="noStrike" kern="1200" cap="none" spc="0" normalizeH="0" baseline="0" noProof="0" dirty="0">
              <a:ln>
                <a:noFill/>
              </a:ln>
              <a:solidFill>
                <a:srgbClr val="FFFFFF"/>
              </a:solidFill>
              <a:effectLst/>
              <a:uLnTx/>
              <a:uFillTx/>
              <a:latin typeface="Arial" panose="020B0604020202020204"/>
              <a:cs typeface="Arial"/>
            </a:endParaRPr>
          </a:p>
          <a:p>
            <a:endParaRPr lang="en-GB" dirty="0"/>
          </a:p>
        </p:txBody>
      </p:sp>
      <p:sp>
        <p:nvSpPr>
          <p:cNvPr id="4" name="Textplatzhalter 3"/>
          <p:cNvSpPr>
            <a:spLocks noGrp="1"/>
          </p:cNvSpPr>
          <p:nvPr>
            <p:ph type="body" sz="quarter" idx="12" hasCustomPrompt="1"/>
          </p:nvPr>
        </p:nvSpPr>
        <p:spPr>
          <a:xfrm>
            <a:off x="5138409" y="3885738"/>
            <a:ext cx="2100469" cy="725496"/>
          </a:xfrm>
        </p:spPr>
        <p:txBody>
          <a:bodyPr/>
          <a:lstStyle/>
          <a:p>
            <a:endParaRPr kumimoji="0" lang="en-GB" sz="1200" i="0" u="none" strike="noStrike" kern="1200" cap="none" spc="0" normalizeH="0" baseline="0" noProof="0" dirty="0">
              <a:ln>
                <a:noFill/>
              </a:ln>
              <a:solidFill>
                <a:srgbClr val="FFFFFF"/>
              </a:solidFill>
              <a:effectLst/>
              <a:uLnTx/>
              <a:uFillTx/>
              <a:latin typeface="Arial" panose="020B0604020202020204"/>
              <a:ea typeface="+mn-ea"/>
              <a:cs typeface="+mn-cs"/>
            </a:endParaRPr>
          </a:p>
          <a:p>
            <a:endParaRPr lang="en-GB" dirty="0"/>
          </a:p>
        </p:txBody>
      </p:sp>
      <p:sp>
        <p:nvSpPr>
          <p:cNvPr id="7" name="Textplatzhalter 3">
            <a:extLst>
              <a:ext uri="{FF2B5EF4-FFF2-40B4-BE49-F238E27FC236}">
                <a16:creationId xmlns:a16="http://schemas.microsoft.com/office/drawing/2014/main" id="{54E15F56-0546-7F61-2C5F-51DEBF8E3CFC}"/>
              </a:ext>
            </a:extLst>
          </p:cNvPr>
          <p:cNvSpPr txBox="1">
            <a:spLocks/>
          </p:cNvSpPr>
          <p:nvPr/>
        </p:nvSpPr>
        <p:spPr>
          <a:xfrm>
            <a:off x="7442944" y="3883679"/>
            <a:ext cx="2429981" cy="725496"/>
          </a:xfrm>
          <a:prstGeom prst="rect">
            <a:avLst/>
          </a:prstGeom>
        </p:spPr>
        <p:txBody>
          <a:bodyPr vert="horz" wrap="square" lIns="0" tIns="90000" rIns="0" bIns="90000" rtlCol="0" anchor="t">
            <a:spAutoFit/>
          </a:bodyPr>
          <a:lstStyle>
            <a:lvl1pPr marL="0" indent="0" algn="l" defTabSz="903006" rtl="0" eaLnBrk="1" latinLnBrk="0" hangingPunct="1">
              <a:lnSpc>
                <a:spcPct val="100000"/>
              </a:lnSpc>
              <a:spcBef>
                <a:spcPts val="200"/>
              </a:spcBef>
              <a:spcAft>
                <a:spcPts val="200"/>
              </a:spcAft>
              <a:buFontTx/>
              <a:buNone/>
              <a:defRPr sz="2000" b="1" kern="1200" cap="none" baseline="0">
                <a:solidFill>
                  <a:schemeClr val="bg1"/>
                </a:solidFill>
                <a:latin typeface="+mn-lt"/>
                <a:ea typeface="+mn-ea"/>
                <a:cs typeface="+mn-cs"/>
              </a:defRPr>
            </a:lvl1pPr>
            <a:lvl2pPr marL="0" indent="0" algn="l" defTabSz="903006" rtl="0" eaLnBrk="1" latinLnBrk="0" hangingPunct="1">
              <a:lnSpc>
                <a:spcPct val="100000"/>
              </a:lnSpc>
              <a:spcBef>
                <a:spcPts val="200"/>
              </a:spcBef>
              <a:spcAft>
                <a:spcPts val="200"/>
              </a:spcAft>
              <a:buFont typeface="Arial" panose="020B0604020202020204" pitchFamily="34" charset="0"/>
              <a:buNone/>
              <a:defRPr sz="1400" b="0" kern="1200">
                <a:solidFill>
                  <a:schemeClr val="bg1"/>
                </a:solidFill>
                <a:latin typeface="+mn-lt"/>
                <a:ea typeface="+mn-ea"/>
                <a:cs typeface="+mn-cs"/>
              </a:defRPr>
            </a:lvl2pPr>
            <a:lvl3pPr marL="0" indent="0" algn="l" defTabSz="903006" rtl="0" eaLnBrk="1" latinLnBrk="0" hangingPunct="1">
              <a:lnSpc>
                <a:spcPct val="100000"/>
              </a:lnSpc>
              <a:spcBef>
                <a:spcPts val="1200"/>
              </a:spcBef>
              <a:spcAft>
                <a:spcPts val="200"/>
              </a:spcAft>
              <a:buFont typeface="Symbol" panose="05050102010706020507" pitchFamily="18" charset="2"/>
              <a:buNone/>
              <a:defRPr sz="1400" b="0" kern="1200">
                <a:solidFill>
                  <a:schemeClr val="bg1"/>
                </a:solidFill>
                <a:latin typeface="+mn-lt"/>
                <a:ea typeface="+mn-ea"/>
                <a:cs typeface="+mn-cs"/>
              </a:defRPr>
            </a:lvl3pPr>
            <a:lvl4pPr marL="756000" indent="-252000" algn="l" defTabSz="903006" rtl="0" eaLnBrk="1" latinLnBrk="0" hangingPunct="1">
              <a:lnSpc>
                <a:spcPct val="114000"/>
              </a:lnSpc>
              <a:spcBef>
                <a:spcPts val="600"/>
              </a:spcBef>
              <a:spcAft>
                <a:spcPts val="0"/>
              </a:spcAft>
              <a:buFont typeface="Arial" panose="020B0604020202020204" pitchFamily="34" charset="0"/>
              <a:buChar char="•"/>
              <a:tabLst/>
              <a:defRPr sz="1200" b="0" kern="1200">
                <a:solidFill>
                  <a:schemeClr val="bg1"/>
                </a:solidFill>
                <a:latin typeface="+mn-lt"/>
                <a:ea typeface="+mn-ea"/>
                <a:cs typeface="+mn-cs"/>
              </a:defRPr>
            </a:lvl4pPr>
            <a:lvl5pPr marL="0" indent="0" algn="l" defTabSz="903006" rtl="0" eaLnBrk="1" latinLnBrk="0" hangingPunct="1">
              <a:lnSpc>
                <a:spcPct val="114000"/>
              </a:lnSpc>
              <a:spcBef>
                <a:spcPts val="1200"/>
              </a:spcBef>
              <a:spcAft>
                <a:spcPts val="0"/>
              </a:spcAft>
              <a:buFont typeface="Arial" panose="020B0604020202020204" pitchFamily="34" charset="0"/>
              <a:buNone/>
              <a:defRPr sz="1200" b="1" kern="1200" cap="all" baseline="0">
                <a:solidFill>
                  <a:schemeClr val="bg1"/>
                </a:solidFill>
                <a:latin typeface="+mn-lt"/>
                <a:ea typeface="+mn-ea"/>
                <a:cs typeface="+mn-cs"/>
              </a:defRPr>
            </a:lvl5pPr>
            <a:lvl6pPr marL="1067232" indent="-266611" algn="l" defTabSz="903006" rtl="0" eaLnBrk="1" latinLnBrk="0" hangingPunct="1">
              <a:lnSpc>
                <a:spcPct val="114000"/>
              </a:lnSpc>
              <a:spcBef>
                <a:spcPts val="0"/>
              </a:spcBef>
              <a:spcAft>
                <a:spcPts val="795"/>
              </a:spcAft>
              <a:buFont typeface="Symbol" panose="05050102010706020507" pitchFamily="18" charset="2"/>
              <a:buChar char="-"/>
              <a:defRPr sz="1193" kern="1200">
                <a:solidFill>
                  <a:schemeClr val="bg1"/>
                </a:solidFill>
                <a:latin typeface="+mn-lt"/>
                <a:ea typeface="+mn-ea"/>
                <a:cs typeface="+mn-cs"/>
              </a:defRPr>
            </a:lvl6pPr>
            <a:lvl7pPr marL="0" indent="0" algn="l" defTabSz="903006" rtl="0" eaLnBrk="1" latinLnBrk="0" hangingPunct="1">
              <a:lnSpc>
                <a:spcPct val="114000"/>
              </a:lnSpc>
              <a:spcBef>
                <a:spcPts val="1200"/>
              </a:spcBef>
              <a:spcAft>
                <a:spcPts val="0"/>
              </a:spcAft>
              <a:buFontTx/>
              <a:buNone/>
              <a:defRPr sz="1200" kern="1200">
                <a:solidFill>
                  <a:schemeClr val="tx1"/>
                </a:solidFill>
                <a:latin typeface="+mn-lt"/>
                <a:ea typeface="+mn-ea"/>
                <a:cs typeface="+mn-cs"/>
              </a:defRPr>
            </a:lvl7pPr>
            <a:lvl8pPr marL="252000" indent="-252000" algn="l" defTabSz="903006" rtl="0" eaLnBrk="1" latinLnBrk="0" hangingPunct="1">
              <a:lnSpc>
                <a:spcPct val="114000"/>
              </a:lnSpc>
              <a:spcBef>
                <a:spcPts val="600"/>
              </a:spcBef>
              <a:spcAft>
                <a:spcPts val="0"/>
              </a:spcAft>
              <a:buFont typeface="+mj-lt"/>
              <a:buAutoNum type="arabicPeriod"/>
              <a:defRPr sz="1200" kern="1200">
                <a:solidFill>
                  <a:schemeClr val="tx1"/>
                </a:solidFill>
                <a:latin typeface="+mn-lt"/>
                <a:ea typeface="+mn-ea"/>
                <a:cs typeface="+mn-cs"/>
              </a:defRPr>
            </a:lvl8pPr>
            <a:lvl9pPr marL="504000" indent="-252000" algn="l" defTabSz="903006" rtl="0" eaLnBrk="1" latinLnBrk="0" hangingPunct="1">
              <a:lnSpc>
                <a:spcPct val="114000"/>
              </a:lnSpc>
              <a:spcBef>
                <a:spcPts val="600"/>
              </a:spcBef>
              <a:spcAft>
                <a:spcPts val="0"/>
              </a:spcAft>
              <a:buFont typeface="+mj-lt"/>
              <a:buAutoNum type="alphaLcParenR"/>
              <a:defRPr sz="1200" kern="1200">
                <a:solidFill>
                  <a:schemeClr val="tx1"/>
                </a:solidFill>
                <a:latin typeface="+mn-lt"/>
                <a:ea typeface="+mn-ea"/>
                <a:cs typeface="+mn-cs"/>
              </a:defRPr>
            </a:lvl9pPr>
          </a:lstStyle>
          <a:p>
            <a:endParaRPr lang="en-GB" sz="1200" dirty="0">
              <a:solidFill>
                <a:srgbClr val="FFFFFF"/>
              </a:solidFill>
              <a:latin typeface="Arial" panose="020B0604020202020204"/>
              <a:cs typeface="Arial"/>
            </a:endParaRPr>
          </a:p>
          <a:p>
            <a:endParaRPr lang="en-GB" dirty="0"/>
          </a:p>
        </p:txBody>
      </p:sp>
      <p:sp>
        <p:nvSpPr>
          <p:cNvPr id="6" name="Bildplatzhalter 5">
            <a:extLst>
              <a:ext uri="{FF2B5EF4-FFF2-40B4-BE49-F238E27FC236}">
                <a16:creationId xmlns:a16="http://schemas.microsoft.com/office/drawing/2014/main" id="{6C670FEE-3EFD-0828-DD95-D02A3FC4DBB8}"/>
              </a:ext>
            </a:extLst>
          </p:cNvPr>
          <p:cNvSpPr>
            <a:spLocks noGrp="1"/>
          </p:cNvSpPr>
          <p:nvPr>
            <p:ph type="pic" sz="quarter" idx="13"/>
          </p:nvPr>
        </p:nvSpPr>
        <p:spPr/>
        <p:txBody>
          <a:bodyPr/>
          <a:lstStyle/>
          <a:p>
            <a:endParaRPr lang="de-DE"/>
          </a:p>
        </p:txBody>
      </p:sp>
      <p:pic>
        <p:nvPicPr>
          <p:cNvPr id="10" name="Grafik 9">
            <a:extLst>
              <a:ext uri="{FF2B5EF4-FFF2-40B4-BE49-F238E27FC236}">
                <a16:creationId xmlns:a16="http://schemas.microsoft.com/office/drawing/2014/main" id="{6955F9C7-D960-F69C-0372-B9C44D79509A}"/>
              </a:ext>
            </a:extLst>
          </p:cNvPr>
          <p:cNvPicPr>
            <a:picLocks noChangeAspect="1"/>
          </p:cNvPicPr>
          <p:nvPr/>
        </p:nvPicPr>
        <p:blipFill>
          <a:blip r:embed="rId3"/>
          <a:stretch>
            <a:fillRect/>
          </a:stretch>
        </p:blipFill>
        <p:spPr>
          <a:xfrm>
            <a:off x="6925115" y="935787"/>
            <a:ext cx="4332898" cy="4382197"/>
          </a:xfrm>
          <a:prstGeom prst="rect">
            <a:avLst/>
          </a:prstGeom>
        </p:spPr>
      </p:pic>
    </p:spTree>
    <p:custDataLst>
      <p:tags r:id="rId1"/>
    </p:custDataLst>
    <p:extLst>
      <p:ext uri="{BB962C8B-B14F-4D97-AF65-F5344CB8AC3E}">
        <p14:creationId xmlns:p14="http://schemas.microsoft.com/office/powerpoint/2010/main" val="4560770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D2B3F5-E80E-69B2-DDB8-85719185DB12}"/>
            </a:ext>
          </a:extLst>
        </p:cNvPr>
        <p:cNvGrpSpPr/>
        <p:nvPr/>
      </p:nvGrpSpPr>
      <p:grpSpPr>
        <a:xfrm>
          <a:off x="0" y="0"/>
          <a:ext cx="0" cy="0"/>
          <a:chOff x="0" y="0"/>
          <a:chExt cx="0" cy="0"/>
        </a:xfrm>
      </p:grpSpPr>
      <p:sp>
        <p:nvSpPr>
          <p:cNvPr id="4" name="Rechteck 3">
            <a:extLst>
              <a:ext uri="{FF2B5EF4-FFF2-40B4-BE49-F238E27FC236}">
                <a16:creationId xmlns:a16="http://schemas.microsoft.com/office/drawing/2014/main" id="{2C62CFD8-CE59-3822-DA67-78C27E426293}"/>
              </a:ext>
            </a:extLst>
          </p:cNvPr>
          <p:cNvSpPr/>
          <p:nvPr>
            <p:custDataLst>
              <p:tags r:id="rId2"/>
            </p:custDataLst>
          </p:nvPr>
        </p:nvSpPr>
        <p:spPr>
          <a:xfrm>
            <a:off x="0" y="0"/>
            <a:ext cx="12192000" cy="6858000"/>
          </a:xfrm>
          <a:prstGeom prst="rect">
            <a:avLst/>
          </a:prstGeom>
          <a:solidFill>
            <a:schemeClr val="dk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4343">
              <a:defRPr/>
            </a:pPr>
            <a:endParaRPr lang="de-DE" sz="895">
              <a:solidFill>
                <a:prstClr val="white"/>
              </a:solidFill>
              <a:latin typeface="Calibri" panose="020F0502020204030204"/>
            </a:endParaRPr>
          </a:p>
        </p:txBody>
      </p:sp>
      <p:pic>
        <p:nvPicPr>
          <p:cNvPr id="6" name="Grafik 5">
            <a:extLst>
              <a:ext uri="{FF2B5EF4-FFF2-40B4-BE49-F238E27FC236}">
                <a16:creationId xmlns:a16="http://schemas.microsoft.com/office/drawing/2014/main" id="{4F9F4C4B-D1D8-0F2B-9F6D-ABC70D88CE54}"/>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71718" y="588819"/>
            <a:ext cx="2187920" cy="735319"/>
          </a:xfrm>
          <a:prstGeom prst="rect">
            <a:avLst/>
          </a:prstGeom>
        </p:spPr>
      </p:pic>
      <p:sp>
        <p:nvSpPr>
          <p:cNvPr id="7" name="Textplatzhalter 1">
            <a:extLst>
              <a:ext uri="{FF2B5EF4-FFF2-40B4-BE49-F238E27FC236}">
                <a16:creationId xmlns:a16="http://schemas.microsoft.com/office/drawing/2014/main" id="{2B8F813F-5A66-2408-AD99-CDD49AC75D43}"/>
              </a:ext>
            </a:extLst>
          </p:cNvPr>
          <p:cNvSpPr>
            <a:spLocks noGrp="1"/>
          </p:cNvSpPr>
          <p:nvPr>
            <p:custDataLst>
              <p:tags r:id="rId3"/>
            </p:custDataLst>
          </p:nvPr>
        </p:nvSpPr>
        <p:spPr>
          <a:xfrm>
            <a:off x="627730" y="4665465"/>
            <a:ext cx="1349751" cy="933182"/>
          </a:xfrm>
          <a:prstGeom prst="rect">
            <a:avLst/>
          </a:prstGeom>
        </p:spPr>
        <p:txBody>
          <a:bodyPr vert="horz" wrap="square" lIns="0" tIns="90000" rIns="0" bIns="90000" rtlCol="0">
            <a:spAutoFit/>
          </a:bodyPr>
          <a:lstStyle>
            <a:lvl1pPr marL="0" indent="0" algn="l" defTabSz="1806011" rtl="0" eaLnBrk="1" latinLnBrk="0" hangingPunct="1">
              <a:lnSpc>
                <a:spcPct val="100000"/>
              </a:lnSpc>
              <a:spcBef>
                <a:spcPts val="0"/>
              </a:spcBef>
              <a:spcAft>
                <a:spcPts val="1600"/>
              </a:spcAft>
              <a:buFontTx/>
              <a:buNone/>
              <a:defRPr lang="de-DE" sz="1800" b="0" kern="1200" cap="none" baseline="0">
                <a:solidFill>
                  <a:schemeClr val="tx1"/>
                </a:solidFill>
                <a:effectLst/>
                <a:latin typeface="Arial" panose="020B0604020202020204" pitchFamily="34" charset="0"/>
                <a:ea typeface="+mn-ea"/>
                <a:cs typeface="Arial" panose="020B0604020202020204" pitchFamily="34" charset="0"/>
              </a:defRPr>
            </a:lvl1pPr>
            <a:lvl2pPr marL="0" indent="0" algn="l" defTabSz="1806011" rtl="0" eaLnBrk="1" latinLnBrk="0" hangingPunct="1">
              <a:lnSpc>
                <a:spcPct val="110000"/>
              </a:lnSpc>
              <a:spcBef>
                <a:spcPts val="0"/>
              </a:spcBef>
              <a:spcAft>
                <a:spcPts val="1600"/>
              </a:spcAft>
              <a:buFontTx/>
              <a:buNone/>
              <a:defRPr sz="2400" kern="1200">
                <a:solidFill>
                  <a:schemeClr val="tx1"/>
                </a:solidFill>
                <a:latin typeface="+mn-lt"/>
                <a:ea typeface="+mn-ea"/>
                <a:cs typeface="+mn-cs"/>
              </a:defRPr>
            </a:lvl2pPr>
            <a:lvl3pPr marL="350223" indent="-350223"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3pPr>
            <a:lvl4pPr marL="714643" indent="-364422" algn="l" defTabSz="1806011" rtl="0" eaLnBrk="1" latinLnBrk="0" hangingPunct="1">
              <a:lnSpc>
                <a:spcPct val="110000"/>
              </a:lnSpc>
              <a:spcBef>
                <a:spcPts val="0"/>
              </a:spcBef>
              <a:spcAft>
                <a:spcPts val="1600"/>
              </a:spcAft>
              <a:buFont typeface="Symbol" panose="05050102010706020507" pitchFamily="18" charset="2"/>
              <a:buChar char="-"/>
              <a:tabLst/>
              <a:defRPr sz="2400" kern="1200">
                <a:solidFill>
                  <a:schemeClr val="tx1"/>
                </a:solidFill>
                <a:latin typeface="+mn-lt"/>
                <a:ea typeface="+mn-ea"/>
                <a:cs typeface="+mn-cs"/>
              </a:defRPr>
            </a:lvl4pPr>
            <a:lvl5pPr marL="1064867" indent="-350223"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5pPr>
            <a:lvl6pPr marL="2134464" indent="-533222" algn="l" defTabSz="1806011" rtl="0" eaLnBrk="1" latinLnBrk="0" hangingPunct="1">
              <a:lnSpc>
                <a:spcPct val="110000"/>
              </a:lnSpc>
              <a:spcBef>
                <a:spcPts val="0"/>
              </a:spcBef>
              <a:spcAft>
                <a:spcPts val="1600"/>
              </a:spcAft>
              <a:buFont typeface="Symbol" panose="05050102010706020507" pitchFamily="18" charset="2"/>
              <a:buChar char="-"/>
              <a:defRPr sz="2400" kern="1200">
                <a:solidFill>
                  <a:schemeClr val="tx1"/>
                </a:solidFill>
                <a:latin typeface="+mn-lt"/>
                <a:ea typeface="+mn-ea"/>
                <a:cs typeface="+mn-cs"/>
              </a:defRPr>
            </a:lvl6pPr>
            <a:lvl7pPr marL="2667686" indent="-533222"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7pPr>
            <a:lvl8pPr marL="3115718" indent="-448032" algn="l" defTabSz="1806011" rtl="0" eaLnBrk="1" latinLnBrk="0" hangingPunct="1">
              <a:lnSpc>
                <a:spcPct val="110000"/>
              </a:lnSpc>
              <a:spcBef>
                <a:spcPts val="0"/>
              </a:spcBef>
              <a:spcAft>
                <a:spcPts val="1600"/>
              </a:spcAft>
              <a:buFont typeface="Symbol" panose="05050102010706020507" pitchFamily="18" charset="2"/>
              <a:buChar char="-"/>
              <a:defRPr sz="2400" kern="1200">
                <a:solidFill>
                  <a:schemeClr val="tx1"/>
                </a:solidFill>
                <a:latin typeface="+mn-lt"/>
                <a:ea typeface="+mn-ea"/>
                <a:cs typeface="+mn-cs"/>
              </a:defRPr>
            </a:lvl8pPr>
            <a:lvl9pPr marL="3749904" indent="-547421"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9pPr>
          </a:lstStyle>
          <a:p>
            <a:pPr lvl="1" defTabSz="903006">
              <a:spcBef>
                <a:spcPts val="200"/>
              </a:spcBef>
              <a:spcAft>
                <a:spcPts val="200"/>
              </a:spcAft>
            </a:pPr>
            <a:r>
              <a:rPr lang="de-DE" sz="900" b="1">
                <a:solidFill>
                  <a:schemeClr val="bg1"/>
                </a:solidFill>
              </a:rPr>
              <a:t>FRANKFURT</a:t>
            </a:r>
          </a:p>
          <a:p>
            <a:pPr lvl="1" defTabSz="903006">
              <a:spcBef>
                <a:spcPts val="200"/>
              </a:spcBef>
              <a:spcAft>
                <a:spcPts val="200"/>
              </a:spcAft>
            </a:pPr>
            <a:r>
              <a:rPr lang="de-DE" sz="900">
                <a:solidFill>
                  <a:schemeClr val="bg1"/>
                </a:solidFill>
              </a:rPr>
              <a:t>Güterplatz 1</a:t>
            </a:r>
          </a:p>
          <a:p>
            <a:pPr lvl="1" defTabSz="903006">
              <a:spcBef>
                <a:spcPts val="200"/>
              </a:spcBef>
              <a:spcAft>
                <a:spcPts val="200"/>
              </a:spcAft>
            </a:pPr>
            <a:r>
              <a:rPr lang="de-DE" sz="900">
                <a:solidFill>
                  <a:schemeClr val="bg1"/>
                </a:solidFill>
              </a:rPr>
              <a:t>60327 Frankfurt am Main</a:t>
            </a:r>
          </a:p>
          <a:p>
            <a:pPr lvl="1" defTabSz="903006">
              <a:spcBef>
                <a:spcPts val="200"/>
              </a:spcBef>
              <a:spcAft>
                <a:spcPts val="200"/>
              </a:spcAft>
            </a:pPr>
            <a:r>
              <a:rPr lang="de-DE" sz="900">
                <a:solidFill>
                  <a:schemeClr val="bg1"/>
                </a:solidFill>
              </a:rPr>
              <a:t>Germany</a:t>
            </a:r>
          </a:p>
        </p:txBody>
      </p:sp>
      <p:sp>
        <p:nvSpPr>
          <p:cNvPr id="19" name="Textplatzhalter 1">
            <a:extLst>
              <a:ext uri="{FF2B5EF4-FFF2-40B4-BE49-F238E27FC236}">
                <a16:creationId xmlns:a16="http://schemas.microsoft.com/office/drawing/2014/main" id="{35858AB8-0E4C-FAF7-CE0D-10EBFFC69019}"/>
              </a:ext>
            </a:extLst>
          </p:cNvPr>
          <p:cNvSpPr>
            <a:spLocks noGrp="1"/>
          </p:cNvSpPr>
          <p:nvPr>
            <p:custDataLst>
              <p:tags r:id="rId4"/>
            </p:custDataLst>
          </p:nvPr>
        </p:nvSpPr>
        <p:spPr>
          <a:xfrm>
            <a:off x="2535546" y="4665465"/>
            <a:ext cx="1349751" cy="1136827"/>
          </a:xfrm>
          <a:prstGeom prst="rect">
            <a:avLst/>
          </a:prstGeom>
        </p:spPr>
        <p:txBody>
          <a:bodyPr vert="horz" wrap="square" lIns="0" tIns="90000" rIns="0" bIns="90000" rtlCol="0">
            <a:spAutoFit/>
          </a:bodyPr>
          <a:lstStyle>
            <a:lvl1pPr marL="0" indent="0" algn="l" defTabSz="1806011" rtl="0" eaLnBrk="1" latinLnBrk="0" hangingPunct="1">
              <a:lnSpc>
                <a:spcPct val="100000"/>
              </a:lnSpc>
              <a:spcBef>
                <a:spcPts val="0"/>
              </a:spcBef>
              <a:spcAft>
                <a:spcPts val="1600"/>
              </a:spcAft>
              <a:buFontTx/>
              <a:buNone/>
              <a:defRPr lang="de-DE" sz="1800" b="0" kern="1200" cap="none" baseline="0">
                <a:solidFill>
                  <a:schemeClr val="tx1"/>
                </a:solidFill>
                <a:effectLst/>
                <a:latin typeface="Arial" panose="020B0604020202020204" pitchFamily="34" charset="0"/>
                <a:ea typeface="+mn-ea"/>
                <a:cs typeface="Arial" panose="020B0604020202020204" pitchFamily="34" charset="0"/>
              </a:defRPr>
            </a:lvl1pPr>
            <a:lvl2pPr marL="0" indent="0" algn="l" defTabSz="1806011" rtl="0" eaLnBrk="1" latinLnBrk="0" hangingPunct="1">
              <a:lnSpc>
                <a:spcPct val="110000"/>
              </a:lnSpc>
              <a:spcBef>
                <a:spcPts val="0"/>
              </a:spcBef>
              <a:spcAft>
                <a:spcPts val="1600"/>
              </a:spcAft>
              <a:buFontTx/>
              <a:buNone/>
              <a:defRPr sz="2400" kern="1200">
                <a:solidFill>
                  <a:schemeClr val="tx1"/>
                </a:solidFill>
                <a:latin typeface="+mn-lt"/>
                <a:ea typeface="+mn-ea"/>
                <a:cs typeface="+mn-cs"/>
              </a:defRPr>
            </a:lvl2pPr>
            <a:lvl3pPr marL="350223" indent="-350223"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3pPr>
            <a:lvl4pPr marL="714643" indent="-364422" algn="l" defTabSz="1806011" rtl="0" eaLnBrk="1" latinLnBrk="0" hangingPunct="1">
              <a:lnSpc>
                <a:spcPct val="110000"/>
              </a:lnSpc>
              <a:spcBef>
                <a:spcPts val="0"/>
              </a:spcBef>
              <a:spcAft>
                <a:spcPts val="1600"/>
              </a:spcAft>
              <a:buFont typeface="Symbol" panose="05050102010706020507" pitchFamily="18" charset="2"/>
              <a:buChar char="-"/>
              <a:tabLst/>
              <a:defRPr sz="2400" kern="1200">
                <a:solidFill>
                  <a:schemeClr val="tx1"/>
                </a:solidFill>
                <a:latin typeface="+mn-lt"/>
                <a:ea typeface="+mn-ea"/>
                <a:cs typeface="+mn-cs"/>
              </a:defRPr>
            </a:lvl4pPr>
            <a:lvl5pPr marL="1064867" indent="-350223"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5pPr>
            <a:lvl6pPr marL="2134464" indent="-533222" algn="l" defTabSz="1806011" rtl="0" eaLnBrk="1" latinLnBrk="0" hangingPunct="1">
              <a:lnSpc>
                <a:spcPct val="110000"/>
              </a:lnSpc>
              <a:spcBef>
                <a:spcPts val="0"/>
              </a:spcBef>
              <a:spcAft>
                <a:spcPts val="1600"/>
              </a:spcAft>
              <a:buFont typeface="Symbol" panose="05050102010706020507" pitchFamily="18" charset="2"/>
              <a:buChar char="-"/>
              <a:defRPr sz="2400" kern="1200">
                <a:solidFill>
                  <a:schemeClr val="tx1"/>
                </a:solidFill>
                <a:latin typeface="+mn-lt"/>
                <a:ea typeface="+mn-ea"/>
                <a:cs typeface="+mn-cs"/>
              </a:defRPr>
            </a:lvl6pPr>
            <a:lvl7pPr marL="2667686" indent="-533222"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7pPr>
            <a:lvl8pPr marL="3115718" indent="-448032" algn="l" defTabSz="1806011" rtl="0" eaLnBrk="1" latinLnBrk="0" hangingPunct="1">
              <a:lnSpc>
                <a:spcPct val="110000"/>
              </a:lnSpc>
              <a:spcBef>
                <a:spcPts val="0"/>
              </a:spcBef>
              <a:spcAft>
                <a:spcPts val="1600"/>
              </a:spcAft>
              <a:buFont typeface="Symbol" panose="05050102010706020507" pitchFamily="18" charset="2"/>
              <a:buChar char="-"/>
              <a:defRPr sz="2400" kern="1200">
                <a:solidFill>
                  <a:schemeClr val="tx1"/>
                </a:solidFill>
                <a:latin typeface="+mn-lt"/>
                <a:ea typeface="+mn-ea"/>
                <a:cs typeface="+mn-cs"/>
              </a:defRPr>
            </a:lvl8pPr>
            <a:lvl9pPr marL="3749904" indent="-547421"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9pPr>
          </a:lstStyle>
          <a:p>
            <a:pPr lvl="1" defTabSz="903006">
              <a:spcBef>
                <a:spcPts val="200"/>
              </a:spcBef>
              <a:spcAft>
                <a:spcPts val="200"/>
              </a:spcAft>
            </a:pPr>
            <a:r>
              <a:rPr lang="de-DE" sz="900" b="1">
                <a:solidFill>
                  <a:schemeClr val="bg1"/>
                </a:solidFill>
              </a:rPr>
              <a:t>HAMBURG</a:t>
            </a:r>
          </a:p>
          <a:p>
            <a:pPr lvl="1" defTabSz="903006">
              <a:spcBef>
                <a:spcPts val="200"/>
              </a:spcBef>
              <a:spcAft>
                <a:spcPts val="200"/>
              </a:spcAft>
            </a:pPr>
            <a:r>
              <a:rPr lang="de-DE" sz="900">
                <a:solidFill>
                  <a:schemeClr val="bg1"/>
                </a:solidFill>
              </a:rPr>
              <a:t>Große Elbstraße 36</a:t>
            </a:r>
          </a:p>
          <a:p>
            <a:pPr lvl="1" defTabSz="903006">
              <a:spcBef>
                <a:spcPts val="200"/>
              </a:spcBef>
              <a:spcAft>
                <a:spcPts val="200"/>
              </a:spcAft>
            </a:pPr>
            <a:r>
              <a:rPr lang="de-DE" sz="900">
                <a:solidFill>
                  <a:schemeClr val="bg1"/>
                </a:solidFill>
              </a:rPr>
              <a:t>22767 Hamburg</a:t>
            </a:r>
          </a:p>
          <a:p>
            <a:pPr lvl="1" defTabSz="903006">
              <a:spcBef>
                <a:spcPts val="200"/>
              </a:spcBef>
              <a:spcAft>
                <a:spcPts val="200"/>
              </a:spcAft>
            </a:pPr>
            <a:r>
              <a:rPr lang="de-DE" sz="900">
                <a:solidFill>
                  <a:schemeClr val="bg1"/>
                </a:solidFill>
              </a:rPr>
              <a:t>Germany</a:t>
            </a:r>
          </a:p>
          <a:p>
            <a:pPr lvl="1" defTabSz="903006">
              <a:spcBef>
                <a:spcPts val="200"/>
              </a:spcBef>
              <a:spcAft>
                <a:spcPts val="200"/>
              </a:spcAft>
            </a:pPr>
            <a:endParaRPr lang="de-DE" sz="900">
              <a:solidFill>
                <a:schemeClr val="bg1"/>
              </a:solidFill>
            </a:endParaRPr>
          </a:p>
        </p:txBody>
      </p:sp>
      <p:sp>
        <p:nvSpPr>
          <p:cNvPr id="22" name="Textplatzhalter 1">
            <a:extLst>
              <a:ext uri="{FF2B5EF4-FFF2-40B4-BE49-F238E27FC236}">
                <a16:creationId xmlns:a16="http://schemas.microsoft.com/office/drawing/2014/main" id="{CD91A61F-E2EF-EE44-2F6B-8008F0669831}"/>
              </a:ext>
            </a:extLst>
          </p:cNvPr>
          <p:cNvSpPr>
            <a:spLocks noGrp="1"/>
          </p:cNvSpPr>
          <p:nvPr>
            <p:custDataLst>
              <p:tags r:id="rId5"/>
            </p:custDataLst>
          </p:nvPr>
        </p:nvSpPr>
        <p:spPr>
          <a:xfrm>
            <a:off x="4443362" y="4665465"/>
            <a:ext cx="1465480" cy="933182"/>
          </a:xfrm>
          <a:prstGeom prst="rect">
            <a:avLst/>
          </a:prstGeom>
        </p:spPr>
        <p:txBody>
          <a:bodyPr vert="horz" wrap="square" lIns="0" tIns="90000" rIns="0" bIns="90000" rtlCol="0">
            <a:spAutoFit/>
          </a:bodyPr>
          <a:lstStyle>
            <a:lvl1pPr marL="0" indent="0" algn="l" defTabSz="1806011" rtl="0" eaLnBrk="1" latinLnBrk="0" hangingPunct="1">
              <a:lnSpc>
                <a:spcPct val="100000"/>
              </a:lnSpc>
              <a:spcBef>
                <a:spcPts val="0"/>
              </a:spcBef>
              <a:spcAft>
                <a:spcPts val="1600"/>
              </a:spcAft>
              <a:buFontTx/>
              <a:buNone/>
              <a:defRPr lang="de-DE" sz="1800" b="0" kern="1200" cap="none" baseline="0">
                <a:solidFill>
                  <a:schemeClr val="tx1"/>
                </a:solidFill>
                <a:effectLst/>
                <a:latin typeface="Arial" panose="020B0604020202020204" pitchFamily="34" charset="0"/>
                <a:ea typeface="+mn-ea"/>
                <a:cs typeface="Arial" panose="020B0604020202020204" pitchFamily="34" charset="0"/>
              </a:defRPr>
            </a:lvl1pPr>
            <a:lvl2pPr marL="0" indent="0" algn="l" defTabSz="1806011" rtl="0" eaLnBrk="1" latinLnBrk="0" hangingPunct="1">
              <a:lnSpc>
                <a:spcPct val="110000"/>
              </a:lnSpc>
              <a:spcBef>
                <a:spcPts val="0"/>
              </a:spcBef>
              <a:spcAft>
                <a:spcPts val="1600"/>
              </a:spcAft>
              <a:buFontTx/>
              <a:buNone/>
              <a:defRPr sz="2400" kern="1200">
                <a:solidFill>
                  <a:schemeClr val="tx1"/>
                </a:solidFill>
                <a:latin typeface="+mn-lt"/>
                <a:ea typeface="+mn-ea"/>
                <a:cs typeface="+mn-cs"/>
              </a:defRPr>
            </a:lvl2pPr>
            <a:lvl3pPr marL="350223" indent="-350223"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3pPr>
            <a:lvl4pPr marL="714643" indent="-364422" algn="l" defTabSz="1806011" rtl="0" eaLnBrk="1" latinLnBrk="0" hangingPunct="1">
              <a:lnSpc>
                <a:spcPct val="110000"/>
              </a:lnSpc>
              <a:spcBef>
                <a:spcPts val="0"/>
              </a:spcBef>
              <a:spcAft>
                <a:spcPts val="1600"/>
              </a:spcAft>
              <a:buFont typeface="Symbol" panose="05050102010706020507" pitchFamily="18" charset="2"/>
              <a:buChar char="-"/>
              <a:tabLst/>
              <a:defRPr sz="2400" kern="1200">
                <a:solidFill>
                  <a:schemeClr val="tx1"/>
                </a:solidFill>
                <a:latin typeface="+mn-lt"/>
                <a:ea typeface="+mn-ea"/>
                <a:cs typeface="+mn-cs"/>
              </a:defRPr>
            </a:lvl4pPr>
            <a:lvl5pPr marL="1064867" indent="-350223"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5pPr>
            <a:lvl6pPr marL="2134464" indent="-533222" algn="l" defTabSz="1806011" rtl="0" eaLnBrk="1" latinLnBrk="0" hangingPunct="1">
              <a:lnSpc>
                <a:spcPct val="110000"/>
              </a:lnSpc>
              <a:spcBef>
                <a:spcPts val="0"/>
              </a:spcBef>
              <a:spcAft>
                <a:spcPts val="1600"/>
              </a:spcAft>
              <a:buFont typeface="Symbol" panose="05050102010706020507" pitchFamily="18" charset="2"/>
              <a:buChar char="-"/>
              <a:defRPr sz="2400" kern="1200">
                <a:solidFill>
                  <a:schemeClr val="tx1"/>
                </a:solidFill>
                <a:latin typeface="+mn-lt"/>
                <a:ea typeface="+mn-ea"/>
                <a:cs typeface="+mn-cs"/>
              </a:defRPr>
            </a:lvl6pPr>
            <a:lvl7pPr marL="2667686" indent="-533222"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7pPr>
            <a:lvl8pPr marL="3115718" indent="-448032" algn="l" defTabSz="1806011" rtl="0" eaLnBrk="1" latinLnBrk="0" hangingPunct="1">
              <a:lnSpc>
                <a:spcPct val="110000"/>
              </a:lnSpc>
              <a:spcBef>
                <a:spcPts val="0"/>
              </a:spcBef>
              <a:spcAft>
                <a:spcPts val="1600"/>
              </a:spcAft>
              <a:buFont typeface="Symbol" panose="05050102010706020507" pitchFamily="18" charset="2"/>
              <a:buChar char="-"/>
              <a:defRPr sz="2400" kern="1200">
                <a:solidFill>
                  <a:schemeClr val="tx1"/>
                </a:solidFill>
                <a:latin typeface="+mn-lt"/>
                <a:ea typeface="+mn-ea"/>
                <a:cs typeface="+mn-cs"/>
              </a:defRPr>
            </a:lvl8pPr>
            <a:lvl9pPr marL="3749904" indent="-547421"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9pPr>
          </a:lstStyle>
          <a:p>
            <a:pPr lvl="1" defTabSz="903006">
              <a:spcBef>
                <a:spcPts val="200"/>
              </a:spcBef>
              <a:spcAft>
                <a:spcPts val="200"/>
              </a:spcAft>
            </a:pPr>
            <a:r>
              <a:rPr lang="de-DE" sz="900" b="1">
                <a:solidFill>
                  <a:schemeClr val="bg1"/>
                </a:solidFill>
              </a:rPr>
              <a:t>LEER</a:t>
            </a:r>
          </a:p>
          <a:p>
            <a:pPr lvl="1" defTabSz="903006">
              <a:spcBef>
                <a:spcPts val="200"/>
              </a:spcBef>
              <a:spcAft>
                <a:spcPts val="200"/>
              </a:spcAft>
            </a:pPr>
            <a:r>
              <a:rPr lang="de-DE" sz="900">
                <a:solidFill>
                  <a:schemeClr val="bg1"/>
                </a:solidFill>
              </a:rPr>
              <a:t>Am alten Handelshafen 3A</a:t>
            </a:r>
          </a:p>
          <a:p>
            <a:pPr lvl="1" defTabSz="903006">
              <a:spcBef>
                <a:spcPts val="200"/>
              </a:spcBef>
              <a:spcAft>
                <a:spcPts val="200"/>
              </a:spcAft>
            </a:pPr>
            <a:r>
              <a:rPr lang="de-DE" sz="900">
                <a:solidFill>
                  <a:schemeClr val="bg1"/>
                </a:solidFill>
              </a:rPr>
              <a:t>26789 Leer</a:t>
            </a:r>
          </a:p>
          <a:p>
            <a:pPr lvl="1" defTabSz="903006">
              <a:spcBef>
                <a:spcPts val="200"/>
              </a:spcBef>
              <a:spcAft>
                <a:spcPts val="200"/>
              </a:spcAft>
            </a:pPr>
            <a:r>
              <a:rPr lang="de-DE" sz="900">
                <a:solidFill>
                  <a:schemeClr val="bg1"/>
                </a:solidFill>
              </a:rPr>
              <a:t>Germany</a:t>
            </a:r>
          </a:p>
        </p:txBody>
      </p:sp>
      <p:sp>
        <p:nvSpPr>
          <p:cNvPr id="20" name="Textplatzhalter 1">
            <a:extLst>
              <a:ext uri="{FF2B5EF4-FFF2-40B4-BE49-F238E27FC236}">
                <a16:creationId xmlns:a16="http://schemas.microsoft.com/office/drawing/2014/main" id="{400A4C9E-7EA6-B573-FA4C-1FF45DFD370E}"/>
              </a:ext>
            </a:extLst>
          </p:cNvPr>
          <p:cNvSpPr>
            <a:spLocks noGrp="1"/>
          </p:cNvSpPr>
          <p:nvPr>
            <p:custDataLst>
              <p:tags r:id="rId6"/>
            </p:custDataLst>
          </p:nvPr>
        </p:nvSpPr>
        <p:spPr>
          <a:xfrm>
            <a:off x="6466907" y="4665465"/>
            <a:ext cx="1349751" cy="933182"/>
          </a:xfrm>
          <a:prstGeom prst="rect">
            <a:avLst/>
          </a:prstGeom>
        </p:spPr>
        <p:txBody>
          <a:bodyPr vert="horz" wrap="square" lIns="0" tIns="90000" rIns="0" bIns="90000" rtlCol="0">
            <a:spAutoFit/>
          </a:bodyPr>
          <a:lstStyle>
            <a:lvl1pPr marL="0" indent="0" algn="l" defTabSz="1806011" rtl="0" eaLnBrk="1" latinLnBrk="0" hangingPunct="1">
              <a:lnSpc>
                <a:spcPct val="100000"/>
              </a:lnSpc>
              <a:spcBef>
                <a:spcPts val="0"/>
              </a:spcBef>
              <a:spcAft>
                <a:spcPts val="1600"/>
              </a:spcAft>
              <a:buFontTx/>
              <a:buNone/>
              <a:defRPr lang="de-DE" sz="1800" b="0" kern="1200" cap="none" baseline="0">
                <a:solidFill>
                  <a:schemeClr val="tx1"/>
                </a:solidFill>
                <a:effectLst/>
                <a:latin typeface="Arial" panose="020B0604020202020204" pitchFamily="34" charset="0"/>
                <a:ea typeface="+mn-ea"/>
                <a:cs typeface="Arial" panose="020B0604020202020204" pitchFamily="34" charset="0"/>
              </a:defRPr>
            </a:lvl1pPr>
            <a:lvl2pPr marL="0" indent="0" algn="l" defTabSz="1806011" rtl="0" eaLnBrk="1" latinLnBrk="0" hangingPunct="1">
              <a:lnSpc>
                <a:spcPct val="110000"/>
              </a:lnSpc>
              <a:spcBef>
                <a:spcPts val="0"/>
              </a:spcBef>
              <a:spcAft>
                <a:spcPts val="1600"/>
              </a:spcAft>
              <a:buFontTx/>
              <a:buNone/>
              <a:defRPr sz="2400" kern="1200">
                <a:solidFill>
                  <a:schemeClr val="tx1"/>
                </a:solidFill>
                <a:latin typeface="+mn-lt"/>
                <a:ea typeface="+mn-ea"/>
                <a:cs typeface="+mn-cs"/>
              </a:defRPr>
            </a:lvl2pPr>
            <a:lvl3pPr marL="350223" indent="-350223"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3pPr>
            <a:lvl4pPr marL="714643" indent="-364422" algn="l" defTabSz="1806011" rtl="0" eaLnBrk="1" latinLnBrk="0" hangingPunct="1">
              <a:lnSpc>
                <a:spcPct val="110000"/>
              </a:lnSpc>
              <a:spcBef>
                <a:spcPts val="0"/>
              </a:spcBef>
              <a:spcAft>
                <a:spcPts val="1600"/>
              </a:spcAft>
              <a:buFont typeface="Symbol" panose="05050102010706020507" pitchFamily="18" charset="2"/>
              <a:buChar char="-"/>
              <a:tabLst/>
              <a:defRPr sz="2400" kern="1200">
                <a:solidFill>
                  <a:schemeClr val="tx1"/>
                </a:solidFill>
                <a:latin typeface="+mn-lt"/>
                <a:ea typeface="+mn-ea"/>
                <a:cs typeface="+mn-cs"/>
              </a:defRPr>
            </a:lvl4pPr>
            <a:lvl5pPr marL="1064867" indent="-350223"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5pPr>
            <a:lvl6pPr marL="2134464" indent="-533222" algn="l" defTabSz="1806011" rtl="0" eaLnBrk="1" latinLnBrk="0" hangingPunct="1">
              <a:lnSpc>
                <a:spcPct val="110000"/>
              </a:lnSpc>
              <a:spcBef>
                <a:spcPts val="0"/>
              </a:spcBef>
              <a:spcAft>
                <a:spcPts val="1600"/>
              </a:spcAft>
              <a:buFont typeface="Symbol" panose="05050102010706020507" pitchFamily="18" charset="2"/>
              <a:buChar char="-"/>
              <a:defRPr sz="2400" kern="1200">
                <a:solidFill>
                  <a:schemeClr val="tx1"/>
                </a:solidFill>
                <a:latin typeface="+mn-lt"/>
                <a:ea typeface="+mn-ea"/>
                <a:cs typeface="+mn-cs"/>
              </a:defRPr>
            </a:lvl6pPr>
            <a:lvl7pPr marL="2667686" indent="-533222"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7pPr>
            <a:lvl8pPr marL="3115718" indent="-448032" algn="l" defTabSz="1806011" rtl="0" eaLnBrk="1" latinLnBrk="0" hangingPunct="1">
              <a:lnSpc>
                <a:spcPct val="110000"/>
              </a:lnSpc>
              <a:spcBef>
                <a:spcPts val="0"/>
              </a:spcBef>
              <a:spcAft>
                <a:spcPts val="1600"/>
              </a:spcAft>
              <a:buFont typeface="Symbol" panose="05050102010706020507" pitchFamily="18" charset="2"/>
              <a:buChar char="-"/>
              <a:defRPr sz="2400" kern="1200">
                <a:solidFill>
                  <a:schemeClr val="tx1"/>
                </a:solidFill>
                <a:latin typeface="+mn-lt"/>
                <a:ea typeface="+mn-ea"/>
                <a:cs typeface="+mn-cs"/>
              </a:defRPr>
            </a:lvl8pPr>
            <a:lvl9pPr marL="3749904" indent="-547421"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9pPr>
          </a:lstStyle>
          <a:p>
            <a:pPr lvl="1" defTabSz="903006">
              <a:spcBef>
                <a:spcPts val="200"/>
              </a:spcBef>
              <a:spcAft>
                <a:spcPts val="200"/>
              </a:spcAft>
            </a:pPr>
            <a:r>
              <a:rPr lang="de-DE" sz="900" b="1">
                <a:solidFill>
                  <a:schemeClr val="bg1"/>
                </a:solidFill>
              </a:rPr>
              <a:t>BERLIN</a:t>
            </a:r>
          </a:p>
          <a:p>
            <a:pPr lvl="1" defTabSz="903006">
              <a:spcBef>
                <a:spcPts val="200"/>
              </a:spcBef>
              <a:spcAft>
                <a:spcPts val="200"/>
              </a:spcAft>
            </a:pPr>
            <a:r>
              <a:rPr lang="de-DE" sz="900">
                <a:solidFill>
                  <a:schemeClr val="bg1"/>
                </a:solidFill>
              </a:rPr>
              <a:t>Kurfürstendamm 54/55</a:t>
            </a:r>
          </a:p>
          <a:p>
            <a:pPr lvl="1" defTabSz="903006">
              <a:spcBef>
                <a:spcPts val="200"/>
              </a:spcBef>
              <a:spcAft>
                <a:spcPts val="200"/>
              </a:spcAft>
            </a:pPr>
            <a:r>
              <a:rPr lang="de-DE" sz="900">
                <a:solidFill>
                  <a:schemeClr val="bg1"/>
                </a:solidFill>
              </a:rPr>
              <a:t>10707 Berlin</a:t>
            </a:r>
          </a:p>
          <a:p>
            <a:pPr lvl="1" defTabSz="903006">
              <a:spcBef>
                <a:spcPts val="200"/>
              </a:spcBef>
              <a:spcAft>
                <a:spcPts val="200"/>
              </a:spcAft>
            </a:pPr>
            <a:r>
              <a:rPr lang="de-DE" sz="900">
                <a:solidFill>
                  <a:schemeClr val="bg1"/>
                </a:solidFill>
              </a:rPr>
              <a:t>Germany</a:t>
            </a:r>
          </a:p>
        </p:txBody>
      </p:sp>
      <p:sp>
        <p:nvSpPr>
          <p:cNvPr id="23" name="Textplatzhalter 1">
            <a:extLst>
              <a:ext uri="{FF2B5EF4-FFF2-40B4-BE49-F238E27FC236}">
                <a16:creationId xmlns:a16="http://schemas.microsoft.com/office/drawing/2014/main" id="{63C510A3-77A2-17D6-2AA3-DCCCC860F691}"/>
              </a:ext>
            </a:extLst>
          </p:cNvPr>
          <p:cNvSpPr>
            <a:spLocks noGrp="1"/>
          </p:cNvSpPr>
          <p:nvPr>
            <p:custDataLst>
              <p:tags r:id="rId7"/>
            </p:custDataLst>
          </p:nvPr>
        </p:nvSpPr>
        <p:spPr>
          <a:xfrm>
            <a:off x="8374724" y="4665465"/>
            <a:ext cx="1349751" cy="933182"/>
          </a:xfrm>
          <a:prstGeom prst="rect">
            <a:avLst/>
          </a:prstGeom>
        </p:spPr>
        <p:txBody>
          <a:bodyPr vert="horz" wrap="square" lIns="0" tIns="90000" rIns="0" bIns="90000" rtlCol="0">
            <a:spAutoFit/>
          </a:bodyPr>
          <a:lstStyle>
            <a:lvl1pPr marL="0" indent="0" algn="l" defTabSz="1806011" rtl="0" eaLnBrk="1" latinLnBrk="0" hangingPunct="1">
              <a:lnSpc>
                <a:spcPct val="100000"/>
              </a:lnSpc>
              <a:spcBef>
                <a:spcPts val="0"/>
              </a:spcBef>
              <a:spcAft>
                <a:spcPts val="1600"/>
              </a:spcAft>
              <a:buFontTx/>
              <a:buNone/>
              <a:defRPr lang="de-DE" sz="1800" b="0" kern="1200" cap="none" baseline="0">
                <a:solidFill>
                  <a:schemeClr val="tx1"/>
                </a:solidFill>
                <a:effectLst/>
                <a:latin typeface="Arial" panose="020B0604020202020204" pitchFamily="34" charset="0"/>
                <a:ea typeface="+mn-ea"/>
                <a:cs typeface="Arial" panose="020B0604020202020204" pitchFamily="34" charset="0"/>
              </a:defRPr>
            </a:lvl1pPr>
            <a:lvl2pPr marL="0" indent="0" algn="l" defTabSz="1806011" rtl="0" eaLnBrk="1" latinLnBrk="0" hangingPunct="1">
              <a:lnSpc>
                <a:spcPct val="110000"/>
              </a:lnSpc>
              <a:spcBef>
                <a:spcPts val="0"/>
              </a:spcBef>
              <a:spcAft>
                <a:spcPts val="1600"/>
              </a:spcAft>
              <a:buFontTx/>
              <a:buNone/>
              <a:defRPr sz="2400" kern="1200">
                <a:solidFill>
                  <a:schemeClr val="tx1"/>
                </a:solidFill>
                <a:latin typeface="+mn-lt"/>
                <a:ea typeface="+mn-ea"/>
                <a:cs typeface="+mn-cs"/>
              </a:defRPr>
            </a:lvl2pPr>
            <a:lvl3pPr marL="350223" indent="-350223"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3pPr>
            <a:lvl4pPr marL="714643" indent="-364422" algn="l" defTabSz="1806011" rtl="0" eaLnBrk="1" latinLnBrk="0" hangingPunct="1">
              <a:lnSpc>
                <a:spcPct val="110000"/>
              </a:lnSpc>
              <a:spcBef>
                <a:spcPts val="0"/>
              </a:spcBef>
              <a:spcAft>
                <a:spcPts val="1600"/>
              </a:spcAft>
              <a:buFont typeface="Symbol" panose="05050102010706020507" pitchFamily="18" charset="2"/>
              <a:buChar char="-"/>
              <a:tabLst/>
              <a:defRPr sz="2400" kern="1200">
                <a:solidFill>
                  <a:schemeClr val="tx1"/>
                </a:solidFill>
                <a:latin typeface="+mn-lt"/>
                <a:ea typeface="+mn-ea"/>
                <a:cs typeface="+mn-cs"/>
              </a:defRPr>
            </a:lvl4pPr>
            <a:lvl5pPr marL="1064867" indent="-350223"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5pPr>
            <a:lvl6pPr marL="2134464" indent="-533222" algn="l" defTabSz="1806011" rtl="0" eaLnBrk="1" latinLnBrk="0" hangingPunct="1">
              <a:lnSpc>
                <a:spcPct val="110000"/>
              </a:lnSpc>
              <a:spcBef>
                <a:spcPts val="0"/>
              </a:spcBef>
              <a:spcAft>
                <a:spcPts val="1600"/>
              </a:spcAft>
              <a:buFont typeface="Symbol" panose="05050102010706020507" pitchFamily="18" charset="2"/>
              <a:buChar char="-"/>
              <a:defRPr sz="2400" kern="1200">
                <a:solidFill>
                  <a:schemeClr val="tx1"/>
                </a:solidFill>
                <a:latin typeface="+mn-lt"/>
                <a:ea typeface="+mn-ea"/>
                <a:cs typeface="+mn-cs"/>
              </a:defRPr>
            </a:lvl6pPr>
            <a:lvl7pPr marL="2667686" indent="-533222"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7pPr>
            <a:lvl8pPr marL="3115718" indent="-448032" algn="l" defTabSz="1806011" rtl="0" eaLnBrk="1" latinLnBrk="0" hangingPunct="1">
              <a:lnSpc>
                <a:spcPct val="110000"/>
              </a:lnSpc>
              <a:spcBef>
                <a:spcPts val="0"/>
              </a:spcBef>
              <a:spcAft>
                <a:spcPts val="1600"/>
              </a:spcAft>
              <a:buFont typeface="Symbol" panose="05050102010706020507" pitchFamily="18" charset="2"/>
              <a:buChar char="-"/>
              <a:defRPr sz="2400" kern="1200">
                <a:solidFill>
                  <a:schemeClr val="tx1"/>
                </a:solidFill>
                <a:latin typeface="+mn-lt"/>
                <a:ea typeface="+mn-ea"/>
                <a:cs typeface="+mn-cs"/>
              </a:defRPr>
            </a:lvl8pPr>
            <a:lvl9pPr marL="3749904" indent="-547421"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9pPr>
          </a:lstStyle>
          <a:p>
            <a:pPr lvl="1" defTabSz="903006">
              <a:spcBef>
                <a:spcPts val="200"/>
              </a:spcBef>
              <a:spcAft>
                <a:spcPts val="200"/>
              </a:spcAft>
            </a:pPr>
            <a:r>
              <a:rPr lang="de-DE" sz="900" b="1">
                <a:solidFill>
                  <a:schemeClr val="bg1"/>
                </a:solidFill>
              </a:rPr>
              <a:t>MÜNCHEN</a:t>
            </a:r>
          </a:p>
          <a:p>
            <a:pPr lvl="1" defTabSz="903006">
              <a:spcBef>
                <a:spcPts val="200"/>
              </a:spcBef>
              <a:spcAft>
                <a:spcPts val="200"/>
              </a:spcAft>
            </a:pPr>
            <a:r>
              <a:rPr lang="de-DE" sz="900">
                <a:solidFill>
                  <a:schemeClr val="bg1"/>
                </a:solidFill>
              </a:rPr>
              <a:t>Prinzregentenstraße 20</a:t>
            </a:r>
          </a:p>
          <a:p>
            <a:pPr lvl="1" defTabSz="903006">
              <a:spcBef>
                <a:spcPts val="200"/>
              </a:spcBef>
              <a:spcAft>
                <a:spcPts val="200"/>
              </a:spcAft>
            </a:pPr>
            <a:r>
              <a:rPr lang="de-DE" sz="900">
                <a:solidFill>
                  <a:schemeClr val="bg1"/>
                </a:solidFill>
              </a:rPr>
              <a:t>80538 München</a:t>
            </a:r>
          </a:p>
          <a:p>
            <a:pPr lvl="1" defTabSz="903006">
              <a:spcBef>
                <a:spcPts val="200"/>
              </a:spcBef>
              <a:spcAft>
                <a:spcPts val="200"/>
              </a:spcAft>
            </a:pPr>
            <a:r>
              <a:rPr lang="de-DE" sz="900">
                <a:solidFill>
                  <a:schemeClr val="bg1"/>
                </a:solidFill>
              </a:rPr>
              <a:t>Germany</a:t>
            </a:r>
          </a:p>
        </p:txBody>
      </p:sp>
      <p:sp>
        <p:nvSpPr>
          <p:cNvPr id="2" name="Textplatzhalter 1">
            <a:extLst>
              <a:ext uri="{FF2B5EF4-FFF2-40B4-BE49-F238E27FC236}">
                <a16:creationId xmlns:a16="http://schemas.microsoft.com/office/drawing/2014/main" id="{D2872D53-5B70-3DC7-C5F8-745B286D39F7}"/>
              </a:ext>
            </a:extLst>
          </p:cNvPr>
          <p:cNvSpPr>
            <a:spLocks noGrp="1"/>
          </p:cNvSpPr>
          <p:nvPr>
            <p:custDataLst>
              <p:tags r:id="rId8"/>
            </p:custDataLst>
          </p:nvPr>
        </p:nvSpPr>
        <p:spPr>
          <a:xfrm>
            <a:off x="10036746" y="4665465"/>
            <a:ext cx="1349751" cy="933182"/>
          </a:xfrm>
          <a:prstGeom prst="rect">
            <a:avLst/>
          </a:prstGeom>
        </p:spPr>
        <p:txBody>
          <a:bodyPr vert="horz" wrap="square" lIns="0" tIns="90000" rIns="0" bIns="90000" rtlCol="0">
            <a:spAutoFit/>
          </a:bodyPr>
          <a:lstStyle>
            <a:lvl1pPr marL="0" indent="0" algn="l" defTabSz="1806011" rtl="0" eaLnBrk="1" latinLnBrk="0" hangingPunct="1">
              <a:lnSpc>
                <a:spcPct val="100000"/>
              </a:lnSpc>
              <a:spcBef>
                <a:spcPts val="0"/>
              </a:spcBef>
              <a:spcAft>
                <a:spcPts val="1600"/>
              </a:spcAft>
              <a:buFontTx/>
              <a:buNone/>
              <a:defRPr lang="de-DE" sz="1800" b="0" kern="1200" cap="none" baseline="0">
                <a:solidFill>
                  <a:schemeClr val="tx1"/>
                </a:solidFill>
                <a:effectLst/>
                <a:latin typeface="Arial" panose="020B0604020202020204" pitchFamily="34" charset="0"/>
                <a:ea typeface="+mn-ea"/>
                <a:cs typeface="Arial" panose="020B0604020202020204" pitchFamily="34" charset="0"/>
              </a:defRPr>
            </a:lvl1pPr>
            <a:lvl2pPr marL="0" indent="0" algn="l" defTabSz="1806011" rtl="0" eaLnBrk="1" latinLnBrk="0" hangingPunct="1">
              <a:lnSpc>
                <a:spcPct val="110000"/>
              </a:lnSpc>
              <a:spcBef>
                <a:spcPts val="0"/>
              </a:spcBef>
              <a:spcAft>
                <a:spcPts val="1600"/>
              </a:spcAft>
              <a:buFontTx/>
              <a:buNone/>
              <a:defRPr sz="2400" kern="1200">
                <a:solidFill>
                  <a:schemeClr val="tx1"/>
                </a:solidFill>
                <a:latin typeface="+mn-lt"/>
                <a:ea typeface="+mn-ea"/>
                <a:cs typeface="+mn-cs"/>
              </a:defRPr>
            </a:lvl2pPr>
            <a:lvl3pPr marL="350223" indent="-350223"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3pPr>
            <a:lvl4pPr marL="714643" indent="-364422" algn="l" defTabSz="1806011" rtl="0" eaLnBrk="1" latinLnBrk="0" hangingPunct="1">
              <a:lnSpc>
                <a:spcPct val="110000"/>
              </a:lnSpc>
              <a:spcBef>
                <a:spcPts val="0"/>
              </a:spcBef>
              <a:spcAft>
                <a:spcPts val="1600"/>
              </a:spcAft>
              <a:buFont typeface="Symbol" panose="05050102010706020507" pitchFamily="18" charset="2"/>
              <a:buChar char="-"/>
              <a:tabLst/>
              <a:defRPr sz="2400" kern="1200">
                <a:solidFill>
                  <a:schemeClr val="tx1"/>
                </a:solidFill>
                <a:latin typeface="+mn-lt"/>
                <a:ea typeface="+mn-ea"/>
                <a:cs typeface="+mn-cs"/>
              </a:defRPr>
            </a:lvl4pPr>
            <a:lvl5pPr marL="1064867" indent="-350223"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5pPr>
            <a:lvl6pPr marL="2134464" indent="-533222" algn="l" defTabSz="1806011" rtl="0" eaLnBrk="1" latinLnBrk="0" hangingPunct="1">
              <a:lnSpc>
                <a:spcPct val="110000"/>
              </a:lnSpc>
              <a:spcBef>
                <a:spcPts val="0"/>
              </a:spcBef>
              <a:spcAft>
                <a:spcPts val="1600"/>
              </a:spcAft>
              <a:buFont typeface="Symbol" panose="05050102010706020507" pitchFamily="18" charset="2"/>
              <a:buChar char="-"/>
              <a:defRPr sz="2400" kern="1200">
                <a:solidFill>
                  <a:schemeClr val="tx1"/>
                </a:solidFill>
                <a:latin typeface="+mn-lt"/>
                <a:ea typeface="+mn-ea"/>
                <a:cs typeface="+mn-cs"/>
              </a:defRPr>
            </a:lvl6pPr>
            <a:lvl7pPr marL="2667686" indent="-533222"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7pPr>
            <a:lvl8pPr marL="3115718" indent="-448032" algn="l" defTabSz="1806011" rtl="0" eaLnBrk="1" latinLnBrk="0" hangingPunct="1">
              <a:lnSpc>
                <a:spcPct val="110000"/>
              </a:lnSpc>
              <a:spcBef>
                <a:spcPts val="0"/>
              </a:spcBef>
              <a:spcAft>
                <a:spcPts val="1600"/>
              </a:spcAft>
              <a:buFont typeface="Symbol" panose="05050102010706020507" pitchFamily="18" charset="2"/>
              <a:buChar char="-"/>
              <a:defRPr sz="2400" kern="1200">
                <a:solidFill>
                  <a:schemeClr val="tx1"/>
                </a:solidFill>
                <a:latin typeface="+mn-lt"/>
                <a:ea typeface="+mn-ea"/>
                <a:cs typeface="+mn-cs"/>
              </a:defRPr>
            </a:lvl8pPr>
            <a:lvl9pPr marL="3749904" indent="-547421" algn="l" defTabSz="1806011" rtl="0" eaLnBrk="1" latinLnBrk="0" hangingPunct="1">
              <a:lnSpc>
                <a:spcPct val="110000"/>
              </a:lnSpc>
              <a:spcBef>
                <a:spcPts val="0"/>
              </a:spcBef>
              <a:spcAft>
                <a:spcPts val="1600"/>
              </a:spcAft>
              <a:buFont typeface="Arial" panose="020B0604020202020204" pitchFamily="34" charset="0"/>
              <a:buChar char="•"/>
              <a:defRPr sz="2400" kern="1200">
                <a:solidFill>
                  <a:schemeClr val="tx1"/>
                </a:solidFill>
                <a:latin typeface="+mn-lt"/>
                <a:ea typeface="+mn-ea"/>
                <a:cs typeface="+mn-cs"/>
              </a:defRPr>
            </a:lvl9pPr>
          </a:lstStyle>
          <a:p>
            <a:pPr lvl="1" defTabSz="903006">
              <a:spcBef>
                <a:spcPts val="200"/>
              </a:spcBef>
              <a:spcAft>
                <a:spcPts val="200"/>
              </a:spcAft>
            </a:pPr>
            <a:r>
              <a:rPr lang="de-DE" sz="900" b="1">
                <a:solidFill>
                  <a:schemeClr val="bg1"/>
                </a:solidFill>
              </a:rPr>
              <a:t>DRESDEN</a:t>
            </a:r>
          </a:p>
          <a:p>
            <a:pPr lvl="1" defTabSz="903006">
              <a:spcBef>
                <a:spcPts val="200"/>
              </a:spcBef>
              <a:spcAft>
                <a:spcPts val="200"/>
              </a:spcAft>
            </a:pPr>
            <a:r>
              <a:rPr lang="de-DE" sz="900">
                <a:solidFill>
                  <a:schemeClr val="bg1"/>
                </a:solidFill>
              </a:rPr>
              <a:t>Am Brauhaus 1</a:t>
            </a:r>
          </a:p>
          <a:p>
            <a:pPr lvl="1" defTabSz="903006">
              <a:spcBef>
                <a:spcPts val="200"/>
              </a:spcBef>
              <a:spcAft>
                <a:spcPts val="200"/>
              </a:spcAft>
            </a:pPr>
            <a:r>
              <a:rPr lang="de-DE" sz="900">
                <a:solidFill>
                  <a:schemeClr val="bg1"/>
                </a:solidFill>
              </a:rPr>
              <a:t>01099 Dresden</a:t>
            </a:r>
          </a:p>
          <a:p>
            <a:pPr lvl="1" defTabSz="903006">
              <a:spcBef>
                <a:spcPts val="200"/>
              </a:spcBef>
              <a:spcAft>
                <a:spcPts val="200"/>
              </a:spcAft>
            </a:pPr>
            <a:r>
              <a:rPr lang="de-DE" sz="900">
                <a:solidFill>
                  <a:schemeClr val="bg1"/>
                </a:solidFill>
              </a:rPr>
              <a:t>Germany</a:t>
            </a:r>
          </a:p>
        </p:txBody>
      </p:sp>
    </p:spTree>
    <p:custDataLst>
      <p:tags r:id="rId1"/>
    </p:custDataLst>
    <p:extLst>
      <p:ext uri="{BB962C8B-B14F-4D97-AF65-F5344CB8AC3E}">
        <p14:creationId xmlns:p14="http://schemas.microsoft.com/office/powerpoint/2010/main" val="1893038488"/>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75A430-4C10-41F3-6AAF-2C1EB6D884A0}"/>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479E0551-E0FA-7E82-FC3E-20253854D409}"/>
              </a:ext>
            </a:extLst>
          </p:cNvPr>
          <p:cNvSpPr>
            <a:spLocks noGrp="1"/>
          </p:cNvSpPr>
          <p:nvPr>
            <p:ph type="title"/>
          </p:nvPr>
        </p:nvSpPr>
        <p:spPr/>
        <p:txBody>
          <a:bodyPr/>
          <a:lstStyle/>
          <a:p>
            <a:r>
              <a:rPr lang="de-DE" b="1" dirty="0"/>
              <a:t>The 1910 Collision Convention, </a:t>
            </a:r>
            <a:r>
              <a:rPr lang="de-DE" b="1" dirty="0" err="1"/>
              <a:t>the</a:t>
            </a:r>
            <a:r>
              <a:rPr lang="de-DE" b="1" dirty="0"/>
              <a:t> 1952 </a:t>
            </a:r>
            <a:r>
              <a:rPr lang="de-DE" b="1" dirty="0" err="1"/>
              <a:t>Jurisdiction</a:t>
            </a:r>
            <a:r>
              <a:rPr lang="de-DE" b="1" dirty="0"/>
              <a:t> Convention and </a:t>
            </a:r>
            <a:r>
              <a:rPr lang="de-DE" b="1" dirty="0" err="1"/>
              <a:t>the</a:t>
            </a:r>
            <a:r>
              <a:rPr lang="de-DE" b="1" dirty="0"/>
              <a:t> </a:t>
            </a:r>
            <a:r>
              <a:rPr lang="de-DE" b="1" dirty="0" err="1"/>
              <a:t>rio</a:t>
            </a:r>
            <a:r>
              <a:rPr lang="de-DE" b="1" dirty="0"/>
              <a:t> draft 1977</a:t>
            </a:r>
            <a:endParaRPr lang="en-US" b="1" dirty="0">
              <a:cs typeface="Arial"/>
            </a:endParaRPr>
          </a:p>
        </p:txBody>
      </p:sp>
      <p:sp>
        <p:nvSpPr>
          <p:cNvPr id="10" name="Content Placeholder 9">
            <a:extLst>
              <a:ext uri="{FF2B5EF4-FFF2-40B4-BE49-F238E27FC236}">
                <a16:creationId xmlns:a16="http://schemas.microsoft.com/office/drawing/2014/main" id="{5315549D-6E55-9C14-6399-5C4CBD5E79BE}"/>
              </a:ext>
            </a:extLst>
          </p:cNvPr>
          <p:cNvSpPr>
            <a:spLocks noGrp="1"/>
          </p:cNvSpPr>
          <p:nvPr>
            <p:ph sz="quarter" idx="17" hasCustomPrompt="1"/>
          </p:nvPr>
        </p:nvSpPr>
        <p:spPr/>
        <p:txBody>
          <a:bodyPr vert="horz" lIns="0" tIns="0" rIns="0" bIns="0" rtlCol="0" anchor="t">
            <a:noAutofit/>
          </a:bodyPr>
          <a:lstStyle/>
          <a:p>
            <a:pPr>
              <a:lnSpc>
                <a:spcPct val="113999"/>
              </a:lnSpc>
            </a:pPr>
            <a:endParaRPr lang="en-GB" sz="2000" dirty="0">
              <a:ea typeface="+mn-lt"/>
              <a:cs typeface="+mn-lt"/>
            </a:endParaRPr>
          </a:p>
          <a:p>
            <a:pPr marL="342900" indent="-342900">
              <a:lnSpc>
                <a:spcPct val="113999"/>
              </a:lnSpc>
              <a:buFont typeface="Arial" panose="020B0604020202020204" pitchFamily="34" charset="0"/>
              <a:buChar char="•"/>
            </a:pPr>
            <a:r>
              <a:rPr lang="en-US" sz="2000" dirty="0">
                <a:ea typeface="+mn-lt"/>
                <a:cs typeface="+mn-lt"/>
              </a:rPr>
              <a:t>International Convention for the Unification of Certain Rules of Law with respect to Collision between Vessels, Brussels, 23 September 1910</a:t>
            </a:r>
          </a:p>
          <a:p>
            <a:pPr marL="714375" indent="-342900">
              <a:lnSpc>
                <a:spcPct val="113999"/>
              </a:lnSpc>
              <a:buFont typeface="Wingdings" panose="05000000000000000000" pitchFamily="2" charset="2"/>
              <a:buChar char="Ø"/>
            </a:pPr>
            <a:r>
              <a:rPr lang="en-US" sz="2000">
                <a:ea typeface="+mn-lt"/>
                <a:cs typeface="+mn-lt"/>
              </a:rPr>
              <a:t>83 </a:t>
            </a:r>
            <a:r>
              <a:rPr lang="en-US" sz="2000" dirty="0">
                <a:ea typeface="+mn-lt"/>
                <a:cs typeface="+mn-lt"/>
              </a:rPr>
              <a:t>ratifications</a:t>
            </a:r>
            <a:endParaRPr lang="en-GB" sz="2000" dirty="0">
              <a:ea typeface="+mn-lt"/>
              <a:cs typeface="+mn-lt"/>
            </a:endParaRPr>
          </a:p>
          <a:p>
            <a:pPr marL="342900" indent="-342900">
              <a:lnSpc>
                <a:spcPct val="113999"/>
              </a:lnSpc>
              <a:buFont typeface="Arial" panose="020B0604020202020204" pitchFamily="34" charset="0"/>
              <a:buChar char="•"/>
            </a:pPr>
            <a:r>
              <a:rPr lang="en-US" sz="2000" dirty="0">
                <a:ea typeface="+mn-lt"/>
                <a:cs typeface="+mn-lt"/>
              </a:rPr>
              <a:t>International Convention on Certain Rules concerning Civil Jurisdiction in Matters of Collision, Brussels, 10 May 1952</a:t>
            </a:r>
          </a:p>
          <a:p>
            <a:pPr marL="714375" indent="-342900">
              <a:lnSpc>
                <a:spcPct val="113999"/>
              </a:lnSpc>
              <a:buFont typeface="Wingdings" panose="05000000000000000000" pitchFamily="2" charset="2"/>
              <a:buChar char="Ø"/>
            </a:pPr>
            <a:r>
              <a:rPr lang="en-US" sz="2000" dirty="0">
                <a:ea typeface="+mn-lt"/>
                <a:cs typeface="+mn-lt"/>
              </a:rPr>
              <a:t> 35 ratifications</a:t>
            </a:r>
          </a:p>
          <a:p>
            <a:pPr marL="714375" indent="-342900">
              <a:lnSpc>
                <a:spcPct val="113999"/>
              </a:lnSpc>
              <a:buFont typeface="Wingdings" panose="05000000000000000000" pitchFamily="2" charset="2"/>
              <a:buChar char="Ø"/>
            </a:pPr>
            <a:r>
              <a:rPr lang="en-US" sz="2000" dirty="0">
                <a:ea typeface="+mn-lt"/>
                <a:cs typeface="+mn-lt"/>
              </a:rPr>
              <a:t>“Missing” states: Australia, Brazil, Canada, China, Denmark, Finland, India, Japan, Latvia, Malta, Mexico, Netherlands, New Zealand, Norway, Russia, Singapore, Sweden, Turkey, Uruguay</a:t>
            </a:r>
          </a:p>
          <a:p>
            <a:pPr marL="342900" indent="-342900">
              <a:lnSpc>
                <a:spcPct val="113999"/>
              </a:lnSpc>
              <a:buFont typeface="Arial" panose="020B0604020202020204" pitchFamily="34" charset="0"/>
              <a:buChar char="•"/>
            </a:pPr>
            <a:r>
              <a:rPr lang="en-GB" sz="2000" dirty="0">
                <a:ea typeface="+mn-lt"/>
                <a:cs typeface="+mn-lt"/>
              </a:rPr>
              <a:t>Rio Draft 1977</a:t>
            </a:r>
          </a:p>
        </p:txBody>
      </p:sp>
      <p:sp>
        <p:nvSpPr>
          <p:cNvPr id="2" name="Fußzeilenplatzhalter 1">
            <a:extLst>
              <a:ext uri="{FF2B5EF4-FFF2-40B4-BE49-F238E27FC236}">
                <a16:creationId xmlns:a16="http://schemas.microsoft.com/office/drawing/2014/main" id="{D70908C5-02A2-FD96-4D6A-53B00A46EDBB}"/>
              </a:ext>
            </a:extLst>
          </p:cNvPr>
          <p:cNvSpPr>
            <a:spLocks noGrp="1"/>
          </p:cNvSpPr>
          <p:nvPr>
            <p:ph type="ftr" sz="quarter" idx="15"/>
          </p:nvPr>
        </p:nvSpPr>
        <p:spPr/>
        <p:txBody>
          <a:bodyPr/>
          <a:lstStyle/>
          <a:p>
            <a:r>
              <a:rPr lang="de-DE" dirty="0">
                <a:cs typeface="Arial"/>
              </a:rPr>
              <a:t>CMI Colloquium Rio de Janeiro 2026 – Dieter Schwampe </a:t>
            </a:r>
          </a:p>
        </p:txBody>
      </p:sp>
      <p:sp>
        <p:nvSpPr>
          <p:cNvPr id="3" name="Datumsplatzhalter 2">
            <a:extLst>
              <a:ext uri="{FF2B5EF4-FFF2-40B4-BE49-F238E27FC236}">
                <a16:creationId xmlns:a16="http://schemas.microsoft.com/office/drawing/2014/main" id="{CD8192EE-C79B-B471-E2D3-3811DC9AB794}"/>
              </a:ext>
            </a:extLst>
          </p:cNvPr>
          <p:cNvSpPr>
            <a:spLocks noGrp="1"/>
          </p:cNvSpPr>
          <p:nvPr>
            <p:ph type="dt" sz="half" idx="14"/>
          </p:nvPr>
        </p:nvSpPr>
        <p:spPr/>
        <p:txBody>
          <a:bodyPr/>
          <a:lstStyle/>
          <a:p>
            <a:r>
              <a:rPr lang="de-DE" dirty="0"/>
              <a:t>14.06.2026</a:t>
            </a:r>
          </a:p>
        </p:txBody>
      </p:sp>
      <p:sp>
        <p:nvSpPr>
          <p:cNvPr id="4" name="Foliennummernplatzhalter 3">
            <a:extLst>
              <a:ext uri="{FF2B5EF4-FFF2-40B4-BE49-F238E27FC236}">
                <a16:creationId xmlns:a16="http://schemas.microsoft.com/office/drawing/2014/main" id="{47FDB877-25C1-35F1-E7FD-FA4BF494986E}"/>
              </a:ext>
            </a:extLst>
          </p:cNvPr>
          <p:cNvSpPr>
            <a:spLocks noGrp="1"/>
          </p:cNvSpPr>
          <p:nvPr>
            <p:ph type="sldNum" sz="quarter" idx="16"/>
          </p:nvPr>
        </p:nvSpPr>
        <p:spPr/>
        <p:txBody>
          <a:bodyPr/>
          <a:lstStyle/>
          <a:p>
            <a:fld id="{EFDB17C1-FF3A-45DC-94C1-44444C959F3B}" type="slidenum">
              <a:rPr lang="de-DE" smtClean="0"/>
              <a:pPr/>
              <a:t>3</a:t>
            </a:fld>
            <a:endParaRPr lang="de-DE"/>
          </a:p>
        </p:txBody>
      </p:sp>
    </p:spTree>
    <p:custDataLst>
      <p:tags r:id="rId1"/>
    </p:custDataLst>
    <p:extLst>
      <p:ext uri="{BB962C8B-B14F-4D97-AF65-F5344CB8AC3E}">
        <p14:creationId xmlns:p14="http://schemas.microsoft.com/office/powerpoint/2010/main" val="37888835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18E12B-7DA1-C57B-25AC-5421F880FF3D}"/>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AF18C79B-082A-655A-DCA9-26FB6271B2AE}"/>
              </a:ext>
            </a:extLst>
          </p:cNvPr>
          <p:cNvSpPr>
            <a:spLocks noGrp="1"/>
          </p:cNvSpPr>
          <p:nvPr>
            <p:ph type="title"/>
          </p:nvPr>
        </p:nvSpPr>
        <p:spPr/>
        <p:txBody>
          <a:bodyPr/>
          <a:lstStyle/>
          <a:p>
            <a:r>
              <a:rPr lang="de-DE" b="1" dirty="0"/>
              <a:t>The </a:t>
            </a:r>
            <a:r>
              <a:rPr lang="de-DE" b="1" dirty="0" err="1"/>
              <a:t>Draft</a:t>
            </a:r>
            <a:r>
              <a:rPr lang="de-DE" b="1" dirty="0"/>
              <a:t> Protocol</a:t>
            </a:r>
            <a:endParaRPr lang="en-US" b="1" dirty="0">
              <a:cs typeface="Arial"/>
            </a:endParaRPr>
          </a:p>
        </p:txBody>
      </p:sp>
      <p:sp>
        <p:nvSpPr>
          <p:cNvPr id="10" name="Content Placeholder 9">
            <a:extLst>
              <a:ext uri="{FF2B5EF4-FFF2-40B4-BE49-F238E27FC236}">
                <a16:creationId xmlns:a16="http://schemas.microsoft.com/office/drawing/2014/main" id="{ED2934C2-AB3B-7BC6-4952-EA9B792C5413}"/>
              </a:ext>
            </a:extLst>
          </p:cNvPr>
          <p:cNvSpPr>
            <a:spLocks noGrp="1"/>
          </p:cNvSpPr>
          <p:nvPr>
            <p:ph sz="quarter" idx="17" hasCustomPrompt="1"/>
          </p:nvPr>
        </p:nvSpPr>
        <p:spPr/>
        <p:txBody>
          <a:bodyPr vert="horz" lIns="0" tIns="0" rIns="0" bIns="0" rtlCol="0" anchor="t">
            <a:noAutofit/>
          </a:bodyPr>
          <a:lstStyle/>
          <a:p>
            <a:pPr>
              <a:lnSpc>
                <a:spcPct val="113999"/>
              </a:lnSpc>
            </a:pPr>
            <a:endParaRPr lang="en-GB" sz="2000" dirty="0">
              <a:ea typeface="+mn-lt"/>
              <a:cs typeface="+mn-lt"/>
            </a:endParaRPr>
          </a:p>
          <a:p>
            <a:pPr marL="342900" indent="-342900">
              <a:lnSpc>
                <a:spcPct val="113999"/>
              </a:lnSpc>
              <a:buFont typeface="Arial" panose="020B0604020202020204" pitchFamily="34" charset="0"/>
              <a:buChar char="•"/>
            </a:pPr>
            <a:r>
              <a:rPr lang="en-US" sz="2000" dirty="0">
                <a:ea typeface="+mn-lt"/>
                <a:cs typeface="+mn-lt"/>
              </a:rPr>
              <a:t>Jurisdiction dealt with in Art. 9.3 Draft Protocol</a:t>
            </a:r>
          </a:p>
          <a:p>
            <a:pPr marL="342900" indent="-342900">
              <a:lnSpc>
                <a:spcPct val="113999"/>
              </a:lnSpc>
              <a:buFont typeface="Arial" panose="020B0604020202020204" pitchFamily="34" charset="0"/>
              <a:buChar char="•"/>
            </a:pPr>
            <a:endParaRPr lang="en-GB" sz="2000" dirty="0">
              <a:ea typeface="+mn-lt"/>
              <a:cs typeface="+mn-lt"/>
            </a:endParaRPr>
          </a:p>
          <a:p>
            <a:pPr marL="342900" indent="-342900">
              <a:lnSpc>
                <a:spcPct val="113999"/>
              </a:lnSpc>
              <a:buFont typeface="Arial" panose="020B0604020202020204" pitchFamily="34" charset="0"/>
              <a:buChar char="•"/>
            </a:pPr>
            <a:r>
              <a:rPr lang="en-GB" sz="2000" dirty="0">
                <a:ea typeface="+mn-lt"/>
                <a:cs typeface="+mn-lt"/>
              </a:rPr>
              <a:t>Modelled after the Rio Draft</a:t>
            </a:r>
          </a:p>
          <a:p>
            <a:pPr marL="342900" indent="-342900">
              <a:lnSpc>
                <a:spcPct val="113999"/>
              </a:lnSpc>
              <a:buFont typeface="Arial" panose="020B0604020202020204" pitchFamily="34" charset="0"/>
              <a:buChar char="•"/>
            </a:pPr>
            <a:endParaRPr lang="en-GB" sz="2000" dirty="0">
              <a:ea typeface="+mn-lt"/>
              <a:cs typeface="+mn-lt"/>
            </a:endParaRPr>
          </a:p>
          <a:p>
            <a:pPr marL="342900" indent="-342900">
              <a:lnSpc>
                <a:spcPct val="113999"/>
              </a:lnSpc>
              <a:buFont typeface="Arial" panose="020B0604020202020204" pitchFamily="34" charset="0"/>
              <a:buChar char="•"/>
            </a:pPr>
            <a:r>
              <a:rPr lang="en-US" sz="2000" dirty="0">
                <a:ea typeface="+mn-lt"/>
                <a:cs typeface="+mn-lt"/>
              </a:rPr>
              <a:t>Provisions on</a:t>
            </a:r>
          </a:p>
          <a:p>
            <a:pPr marL="714375" indent="-342900">
              <a:lnSpc>
                <a:spcPct val="113999"/>
              </a:lnSpc>
              <a:buFont typeface="Wingdings" panose="05000000000000000000" pitchFamily="2" charset="2"/>
              <a:buChar char="Ø"/>
            </a:pPr>
            <a:r>
              <a:rPr lang="en-US" sz="2000" dirty="0">
                <a:ea typeface="+mn-lt"/>
                <a:cs typeface="+mn-lt"/>
              </a:rPr>
              <a:t> available jurisdictions</a:t>
            </a:r>
          </a:p>
          <a:p>
            <a:pPr marL="714375" indent="-342900">
              <a:lnSpc>
                <a:spcPct val="113999"/>
              </a:lnSpc>
              <a:buFont typeface="Wingdings" panose="05000000000000000000" pitchFamily="2" charset="2"/>
              <a:buChar char="Ø"/>
            </a:pPr>
            <a:r>
              <a:rPr lang="en-US" sz="2000" dirty="0">
                <a:ea typeface="+mn-lt"/>
                <a:cs typeface="+mn-lt"/>
              </a:rPr>
              <a:t>Conflicting proceedings</a:t>
            </a:r>
          </a:p>
          <a:p>
            <a:pPr marL="342900" indent="-342900">
              <a:lnSpc>
                <a:spcPct val="113999"/>
              </a:lnSpc>
              <a:buFont typeface="Arial" panose="020B0604020202020204" pitchFamily="34" charset="0"/>
              <a:buChar char="•"/>
            </a:pPr>
            <a:endParaRPr lang="en-GB" sz="2000" dirty="0">
              <a:ea typeface="+mn-lt"/>
              <a:cs typeface="+mn-lt"/>
            </a:endParaRPr>
          </a:p>
        </p:txBody>
      </p:sp>
      <p:sp>
        <p:nvSpPr>
          <p:cNvPr id="2" name="Fußzeilenplatzhalter 1">
            <a:extLst>
              <a:ext uri="{FF2B5EF4-FFF2-40B4-BE49-F238E27FC236}">
                <a16:creationId xmlns:a16="http://schemas.microsoft.com/office/drawing/2014/main" id="{E32EB1E3-0A7F-7278-874F-8A5B98A94EDE}"/>
              </a:ext>
            </a:extLst>
          </p:cNvPr>
          <p:cNvSpPr>
            <a:spLocks noGrp="1"/>
          </p:cNvSpPr>
          <p:nvPr>
            <p:ph type="ftr" sz="quarter" idx="15"/>
          </p:nvPr>
        </p:nvSpPr>
        <p:spPr/>
        <p:txBody>
          <a:bodyPr/>
          <a:lstStyle/>
          <a:p>
            <a:r>
              <a:rPr lang="de-DE" dirty="0">
                <a:cs typeface="Arial"/>
              </a:rPr>
              <a:t>CMI Colloquium Rio de Janeiro 2026 – Dieter Schwampe </a:t>
            </a:r>
          </a:p>
        </p:txBody>
      </p:sp>
      <p:sp>
        <p:nvSpPr>
          <p:cNvPr id="3" name="Datumsplatzhalter 2">
            <a:extLst>
              <a:ext uri="{FF2B5EF4-FFF2-40B4-BE49-F238E27FC236}">
                <a16:creationId xmlns:a16="http://schemas.microsoft.com/office/drawing/2014/main" id="{85D04ECD-083E-7031-A52C-2C6B92704FA7}"/>
              </a:ext>
            </a:extLst>
          </p:cNvPr>
          <p:cNvSpPr>
            <a:spLocks noGrp="1"/>
          </p:cNvSpPr>
          <p:nvPr>
            <p:ph type="dt" sz="half" idx="14"/>
          </p:nvPr>
        </p:nvSpPr>
        <p:spPr/>
        <p:txBody>
          <a:bodyPr/>
          <a:lstStyle/>
          <a:p>
            <a:r>
              <a:rPr lang="de-DE" dirty="0"/>
              <a:t>14.06.2026</a:t>
            </a:r>
          </a:p>
        </p:txBody>
      </p:sp>
      <p:sp>
        <p:nvSpPr>
          <p:cNvPr id="4" name="Foliennummernplatzhalter 3">
            <a:extLst>
              <a:ext uri="{FF2B5EF4-FFF2-40B4-BE49-F238E27FC236}">
                <a16:creationId xmlns:a16="http://schemas.microsoft.com/office/drawing/2014/main" id="{8ECEDD55-2938-2C36-BBE5-FD7A10E7F46E}"/>
              </a:ext>
            </a:extLst>
          </p:cNvPr>
          <p:cNvSpPr>
            <a:spLocks noGrp="1"/>
          </p:cNvSpPr>
          <p:nvPr>
            <p:ph type="sldNum" sz="quarter" idx="16"/>
          </p:nvPr>
        </p:nvSpPr>
        <p:spPr/>
        <p:txBody>
          <a:bodyPr/>
          <a:lstStyle/>
          <a:p>
            <a:fld id="{EFDB17C1-FF3A-45DC-94C1-44444C959F3B}" type="slidenum">
              <a:rPr lang="de-DE" smtClean="0"/>
              <a:pPr/>
              <a:t>4</a:t>
            </a:fld>
            <a:endParaRPr lang="de-DE"/>
          </a:p>
        </p:txBody>
      </p:sp>
    </p:spTree>
    <p:custDataLst>
      <p:tags r:id="rId1"/>
    </p:custDataLst>
    <p:extLst>
      <p:ext uri="{BB962C8B-B14F-4D97-AF65-F5344CB8AC3E}">
        <p14:creationId xmlns:p14="http://schemas.microsoft.com/office/powerpoint/2010/main" val="3225703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171C60-86E4-F42B-133E-CA8F95CAC1F0}"/>
              </a:ext>
            </a:extLst>
          </p:cNvPr>
          <p:cNvSpPr>
            <a:spLocks noGrp="1"/>
          </p:cNvSpPr>
          <p:nvPr>
            <p:ph type="title"/>
          </p:nvPr>
        </p:nvSpPr>
        <p:spPr>
          <a:xfrm>
            <a:off x="414779" y="4384792"/>
            <a:ext cx="3202031" cy="1798522"/>
          </a:xfrm>
        </p:spPr>
        <p:txBody>
          <a:bodyPr/>
          <a:lstStyle/>
          <a:p>
            <a:r>
              <a:rPr lang="de-DE" dirty="0" err="1"/>
              <a:t>Available</a:t>
            </a:r>
            <a:r>
              <a:rPr lang="de-DE" dirty="0"/>
              <a:t> </a:t>
            </a:r>
            <a:r>
              <a:rPr lang="de-DE" dirty="0" err="1"/>
              <a:t>jurisdictions</a:t>
            </a:r>
            <a:br>
              <a:rPr lang="de-DE" dirty="0"/>
            </a:br>
            <a:br>
              <a:rPr lang="de-DE" dirty="0"/>
            </a:br>
            <a:r>
              <a:rPr lang="de-DE" dirty="0"/>
              <a:t>Art. 9.3 </a:t>
            </a:r>
            <a:r>
              <a:rPr lang="de-DE" dirty="0" err="1"/>
              <a:t>as</a:t>
            </a:r>
            <a:r>
              <a:rPr lang="de-DE" dirty="0"/>
              <a:t> </a:t>
            </a:r>
            <a:r>
              <a:rPr lang="de-DE" dirty="0" err="1"/>
              <a:t>against</a:t>
            </a:r>
            <a:r>
              <a:rPr lang="de-DE" dirty="0"/>
              <a:t> </a:t>
            </a:r>
            <a:r>
              <a:rPr lang="de-DE" dirty="0" err="1"/>
              <a:t>the</a:t>
            </a:r>
            <a:r>
              <a:rPr lang="de-DE" dirty="0"/>
              <a:t> 1952 Convention and </a:t>
            </a:r>
            <a:r>
              <a:rPr lang="de-DE" dirty="0" err="1"/>
              <a:t>the</a:t>
            </a:r>
            <a:r>
              <a:rPr lang="de-DE" dirty="0"/>
              <a:t> Rio </a:t>
            </a:r>
            <a:r>
              <a:rPr lang="de-DE" dirty="0" err="1"/>
              <a:t>Draft</a:t>
            </a:r>
            <a:endParaRPr dirty="0"/>
          </a:p>
        </p:txBody>
      </p:sp>
      <p:pic>
        <p:nvPicPr>
          <p:cNvPr id="5" name="Container">
            <a:extLst>
              <a:ext uri="{FF2B5EF4-FFF2-40B4-BE49-F238E27FC236}">
                <a16:creationId xmlns:a16="http://schemas.microsoft.com/office/drawing/2014/main" id="{D300445D-D5F8-A6CC-E21D-C4A9DE36CCA6}"/>
              </a:ext>
            </a:extLst>
          </p:cNvPr>
          <p:cNvPicPr>
            <a:picLocks noGrp="1" noChangeAspect="1"/>
          </p:cNvPicPr>
          <p:nvPr>
            <p:ph type="pic" sz="quarter" idx="10"/>
            <p:custDataLst>
              <p:tags r:id="rId1"/>
            </p:custDataLst>
          </p:nvPr>
        </p:nvPicPr>
        <p:blipFill rotWithShape="1">
          <a:blip r:embed="rId3" cstate="email">
            <a:extLst>
              <a:ext uri="{28A0092B-C50C-407E-A947-70E740481C1C}">
                <a14:useLocalDpi xmlns:a14="http://schemas.microsoft.com/office/drawing/2010/main"/>
              </a:ext>
            </a:extLst>
          </a:blip>
          <a:srcRect/>
          <a:stretch/>
        </p:blipFill>
        <p:spPr>
          <a:xfrm>
            <a:off x="3917950" y="0"/>
            <a:ext cx="8274050" cy="6858000"/>
          </a:xfrm>
          <a:prstGeom prst="rect">
            <a:avLst/>
          </a:prstGeom>
        </p:spPr>
      </p:pic>
    </p:spTree>
    <p:extLst>
      <p:ext uri="{BB962C8B-B14F-4D97-AF65-F5344CB8AC3E}">
        <p14:creationId xmlns:p14="http://schemas.microsoft.com/office/powerpoint/2010/main" val="6644990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739664-BEF2-4947-E52A-318ECFB1656F}"/>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E41BF86E-0763-D50E-0A6A-C5686B056022}"/>
              </a:ext>
            </a:extLst>
          </p:cNvPr>
          <p:cNvSpPr>
            <a:spLocks noGrp="1"/>
          </p:cNvSpPr>
          <p:nvPr>
            <p:ph idx="1" hasCustomPrompt="1"/>
          </p:nvPr>
        </p:nvSpPr>
        <p:spPr/>
        <p:txBody>
          <a:bodyPr vert="horz" lIns="0" tIns="0" rIns="0" bIns="0" rtlCol="0" anchor="t">
            <a:noAutofit/>
          </a:bodyPr>
          <a:lstStyle/>
          <a:p>
            <a:pPr>
              <a:lnSpc>
                <a:spcPct val="113999"/>
              </a:lnSpc>
            </a:pPr>
            <a:endParaRPr lang="en-US" sz="2000" i="1" dirty="0">
              <a:ea typeface="+mn-lt"/>
              <a:cs typeface="+mn-lt"/>
            </a:endParaRPr>
          </a:p>
          <a:p>
            <a:pPr>
              <a:lnSpc>
                <a:spcPct val="113999"/>
              </a:lnSpc>
            </a:pPr>
            <a:r>
              <a:rPr lang="en-US" sz="2000" i="1" dirty="0">
                <a:ea typeface="+mn-lt"/>
                <a:cs typeface="+mn-lt"/>
              </a:rPr>
              <a:t>Unless the parties agree or have otherwise agreed, </a:t>
            </a:r>
          </a:p>
          <a:p>
            <a:pPr>
              <a:lnSpc>
                <a:spcPct val="113999"/>
              </a:lnSpc>
            </a:pPr>
            <a:endParaRPr lang="en-GB" sz="2000" i="1" dirty="0">
              <a:ea typeface="+mn-lt"/>
              <a:cs typeface="+mn-lt"/>
            </a:endParaRPr>
          </a:p>
          <a:p>
            <a:pPr>
              <a:lnSpc>
                <a:spcPct val="113999"/>
              </a:lnSpc>
            </a:pPr>
            <a:endParaRPr lang="en-GB" i="1" dirty="0">
              <a:ea typeface="+mn-lt"/>
              <a:cs typeface="+mn-lt"/>
            </a:endParaRPr>
          </a:p>
          <a:p>
            <a:pPr>
              <a:lnSpc>
                <a:spcPct val="113999"/>
              </a:lnSpc>
            </a:pPr>
            <a:endParaRPr lang="en-GB" sz="600" i="1" dirty="0">
              <a:ea typeface="+mn-lt"/>
              <a:cs typeface="+mn-lt"/>
            </a:endParaRPr>
          </a:p>
          <a:p>
            <a:pPr>
              <a:lnSpc>
                <a:spcPct val="113999"/>
              </a:lnSpc>
            </a:pPr>
            <a:endParaRPr lang="en-GB" sz="800" i="1" dirty="0">
              <a:ea typeface="+mn-lt"/>
              <a:cs typeface="+mn-lt"/>
            </a:endParaRPr>
          </a:p>
          <a:p>
            <a:pPr>
              <a:lnSpc>
                <a:spcPct val="113999"/>
              </a:lnSpc>
            </a:pPr>
            <a:endParaRPr lang="en-GB" sz="800" i="1" dirty="0">
              <a:ea typeface="+mn-lt"/>
              <a:cs typeface="+mn-lt"/>
            </a:endParaRPr>
          </a:p>
          <a:p>
            <a:pPr>
              <a:lnSpc>
                <a:spcPct val="113999"/>
              </a:lnSpc>
            </a:pPr>
            <a:endParaRPr lang="en-GB" sz="800" i="1" dirty="0">
              <a:ea typeface="+mn-lt"/>
              <a:cs typeface="+mn-lt"/>
            </a:endParaRPr>
          </a:p>
          <a:p>
            <a:pPr>
              <a:lnSpc>
                <a:spcPct val="113999"/>
              </a:lnSpc>
            </a:pPr>
            <a:endParaRPr lang="en-US" i="1" dirty="0">
              <a:ea typeface="+mn-lt"/>
              <a:cs typeface="+mn-lt"/>
            </a:endParaRPr>
          </a:p>
          <a:p>
            <a:pPr>
              <a:lnSpc>
                <a:spcPct val="113999"/>
              </a:lnSpc>
            </a:pPr>
            <a:r>
              <a:rPr lang="en-US" sz="2000" i="1" dirty="0">
                <a:ea typeface="+mn-lt"/>
                <a:cs typeface="+mn-lt"/>
              </a:rPr>
              <a:t>actions on the merits of a collision </a:t>
            </a:r>
            <a:r>
              <a:rPr lang="en-US" sz="2000" i="1" dirty="0">
                <a:solidFill>
                  <a:srgbClr val="FF0000"/>
                </a:solidFill>
                <a:ea typeface="+mn-lt"/>
                <a:cs typeface="+mn-lt"/>
              </a:rPr>
              <a:t>shall be </a:t>
            </a:r>
            <a:r>
              <a:rPr lang="en-US" sz="2000" i="1" dirty="0">
                <a:ea typeface="+mn-lt"/>
                <a:cs typeface="+mn-lt"/>
              </a:rPr>
              <a:t>brought by a claimant in a court of a State Party to this convention</a:t>
            </a:r>
            <a:endParaRPr lang="en-GB" sz="2000" i="1" dirty="0">
              <a:ea typeface="+mn-lt"/>
              <a:cs typeface="+mn-lt"/>
            </a:endParaRPr>
          </a:p>
        </p:txBody>
      </p:sp>
      <p:sp>
        <p:nvSpPr>
          <p:cNvPr id="5" name="Inhaltsplatzhalter 4">
            <a:extLst>
              <a:ext uri="{FF2B5EF4-FFF2-40B4-BE49-F238E27FC236}">
                <a16:creationId xmlns:a16="http://schemas.microsoft.com/office/drawing/2014/main" id="{C0CF0B94-0490-F3C7-2A93-4045C99B09D3}"/>
              </a:ext>
            </a:extLst>
          </p:cNvPr>
          <p:cNvSpPr>
            <a:spLocks noGrp="1"/>
          </p:cNvSpPr>
          <p:nvPr>
            <p:ph idx="13"/>
          </p:nvPr>
        </p:nvSpPr>
        <p:spPr/>
        <p:txBody>
          <a:bodyPr/>
          <a:lstStyle/>
          <a:p>
            <a:r>
              <a:rPr lang="en-US" sz="2000" dirty="0">
                <a:ea typeface="+mn-lt"/>
                <a:cs typeface="+mn-lt"/>
              </a:rPr>
              <a:t>Art. 2:</a:t>
            </a:r>
          </a:p>
          <a:p>
            <a:r>
              <a:rPr lang="en-US" sz="2000" i="1" dirty="0">
                <a:ea typeface="+mn-lt"/>
                <a:cs typeface="+mn-lt"/>
              </a:rPr>
              <a:t>The provision of Article 1 shall not in any way prejudice the right of the parties to bring an action in respect of a collision before a Court they have chosen by agreement or to refer it to arbitration.</a:t>
            </a:r>
          </a:p>
          <a:p>
            <a:r>
              <a:rPr lang="en-US" sz="2000" dirty="0">
                <a:ea typeface="+mn-lt"/>
                <a:cs typeface="+mn-lt"/>
              </a:rPr>
              <a:t>Art. 1 (1)</a:t>
            </a:r>
          </a:p>
          <a:p>
            <a:r>
              <a:rPr lang="en-US" sz="2000" i="1" dirty="0">
                <a:ea typeface="+mn-lt"/>
                <a:cs typeface="+mn-lt"/>
              </a:rPr>
              <a:t>An action for collision … can only be introduced</a:t>
            </a:r>
            <a:endParaRPr lang="de-DE" sz="2000" i="1" dirty="0">
              <a:ea typeface="+mn-lt"/>
              <a:cs typeface="+mn-lt"/>
            </a:endParaRPr>
          </a:p>
        </p:txBody>
      </p:sp>
      <p:sp>
        <p:nvSpPr>
          <p:cNvPr id="3" name="Datumsplatzhalter 2">
            <a:extLst>
              <a:ext uri="{FF2B5EF4-FFF2-40B4-BE49-F238E27FC236}">
                <a16:creationId xmlns:a16="http://schemas.microsoft.com/office/drawing/2014/main" id="{A458E254-389D-6BDF-8F24-40E2F6733C68}"/>
              </a:ext>
            </a:extLst>
          </p:cNvPr>
          <p:cNvSpPr>
            <a:spLocks noGrp="1"/>
          </p:cNvSpPr>
          <p:nvPr>
            <p:ph type="dt" sz="half" idx="14"/>
          </p:nvPr>
        </p:nvSpPr>
        <p:spPr/>
        <p:txBody>
          <a:bodyPr/>
          <a:lstStyle/>
          <a:p>
            <a:r>
              <a:rPr lang="de-DE" dirty="0"/>
              <a:t>14.06.2026</a:t>
            </a:r>
          </a:p>
        </p:txBody>
      </p:sp>
      <p:sp>
        <p:nvSpPr>
          <p:cNvPr id="2" name="Fußzeilenplatzhalter 1">
            <a:extLst>
              <a:ext uri="{FF2B5EF4-FFF2-40B4-BE49-F238E27FC236}">
                <a16:creationId xmlns:a16="http://schemas.microsoft.com/office/drawing/2014/main" id="{C2D18AC3-A108-1D7A-AF05-C7D8B7D59140}"/>
              </a:ext>
            </a:extLst>
          </p:cNvPr>
          <p:cNvSpPr>
            <a:spLocks noGrp="1"/>
          </p:cNvSpPr>
          <p:nvPr>
            <p:ph type="ftr" sz="quarter" idx="15"/>
          </p:nvPr>
        </p:nvSpPr>
        <p:spPr/>
        <p:txBody>
          <a:bodyPr/>
          <a:lstStyle/>
          <a:p>
            <a:r>
              <a:rPr lang="de-DE" dirty="0">
                <a:cs typeface="Arial"/>
              </a:rPr>
              <a:t>CMI Colloquium Rio de Janeiro 2026 – Dieter Schwampe </a:t>
            </a:r>
          </a:p>
        </p:txBody>
      </p:sp>
      <p:sp>
        <p:nvSpPr>
          <p:cNvPr id="4" name="Foliennummernplatzhalter 3">
            <a:extLst>
              <a:ext uri="{FF2B5EF4-FFF2-40B4-BE49-F238E27FC236}">
                <a16:creationId xmlns:a16="http://schemas.microsoft.com/office/drawing/2014/main" id="{0112DB9C-C785-4D8B-0661-F35008C5BB19}"/>
              </a:ext>
            </a:extLst>
          </p:cNvPr>
          <p:cNvSpPr>
            <a:spLocks noGrp="1"/>
          </p:cNvSpPr>
          <p:nvPr>
            <p:ph type="sldNum" sz="quarter" idx="16"/>
          </p:nvPr>
        </p:nvSpPr>
        <p:spPr/>
        <p:txBody>
          <a:bodyPr/>
          <a:lstStyle/>
          <a:p>
            <a:fld id="{EFDB17C1-FF3A-45DC-94C1-44444C959F3B}" type="slidenum">
              <a:rPr lang="de-DE" smtClean="0"/>
              <a:pPr/>
              <a:t>6</a:t>
            </a:fld>
            <a:endParaRPr lang="de-DE"/>
          </a:p>
        </p:txBody>
      </p:sp>
      <p:sp>
        <p:nvSpPr>
          <p:cNvPr id="9" name="Title 8">
            <a:extLst>
              <a:ext uri="{FF2B5EF4-FFF2-40B4-BE49-F238E27FC236}">
                <a16:creationId xmlns:a16="http://schemas.microsoft.com/office/drawing/2014/main" id="{B50A027A-2522-79C2-E43E-F469D0948DA2}"/>
              </a:ext>
            </a:extLst>
          </p:cNvPr>
          <p:cNvSpPr>
            <a:spLocks noGrp="1"/>
          </p:cNvSpPr>
          <p:nvPr>
            <p:ph type="title"/>
          </p:nvPr>
        </p:nvSpPr>
        <p:spPr/>
        <p:txBody>
          <a:bodyPr/>
          <a:lstStyle/>
          <a:p>
            <a:r>
              <a:rPr lang="de-DE" b="1" dirty="0"/>
              <a:t>Art. 9.3 </a:t>
            </a:r>
            <a:r>
              <a:rPr lang="de-DE" b="1" dirty="0" err="1"/>
              <a:t>Draft</a:t>
            </a:r>
            <a:r>
              <a:rPr lang="de-DE" b="1" dirty="0"/>
              <a:t> Protocol and </a:t>
            </a:r>
            <a:r>
              <a:rPr lang="de-DE" b="1" dirty="0" err="1"/>
              <a:t>the</a:t>
            </a:r>
            <a:r>
              <a:rPr lang="de-DE" b="1" dirty="0"/>
              <a:t> 1952 </a:t>
            </a:r>
            <a:r>
              <a:rPr lang="de-DE" b="1" dirty="0" err="1"/>
              <a:t>Jurisdction</a:t>
            </a:r>
            <a:r>
              <a:rPr lang="de-DE" b="1" dirty="0"/>
              <a:t> </a:t>
            </a:r>
            <a:r>
              <a:rPr lang="de-DE" b="1" dirty="0" err="1"/>
              <a:t>convention</a:t>
            </a:r>
            <a:endParaRPr lang="en-US" b="1" dirty="0">
              <a:cs typeface="Arial"/>
            </a:endParaRPr>
          </a:p>
        </p:txBody>
      </p:sp>
      <p:sp>
        <p:nvSpPr>
          <p:cNvPr id="7" name="Title 8">
            <a:extLst>
              <a:ext uri="{FF2B5EF4-FFF2-40B4-BE49-F238E27FC236}">
                <a16:creationId xmlns:a16="http://schemas.microsoft.com/office/drawing/2014/main" id="{87E20BF9-59D9-ED70-440D-CEC41AAA8182}"/>
              </a:ext>
            </a:extLst>
          </p:cNvPr>
          <p:cNvSpPr txBox="1">
            <a:spLocks/>
          </p:cNvSpPr>
          <p:nvPr/>
        </p:nvSpPr>
        <p:spPr>
          <a:xfrm>
            <a:off x="410151" y="1176611"/>
            <a:ext cx="9018000" cy="265460"/>
          </a:xfrm>
          <a:prstGeom prst="rect">
            <a:avLst/>
          </a:prstGeom>
        </p:spPr>
        <p:txBody>
          <a:bodyPr vert="horz" lIns="0" tIns="0" rIns="0" bIns="0" rtlCol="0" anchor="b" anchorCtr="0">
            <a:noAutofit/>
          </a:bodyPr>
          <a:lstStyle>
            <a:lvl1pPr algn="l" defTabSz="903006" rtl="0" eaLnBrk="1" latinLnBrk="0" hangingPunct="1">
              <a:lnSpc>
                <a:spcPct val="100000"/>
              </a:lnSpc>
              <a:spcBef>
                <a:spcPct val="0"/>
              </a:spcBef>
              <a:buNone/>
              <a:defRPr sz="2200" b="0" kern="1200" cap="all" baseline="0">
                <a:solidFill>
                  <a:schemeClr val="tx1"/>
                </a:solidFill>
                <a:latin typeface="+mj-lt"/>
                <a:ea typeface="+mj-ea"/>
                <a:cs typeface="+mj-cs"/>
              </a:defRPr>
            </a:lvl1pPr>
          </a:lstStyle>
          <a:p>
            <a:r>
              <a:rPr lang="de-DE" sz="1400" b="1" dirty="0"/>
              <a:t>               Protocol 				      1952 </a:t>
            </a:r>
            <a:r>
              <a:rPr lang="de-DE" sz="1400" b="1" dirty="0" err="1"/>
              <a:t>Jurisdiction</a:t>
            </a:r>
            <a:r>
              <a:rPr lang="de-DE" sz="1400" b="1" dirty="0"/>
              <a:t> </a:t>
            </a:r>
            <a:r>
              <a:rPr lang="de-DE" sz="1400" b="1" dirty="0" err="1"/>
              <a:t>convention</a:t>
            </a:r>
            <a:endParaRPr lang="en-US" sz="1400" b="1" dirty="0">
              <a:cs typeface="Arial"/>
            </a:endParaRPr>
          </a:p>
        </p:txBody>
      </p:sp>
    </p:spTree>
    <p:custDataLst>
      <p:tags r:id="rId1"/>
    </p:custDataLst>
    <p:extLst>
      <p:ext uri="{BB962C8B-B14F-4D97-AF65-F5344CB8AC3E}">
        <p14:creationId xmlns:p14="http://schemas.microsoft.com/office/powerpoint/2010/main" val="8814675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0B7514-4DDE-7490-3B2E-39C164E5E044}"/>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19803CA-CFD7-A73B-107A-BC6BA9948CA1}"/>
              </a:ext>
            </a:extLst>
          </p:cNvPr>
          <p:cNvSpPr>
            <a:spLocks noGrp="1"/>
          </p:cNvSpPr>
          <p:nvPr>
            <p:ph idx="1" hasCustomPrompt="1"/>
          </p:nvPr>
        </p:nvSpPr>
        <p:spPr/>
        <p:txBody>
          <a:bodyPr vert="horz" lIns="0" tIns="0" rIns="0" bIns="0" rtlCol="0" anchor="t">
            <a:noAutofit/>
          </a:bodyPr>
          <a:lstStyle/>
          <a:p>
            <a:pPr>
              <a:lnSpc>
                <a:spcPct val="113999"/>
              </a:lnSpc>
            </a:pPr>
            <a:endParaRPr lang="en-US" sz="2000" i="1" dirty="0">
              <a:ea typeface="+mn-lt"/>
              <a:cs typeface="+mn-lt"/>
            </a:endParaRPr>
          </a:p>
          <a:p>
            <a:pPr>
              <a:lnSpc>
                <a:spcPct val="113999"/>
              </a:lnSpc>
            </a:pPr>
            <a:r>
              <a:rPr lang="en-US" sz="2000" i="1" dirty="0">
                <a:ea typeface="+mn-lt"/>
                <a:cs typeface="+mn-lt"/>
              </a:rPr>
              <a:t>Unless the parties agree</a:t>
            </a:r>
            <a:r>
              <a:rPr lang="en-US" sz="2000" i="1" dirty="0">
                <a:solidFill>
                  <a:srgbClr val="FF0000"/>
                </a:solidFill>
                <a:ea typeface="+mn-lt"/>
                <a:cs typeface="+mn-lt"/>
              </a:rPr>
              <a:t> or have otherwise agreed</a:t>
            </a:r>
            <a:r>
              <a:rPr lang="en-US" sz="2000" i="1" dirty="0">
                <a:ea typeface="+mn-lt"/>
                <a:cs typeface="+mn-lt"/>
              </a:rPr>
              <a:t>, </a:t>
            </a:r>
            <a:endParaRPr lang="en-GB" sz="800" i="1" dirty="0">
              <a:ea typeface="+mn-lt"/>
              <a:cs typeface="+mn-lt"/>
            </a:endParaRPr>
          </a:p>
          <a:p>
            <a:pPr>
              <a:lnSpc>
                <a:spcPct val="113999"/>
              </a:lnSpc>
            </a:pPr>
            <a:endParaRPr lang="en-GB" sz="800" i="1" dirty="0">
              <a:ea typeface="+mn-lt"/>
              <a:cs typeface="+mn-lt"/>
            </a:endParaRPr>
          </a:p>
          <a:p>
            <a:pPr>
              <a:lnSpc>
                <a:spcPct val="113999"/>
              </a:lnSpc>
            </a:pPr>
            <a:endParaRPr lang="en-GB" sz="800" i="1" dirty="0">
              <a:ea typeface="+mn-lt"/>
              <a:cs typeface="+mn-lt"/>
            </a:endParaRPr>
          </a:p>
          <a:p>
            <a:pPr>
              <a:lnSpc>
                <a:spcPct val="113999"/>
              </a:lnSpc>
            </a:pPr>
            <a:endParaRPr lang="en-US" i="1" dirty="0">
              <a:ea typeface="+mn-lt"/>
              <a:cs typeface="+mn-lt"/>
            </a:endParaRPr>
          </a:p>
          <a:p>
            <a:pPr>
              <a:lnSpc>
                <a:spcPct val="113999"/>
              </a:lnSpc>
            </a:pPr>
            <a:endParaRPr lang="en-US" sz="2000" i="1" dirty="0">
              <a:ea typeface="+mn-lt"/>
              <a:cs typeface="+mn-lt"/>
            </a:endParaRPr>
          </a:p>
          <a:p>
            <a:pPr>
              <a:lnSpc>
                <a:spcPct val="113999"/>
              </a:lnSpc>
            </a:pPr>
            <a:endParaRPr lang="en-US" sz="800" i="1" dirty="0">
              <a:ea typeface="+mn-lt"/>
              <a:cs typeface="+mn-lt"/>
            </a:endParaRPr>
          </a:p>
          <a:p>
            <a:pPr>
              <a:lnSpc>
                <a:spcPct val="113999"/>
              </a:lnSpc>
            </a:pPr>
            <a:endParaRPr lang="en-US" sz="800" i="1" dirty="0">
              <a:ea typeface="+mn-lt"/>
              <a:cs typeface="+mn-lt"/>
            </a:endParaRPr>
          </a:p>
          <a:p>
            <a:pPr>
              <a:lnSpc>
                <a:spcPct val="113999"/>
              </a:lnSpc>
            </a:pPr>
            <a:endParaRPr lang="en-US" sz="800" i="1" dirty="0">
              <a:ea typeface="+mn-lt"/>
              <a:cs typeface="+mn-lt"/>
            </a:endParaRPr>
          </a:p>
          <a:p>
            <a:pPr>
              <a:lnSpc>
                <a:spcPct val="113999"/>
              </a:lnSpc>
            </a:pPr>
            <a:r>
              <a:rPr lang="en-US" sz="2000" i="1" dirty="0">
                <a:ea typeface="+mn-lt"/>
                <a:cs typeface="+mn-lt"/>
              </a:rPr>
              <a:t>actions on the merits of a collision </a:t>
            </a:r>
            <a:r>
              <a:rPr lang="en-US" sz="2000" i="1" dirty="0">
                <a:solidFill>
                  <a:srgbClr val="FF0000"/>
                </a:solidFill>
                <a:ea typeface="+mn-lt"/>
                <a:cs typeface="+mn-lt"/>
              </a:rPr>
              <a:t>shall be </a:t>
            </a:r>
            <a:r>
              <a:rPr lang="en-US" sz="2000" i="1" dirty="0">
                <a:ea typeface="+mn-lt"/>
                <a:cs typeface="+mn-lt"/>
              </a:rPr>
              <a:t>brought by a claimant in a court of a State Party to this convention</a:t>
            </a:r>
            <a:endParaRPr lang="en-GB" sz="2000" i="1" dirty="0">
              <a:ea typeface="+mn-lt"/>
              <a:cs typeface="+mn-lt"/>
            </a:endParaRPr>
          </a:p>
        </p:txBody>
      </p:sp>
      <p:sp>
        <p:nvSpPr>
          <p:cNvPr id="5" name="Inhaltsplatzhalter 4">
            <a:extLst>
              <a:ext uri="{FF2B5EF4-FFF2-40B4-BE49-F238E27FC236}">
                <a16:creationId xmlns:a16="http://schemas.microsoft.com/office/drawing/2014/main" id="{74BA30E9-321F-3A7C-A26C-A3BBD1399EA2}"/>
              </a:ext>
            </a:extLst>
          </p:cNvPr>
          <p:cNvSpPr>
            <a:spLocks noGrp="1"/>
          </p:cNvSpPr>
          <p:nvPr>
            <p:ph idx="13"/>
          </p:nvPr>
        </p:nvSpPr>
        <p:spPr/>
        <p:txBody>
          <a:bodyPr/>
          <a:lstStyle/>
          <a:p>
            <a:r>
              <a:rPr lang="en-US" sz="2000" dirty="0">
                <a:ea typeface="+mn-lt"/>
                <a:cs typeface="+mn-lt"/>
              </a:rPr>
              <a:t>Art. 2 (1):</a:t>
            </a:r>
          </a:p>
          <a:p>
            <a:r>
              <a:rPr lang="en-US" sz="2000" i="1" dirty="0">
                <a:ea typeface="+mn-lt"/>
                <a:cs typeface="+mn-lt"/>
              </a:rPr>
              <a:t>Unless the parties otherwise agree, </a:t>
            </a:r>
          </a:p>
          <a:p>
            <a:endParaRPr lang="en-US" sz="800" i="1" dirty="0">
              <a:ea typeface="+mn-lt"/>
              <a:cs typeface="+mn-lt"/>
            </a:endParaRPr>
          </a:p>
          <a:p>
            <a:endParaRPr lang="en-US" sz="800" i="1" dirty="0">
              <a:ea typeface="+mn-lt"/>
              <a:cs typeface="+mn-lt"/>
            </a:endParaRPr>
          </a:p>
          <a:p>
            <a:endParaRPr lang="en-US" sz="800" i="1" dirty="0">
              <a:ea typeface="+mn-lt"/>
              <a:cs typeface="+mn-lt"/>
            </a:endParaRPr>
          </a:p>
          <a:p>
            <a:endParaRPr lang="en-US" sz="800" i="1" dirty="0">
              <a:ea typeface="+mn-lt"/>
              <a:cs typeface="+mn-lt"/>
            </a:endParaRPr>
          </a:p>
          <a:p>
            <a:endParaRPr lang="en-US" sz="2000" i="1" dirty="0">
              <a:ea typeface="+mn-lt"/>
              <a:cs typeface="+mn-lt"/>
            </a:endParaRPr>
          </a:p>
          <a:p>
            <a:endParaRPr lang="en-US" sz="2000" i="1" dirty="0">
              <a:ea typeface="+mn-lt"/>
              <a:cs typeface="+mn-lt"/>
            </a:endParaRPr>
          </a:p>
          <a:p>
            <a:endParaRPr lang="en-US" sz="2000" i="1" dirty="0">
              <a:ea typeface="+mn-lt"/>
              <a:cs typeface="+mn-lt"/>
            </a:endParaRPr>
          </a:p>
          <a:p>
            <a:r>
              <a:rPr lang="en-US" sz="2000" i="1" dirty="0">
                <a:ea typeface="+mn-lt"/>
                <a:cs typeface="+mn-lt"/>
              </a:rPr>
              <a:t>the plaintiff </a:t>
            </a:r>
            <a:r>
              <a:rPr lang="en-US" sz="2000" i="1" dirty="0">
                <a:solidFill>
                  <a:srgbClr val="FF0000"/>
                </a:solidFill>
                <a:ea typeface="+mn-lt"/>
                <a:cs typeface="+mn-lt"/>
              </a:rPr>
              <a:t>may</a:t>
            </a:r>
            <a:r>
              <a:rPr lang="en-US" sz="2000" i="1" dirty="0">
                <a:ea typeface="+mn-lt"/>
                <a:cs typeface="+mn-lt"/>
              </a:rPr>
              <a:t> prosecute such an action </a:t>
            </a:r>
            <a:r>
              <a:rPr lang="en-US" sz="2000" i="1" dirty="0">
                <a:solidFill>
                  <a:srgbClr val="FF0000"/>
                </a:solidFill>
                <a:ea typeface="+mn-lt"/>
                <a:cs typeface="+mn-lt"/>
              </a:rPr>
              <a:t>only</a:t>
            </a:r>
            <a:r>
              <a:rPr lang="en-US" sz="2000" i="1" dirty="0">
                <a:ea typeface="+mn-lt"/>
                <a:cs typeface="+mn-lt"/>
              </a:rPr>
              <a:t> in a Court of a State Party to this Convention</a:t>
            </a:r>
            <a:endParaRPr lang="de-DE" sz="2000" i="1" dirty="0">
              <a:ea typeface="+mn-lt"/>
              <a:cs typeface="+mn-lt"/>
            </a:endParaRPr>
          </a:p>
        </p:txBody>
      </p:sp>
      <p:sp>
        <p:nvSpPr>
          <p:cNvPr id="3" name="Datumsplatzhalter 2">
            <a:extLst>
              <a:ext uri="{FF2B5EF4-FFF2-40B4-BE49-F238E27FC236}">
                <a16:creationId xmlns:a16="http://schemas.microsoft.com/office/drawing/2014/main" id="{64C7B9FE-8F7C-C323-7135-B8D0C04F9EAB}"/>
              </a:ext>
            </a:extLst>
          </p:cNvPr>
          <p:cNvSpPr>
            <a:spLocks noGrp="1"/>
          </p:cNvSpPr>
          <p:nvPr>
            <p:ph type="dt" sz="half" idx="14"/>
          </p:nvPr>
        </p:nvSpPr>
        <p:spPr/>
        <p:txBody>
          <a:bodyPr/>
          <a:lstStyle/>
          <a:p>
            <a:r>
              <a:rPr lang="de-DE" dirty="0"/>
              <a:t>14.06.2026</a:t>
            </a:r>
          </a:p>
        </p:txBody>
      </p:sp>
      <p:sp>
        <p:nvSpPr>
          <p:cNvPr id="2" name="Fußzeilenplatzhalter 1">
            <a:extLst>
              <a:ext uri="{FF2B5EF4-FFF2-40B4-BE49-F238E27FC236}">
                <a16:creationId xmlns:a16="http://schemas.microsoft.com/office/drawing/2014/main" id="{73280C7F-2321-47F4-8242-617AF62891CD}"/>
              </a:ext>
            </a:extLst>
          </p:cNvPr>
          <p:cNvSpPr>
            <a:spLocks noGrp="1"/>
          </p:cNvSpPr>
          <p:nvPr>
            <p:ph type="ftr" sz="quarter" idx="15"/>
          </p:nvPr>
        </p:nvSpPr>
        <p:spPr/>
        <p:txBody>
          <a:bodyPr/>
          <a:lstStyle/>
          <a:p>
            <a:r>
              <a:rPr lang="de-DE" dirty="0">
                <a:cs typeface="Arial"/>
              </a:rPr>
              <a:t>CMI Colloquium Rio de Janeiro 2026 – Dieter Schwampe </a:t>
            </a:r>
          </a:p>
        </p:txBody>
      </p:sp>
      <p:sp>
        <p:nvSpPr>
          <p:cNvPr id="4" name="Foliennummernplatzhalter 3">
            <a:extLst>
              <a:ext uri="{FF2B5EF4-FFF2-40B4-BE49-F238E27FC236}">
                <a16:creationId xmlns:a16="http://schemas.microsoft.com/office/drawing/2014/main" id="{A1385DE9-508E-63AC-1AFA-BBD93F11CB3E}"/>
              </a:ext>
            </a:extLst>
          </p:cNvPr>
          <p:cNvSpPr>
            <a:spLocks noGrp="1"/>
          </p:cNvSpPr>
          <p:nvPr>
            <p:ph type="sldNum" sz="quarter" idx="16"/>
          </p:nvPr>
        </p:nvSpPr>
        <p:spPr/>
        <p:txBody>
          <a:bodyPr/>
          <a:lstStyle/>
          <a:p>
            <a:fld id="{EFDB17C1-FF3A-45DC-94C1-44444C959F3B}" type="slidenum">
              <a:rPr lang="de-DE" smtClean="0"/>
              <a:pPr/>
              <a:t>7</a:t>
            </a:fld>
            <a:endParaRPr lang="de-DE"/>
          </a:p>
        </p:txBody>
      </p:sp>
      <p:sp>
        <p:nvSpPr>
          <p:cNvPr id="9" name="Title 8">
            <a:extLst>
              <a:ext uri="{FF2B5EF4-FFF2-40B4-BE49-F238E27FC236}">
                <a16:creationId xmlns:a16="http://schemas.microsoft.com/office/drawing/2014/main" id="{7DD26727-C59B-9900-8A35-214D737A77D4}"/>
              </a:ext>
            </a:extLst>
          </p:cNvPr>
          <p:cNvSpPr>
            <a:spLocks noGrp="1"/>
          </p:cNvSpPr>
          <p:nvPr>
            <p:ph type="title"/>
          </p:nvPr>
        </p:nvSpPr>
        <p:spPr/>
        <p:txBody>
          <a:bodyPr/>
          <a:lstStyle/>
          <a:p>
            <a:r>
              <a:rPr lang="de-DE" b="1" dirty="0"/>
              <a:t>Art. 9.3 </a:t>
            </a:r>
            <a:r>
              <a:rPr lang="de-DE" b="1" dirty="0" err="1"/>
              <a:t>Draft</a:t>
            </a:r>
            <a:r>
              <a:rPr lang="de-DE" b="1" dirty="0"/>
              <a:t> Protocol and </a:t>
            </a:r>
            <a:r>
              <a:rPr lang="de-DE" b="1" dirty="0" err="1"/>
              <a:t>the</a:t>
            </a:r>
            <a:r>
              <a:rPr lang="de-DE" b="1" dirty="0"/>
              <a:t> 1952 </a:t>
            </a:r>
            <a:r>
              <a:rPr lang="de-DE" b="1" dirty="0" err="1"/>
              <a:t>Jurisdction</a:t>
            </a:r>
            <a:r>
              <a:rPr lang="de-DE" b="1" dirty="0"/>
              <a:t> </a:t>
            </a:r>
            <a:r>
              <a:rPr lang="de-DE" b="1" dirty="0" err="1"/>
              <a:t>convention</a:t>
            </a:r>
            <a:endParaRPr lang="en-US" b="1" dirty="0">
              <a:cs typeface="Arial"/>
            </a:endParaRPr>
          </a:p>
        </p:txBody>
      </p:sp>
      <p:sp>
        <p:nvSpPr>
          <p:cNvPr id="7" name="Title 8">
            <a:extLst>
              <a:ext uri="{FF2B5EF4-FFF2-40B4-BE49-F238E27FC236}">
                <a16:creationId xmlns:a16="http://schemas.microsoft.com/office/drawing/2014/main" id="{CC697C99-B137-9520-8338-AB9B0A5F3748}"/>
              </a:ext>
            </a:extLst>
          </p:cNvPr>
          <p:cNvSpPr txBox="1">
            <a:spLocks/>
          </p:cNvSpPr>
          <p:nvPr/>
        </p:nvSpPr>
        <p:spPr>
          <a:xfrm>
            <a:off x="410151" y="1176611"/>
            <a:ext cx="9018000" cy="265460"/>
          </a:xfrm>
          <a:prstGeom prst="rect">
            <a:avLst/>
          </a:prstGeom>
        </p:spPr>
        <p:txBody>
          <a:bodyPr vert="horz" lIns="0" tIns="0" rIns="0" bIns="0" rtlCol="0" anchor="b" anchorCtr="0">
            <a:noAutofit/>
          </a:bodyPr>
          <a:lstStyle>
            <a:lvl1pPr algn="l" defTabSz="903006" rtl="0" eaLnBrk="1" latinLnBrk="0" hangingPunct="1">
              <a:lnSpc>
                <a:spcPct val="100000"/>
              </a:lnSpc>
              <a:spcBef>
                <a:spcPct val="0"/>
              </a:spcBef>
              <a:buNone/>
              <a:defRPr sz="2200" b="0" kern="1200" cap="all" baseline="0">
                <a:solidFill>
                  <a:schemeClr val="tx1"/>
                </a:solidFill>
                <a:latin typeface="+mj-lt"/>
                <a:ea typeface="+mj-ea"/>
                <a:cs typeface="+mj-cs"/>
              </a:defRPr>
            </a:lvl1pPr>
          </a:lstStyle>
          <a:p>
            <a:r>
              <a:rPr lang="de-DE" sz="1400" b="1" dirty="0"/>
              <a:t>               Protocol 				            Rio draft 1977</a:t>
            </a:r>
            <a:endParaRPr lang="en-US" sz="1400" b="1" dirty="0">
              <a:cs typeface="Arial"/>
            </a:endParaRPr>
          </a:p>
        </p:txBody>
      </p:sp>
    </p:spTree>
    <p:custDataLst>
      <p:tags r:id="rId1"/>
    </p:custDataLst>
    <p:extLst>
      <p:ext uri="{BB962C8B-B14F-4D97-AF65-F5344CB8AC3E}">
        <p14:creationId xmlns:p14="http://schemas.microsoft.com/office/powerpoint/2010/main" val="7090158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C7E4DD-AEC8-95B2-2E80-B2A704F0EAC8}"/>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7917F228-E389-D2AC-05EF-20FFEA938E76}"/>
              </a:ext>
            </a:extLst>
          </p:cNvPr>
          <p:cNvSpPr>
            <a:spLocks noGrp="1"/>
          </p:cNvSpPr>
          <p:nvPr>
            <p:ph idx="1" hasCustomPrompt="1"/>
          </p:nvPr>
        </p:nvSpPr>
        <p:spPr/>
        <p:txBody>
          <a:bodyPr vert="horz" lIns="0" tIns="0" rIns="0" bIns="0" rtlCol="0" anchor="t">
            <a:noAutofit/>
          </a:bodyPr>
          <a:lstStyle/>
          <a:p>
            <a:pPr>
              <a:lnSpc>
                <a:spcPct val="113999"/>
              </a:lnSpc>
            </a:pPr>
            <a:endParaRPr lang="en-US" sz="2000" i="1" dirty="0">
              <a:ea typeface="+mn-lt"/>
              <a:cs typeface="+mn-lt"/>
            </a:endParaRPr>
          </a:p>
          <a:p>
            <a:pPr>
              <a:lnSpc>
                <a:spcPct val="113999"/>
              </a:lnSpc>
            </a:pPr>
            <a:r>
              <a:rPr lang="en-US" sz="2000" i="1" dirty="0">
                <a:ea typeface="+mn-lt"/>
                <a:cs typeface="+mn-lt"/>
              </a:rPr>
              <a:t>where the defendant has his habitual residence </a:t>
            </a:r>
            <a:r>
              <a:rPr lang="en-US" sz="2000" i="1" dirty="0">
                <a:solidFill>
                  <a:srgbClr val="FF0000"/>
                </a:solidFill>
                <a:ea typeface="+mn-lt"/>
                <a:cs typeface="+mn-lt"/>
              </a:rPr>
              <a:t>or domicile, statutory seat, central administration </a:t>
            </a:r>
            <a:r>
              <a:rPr lang="en-US" sz="2000" i="1" dirty="0">
                <a:ea typeface="+mn-lt"/>
                <a:cs typeface="+mn-lt"/>
              </a:rPr>
              <a:t>or </a:t>
            </a:r>
            <a:r>
              <a:rPr lang="en-US" sz="2000" i="1" dirty="0">
                <a:solidFill>
                  <a:srgbClr val="FF0000"/>
                </a:solidFill>
                <a:ea typeface="+mn-lt"/>
                <a:cs typeface="+mn-lt"/>
              </a:rPr>
              <a:t>principal</a:t>
            </a:r>
            <a:r>
              <a:rPr lang="en-US" sz="2000" i="1" dirty="0">
                <a:ea typeface="+mn-lt"/>
                <a:cs typeface="+mn-lt"/>
              </a:rPr>
              <a:t> place of business;</a:t>
            </a:r>
          </a:p>
          <a:p>
            <a:pPr>
              <a:lnSpc>
                <a:spcPct val="113999"/>
              </a:lnSpc>
            </a:pPr>
            <a:endParaRPr lang="en-US" sz="800" i="1" dirty="0">
              <a:ea typeface="+mn-lt"/>
              <a:cs typeface="+mn-lt"/>
            </a:endParaRPr>
          </a:p>
          <a:p>
            <a:pPr>
              <a:lnSpc>
                <a:spcPct val="113999"/>
              </a:lnSpc>
            </a:pPr>
            <a:endParaRPr lang="en-US" sz="800" i="1" dirty="0">
              <a:ea typeface="+mn-lt"/>
              <a:cs typeface="+mn-lt"/>
            </a:endParaRPr>
          </a:p>
        </p:txBody>
      </p:sp>
      <p:sp>
        <p:nvSpPr>
          <p:cNvPr id="5" name="Inhaltsplatzhalter 4">
            <a:extLst>
              <a:ext uri="{FF2B5EF4-FFF2-40B4-BE49-F238E27FC236}">
                <a16:creationId xmlns:a16="http://schemas.microsoft.com/office/drawing/2014/main" id="{62F5A97C-6D56-3A4D-1AD4-29B73D37EB8D}"/>
              </a:ext>
            </a:extLst>
          </p:cNvPr>
          <p:cNvSpPr>
            <a:spLocks noGrp="1"/>
          </p:cNvSpPr>
          <p:nvPr>
            <p:ph idx="13"/>
          </p:nvPr>
        </p:nvSpPr>
        <p:spPr/>
        <p:txBody>
          <a:bodyPr/>
          <a:lstStyle/>
          <a:p>
            <a:r>
              <a:rPr lang="en-US" sz="2000" dirty="0">
                <a:ea typeface="+mn-lt"/>
                <a:cs typeface="+mn-lt"/>
              </a:rPr>
              <a:t>Art. 1 (1) (a):</a:t>
            </a:r>
          </a:p>
          <a:p>
            <a:r>
              <a:rPr lang="en-US" sz="2000" i="1" dirty="0">
                <a:ea typeface="+mn-lt"/>
                <a:cs typeface="+mn-lt"/>
              </a:rPr>
              <a:t>either before the Court where the defendant has his habitual residence or a place of business</a:t>
            </a:r>
          </a:p>
          <a:p>
            <a:endParaRPr lang="en-US" sz="2000" i="1" dirty="0">
              <a:ea typeface="+mn-lt"/>
              <a:cs typeface="+mn-lt"/>
            </a:endParaRPr>
          </a:p>
        </p:txBody>
      </p:sp>
      <p:sp>
        <p:nvSpPr>
          <p:cNvPr id="3" name="Datumsplatzhalter 2">
            <a:extLst>
              <a:ext uri="{FF2B5EF4-FFF2-40B4-BE49-F238E27FC236}">
                <a16:creationId xmlns:a16="http://schemas.microsoft.com/office/drawing/2014/main" id="{F05A405C-FC88-6731-5FE1-9E91868DAF0F}"/>
              </a:ext>
            </a:extLst>
          </p:cNvPr>
          <p:cNvSpPr>
            <a:spLocks noGrp="1"/>
          </p:cNvSpPr>
          <p:nvPr>
            <p:ph type="dt" sz="half" idx="14"/>
          </p:nvPr>
        </p:nvSpPr>
        <p:spPr/>
        <p:txBody>
          <a:bodyPr/>
          <a:lstStyle/>
          <a:p>
            <a:r>
              <a:rPr lang="de-DE" dirty="0"/>
              <a:t>14.06.2026</a:t>
            </a:r>
          </a:p>
        </p:txBody>
      </p:sp>
      <p:sp>
        <p:nvSpPr>
          <p:cNvPr id="2" name="Fußzeilenplatzhalter 1">
            <a:extLst>
              <a:ext uri="{FF2B5EF4-FFF2-40B4-BE49-F238E27FC236}">
                <a16:creationId xmlns:a16="http://schemas.microsoft.com/office/drawing/2014/main" id="{1E38B5AB-3117-95D2-4387-2A2DE5A8832B}"/>
              </a:ext>
            </a:extLst>
          </p:cNvPr>
          <p:cNvSpPr>
            <a:spLocks noGrp="1"/>
          </p:cNvSpPr>
          <p:nvPr>
            <p:ph type="ftr" sz="quarter" idx="15"/>
          </p:nvPr>
        </p:nvSpPr>
        <p:spPr/>
        <p:txBody>
          <a:bodyPr/>
          <a:lstStyle/>
          <a:p>
            <a:r>
              <a:rPr lang="de-DE" dirty="0">
                <a:cs typeface="Arial"/>
              </a:rPr>
              <a:t>CMI Colloquium Rio de Janeiro 2026 – Dieter Schwampe </a:t>
            </a:r>
          </a:p>
        </p:txBody>
      </p:sp>
      <p:sp>
        <p:nvSpPr>
          <p:cNvPr id="4" name="Foliennummernplatzhalter 3">
            <a:extLst>
              <a:ext uri="{FF2B5EF4-FFF2-40B4-BE49-F238E27FC236}">
                <a16:creationId xmlns:a16="http://schemas.microsoft.com/office/drawing/2014/main" id="{ED2C8D08-1D4F-76E8-4925-F11DEB466AEB}"/>
              </a:ext>
            </a:extLst>
          </p:cNvPr>
          <p:cNvSpPr>
            <a:spLocks noGrp="1"/>
          </p:cNvSpPr>
          <p:nvPr>
            <p:ph type="sldNum" sz="quarter" idx="16"/>
          </p:nvPr>
        </p:nvSpPr>
        <p:spPr/>
        <p:txBody>
          <a:bodyPr/>
          <a:lstStyle/>
          <a:p>
            <a:fld id="{EFDB17C1-FF3A-45DC-94C1-44444C959F3B}" type="slidenum">
              <a:rPr lang="de-DE" smtClean="0"/>
              <a:pPr/>
              <a:t>8</a:t>
            </a:fld>
            <a:endParaRPr lang="de-DE"/>
          </a:p>
        </p:txBody>
      </p:sp>
      <p:sp>
        <p:nvSpPr>
          <p:cNvPr id="9" name="Title 8">
            <a:extLst>
              <a:ext uri="{FF2B5EF4-FFF2-40B4-BE49-F238E27FC236}">
                <a16:creationId xmlns:a16="http://schemas.microsoft.com/office/drawing/2014/main" id="{78DBE39A-BBDC-A315-A095-CD9B47F40E21}"/>
              </a:ext>
            </a:extLst>
          </p:cNvPr>
          <p:cNvSpPr>
            <a:spLocks noGrp="1"/>
          </p:cNvSpPr>
          <p:nvPr>
            <p:ph type="title"/>
          </p:nvPr>
        </p:nvSpPr>
        <p:spPr/>
        <p:txBody>
          <a:bodyPr/>
          <a:lstStyle/>
          <a:p>
            <a:r>
              <a:rPr lang="de-DE" b="1" dirty="0"/>
              <a:t>Art. 9.3 </a:t>
            </a:r>
            <a:r>
              <a:rPr lang="de-DE" b="1" dirty="0" err="1"/>
              <a:t>Draft</a:t>
            </a:r>
            <a:r>
              <a:rPr lang="de-DE" b="1" dirty="0"/>
              <a:t> Protocol and </a:t>
            </a:r>
            <a:r>
              <a:rPr lang="de-DE" b="1" dirty="0" err="1"/>
              <a:t>the</a:t>
            </a:r>
            <a:r>
              <a:rPr lang="de-DE" b="1" dirty="0"/>
              <a:t> 1952 </a:t>
            </a:r>
            <a:r>
              <a:rPr lang="de-DE" b="1" dirty="0" err="1"/>
              <a:t>Jurisidction</a:t>
            </a:r>
            <a:r>
              <a:rPr lang="de-DE" b="1" dirty="0"/>
              <a:t> </a:t>
            </a:r>
            <a:r>
              <a:rPr lang="de-DE" b="1" dirty="0" err="1"/>
              <a:t>convention</a:t>
            </a:r>
            <a:endParaRPr lang="en-US" b="1" dirty="0">
              <a:cs typeface="Arial"/>
            </a:endParaRPr>
          </a:p>
        </p:txBody>
      </p:sp>
      <p:sp>
        <p:nvSpPr>
          <p:cNvPr id="6" name="Title 8">
            <a:extLst>
              <a:ext uri="{FF2B5EF4-FFF2-40B4-BE49-F238E27FC236}">
                <a16:creationId xmlns:a16="http://schemas.microsoft.com/office/drawing/2014/main" id="{BEC6DFEE-6EBA-EAB9-B385-3BA17E754FCD}"/>
              </a:ext>
            </a:extLst>
          </p:cNvPr>
          <p:cNvSpPr txBox="1">
            <a:spLocks/>
          </p:cNvSpPr>
          <p:nvPr/>
        </p:nvSpPr>
        <p:spPr>
          <a:xfrm>
            <a:off x="410151" y="1176611"/>
            <a:ext cx="9018000" cy="265460"/>
          </a:xfrm>
          <a:prstGeom prst="rect">
            <a:avLst/>
          </a:prstGeom>
        </p:spPr>
        <p:txBody>
          <a:bodyPr vert="horz" lIns="0" tIns="0" rIns="0" bIns="0" rtlCol="0" anchor="b" anchorCtr="0">
            <a:noAutofit/>
          </a:bodyPr>
          <a:lstStyle>
            <a:lvl1pPr algn="l" defTabSz="903006" rtl="0" eaLnBrk="1" latinLnBrk="0" hangingPunct="1">
              <a:lnSpc>
                <a:spcPct val="100000"/>
              </a:lnSpc>
              <a:spcBef>
                <a:spcPct val="0"/>
              </a:spcBef>
              <a:buNone/>
              <a:defRPr sz="2200" b="0" kern="1200" cap="all" baseline="0">
                <a:solidFill>
                  <a:schemeClr val="tx1"/>
                </a:solidFill>
                <a:latin typeface="+mj-lt"/>
                <a:ea typeface="+mj-ea"/>
                <a:cs typeface="+mj-cs"/>
              </a:defRPr>
            </a:lvl1pPr>
          </a:lstStyle>
          <a:p>
            <a:r>
              <a:rPr lang="de-DE" sz="1400" b="1" dirty="0"/>
              <a:t>               Protocol 				      1952 </a:t>
            </a:r>
            <a:r>
              <a:rPr lang="de-DE" sz="1400" b="1" dirty="0" err="1"/>
              <a:t>Jurisdiction</a:t>
            </a:r>
            <a:r>
              <a:rPr lang="de-DE" sz="1400" b="1" dirty="0"/>
              <a:t> </a:t>
            </a:r>
            <a:r>
              <a:rPr lang="de-DE" sz="1400" b="1" dirty="0" err="1"/>
              <a:t>convention</a:t>
            </a:r>
            <a:endParaRPr lang="en-US" sz="1400" b="1" dirty="0">
              <a:cs typeface="Arial"/>
            </a:endParaRPr>
          </a:p>
        </p:txBody>
      </p:sp>
    </p:spTree>
    <p:custDataLst>
      <p:tags r:id="rId1"/>
    </p:custDataLst>
    <p:extLst>
      <p:ext uri="{BB962C8B-B14F-4D97-AF65-F5344CB8AC3E}">
        <p14:creationId xmlns:p14="http://schemas.microsoft.com/office/powerpoint/2010/main" val="23592600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99900C-4FE4-317F-AE5B-2ADBF1867B68}"/>
            </a:ext>
          </a:extLst>
        </p:cNvPr>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2B957CC-7DA3-8250-C808-598CD289315B}"/>
              </a:ext>
            </a:extLst>
          </p:cNvPr>
          <p:cNvSpPr>
            <a:spLocks noGrp="1"/>
          </p:cNvSpPr>
          <p:nvPr>
            <p:ph idx="1" hasCustomPrompt="1"/>
          </p:nvPr>
        </p:nvSpPr>
        <p:spPr/>
        <p:txBody>
          <a:bodyPr vert="horz" lIns="0" tIns="0" rIns="0" bIns="0" rtlCol="0" anchor="t">
            <a:noAutofit/>
          </a:bodyPr>
          <a:lstStyle/>
          <a:p>
            <a:pPr>
              <a:lnSpc>
                <a:spcPct val="113999"/>
              </a:lnSpc>
            </a:pPr>
            <a:endParaRPr lang="en-US" sz="2000" i="1" dirty="0">
              <a:ea typeface="+mn-lt"/>
              <a:cs typeface="+mn-lt"/>
            </a:endParaRPr>
          </a:p>
          <a:p>
            <a:pPr>
              <a:lnSpc>
                <a:spcPct val="113999"/>
              </a:lnSpc>
            </a:pPr>
            <a:r>
              <a:rPr lang="en-US" sz="2000" i="1" dirty="0">
                <a:ea typeface="+mn-lt"/>
                <a:cs typeface="+mn-lt"/>
              </a:rPr>
              <a:t>where the defendant has his habitual residence </a:t>
            </a:r>
            <a:r>
              <a:rPr lang="en-US" sz="2000" i="1" dirty="0">
                <a:solidFill>
                  <a:schemeClr val="tx1">
                    <a:lumMod val="50000"/>
                  </a:schemeClr>
                </a:solidFill>
                <a:ea typeface="+mn-lt"/>
                <a:cs typeface="+mn-lt"/>
              </a:rPr>
              <a:t>or domicile</a:t>
            </a:r>
            <a:r>
              <a:rPr lang="en-US" sz="2000" i="1" dirty="0">
                <a:solidFill>
                  <a:srgbClr val="FF0000"/>
                </a:solidFill>
                <a:ea typeface="+mn-lt"/>
                <a:cs typeface="+mn-lt"/>
              </a:rPr>
              <a:t>, statutory seat, central administration </a:t>
            </a:r>
            <a:r>
              <a:rPr lang="en-US" sz="2000" i="1" dirty="0">
                <a:ea typeface="+mn-lt"/>
                <a:cs typeface="+mn-lt"/>
              </a:rPr>
              <a:t>or principal place of business;</a:t>
            </a:r>
          </a:p>
          <a:p>
            <a:pPr>
              <a:lnSpc>
                <a:spcPct val="113999"/>
              </a:lnSpc>
            </a:pPr>
            <a:endParaRPr lang="en-US" sz="800" i="1" dirty="0">
              <a:ea typeface="+mn-lt"/>
              <a:cs typeface="+mn-lt"/>
            </a:endParaRPr>
          </a:p>
          <a:p>
            <a:pPr>
              <a:lnSpc>
                <a:spcPct val="113999"/>
              </a:lnSpc>
            </a:pPr>
            <a:endParaRPr lang="en-US" sz="800" i="1" dirty="0">
              <a:ea typeface="+mn-lt"/>
              <a:cs typeface="+mn-lt"/>
            </a:endParaRPr>
          </a:p>
        </p:txBody>
      </p:sp>
      <p:sp>
        <p:nvSpPr>
          <p:cNvPr id="5" name="Inhaltsplatzhalter 4">
            <a:extLst>
              <a:ext uri="{FF2B5EF4-FFF2-40B4-BE49-F238E27FC236}">
                <a16:creationId xmlns:a16="http://schemas.microsoft.com/office/drawing/2014/main" id="{6B9AD2D3-25E7-5778-1FA1-CFDD75C85AC4}"/>
              </a:ext>
            </a:extLst>
          </p:cNvPr>
          <p:cNvSpPr>
            <a:spLocks noGrp="1"/>
          </p:cNvSpPr>
          <p:nvPr>
            <p:ph idx="13"/>
          </p:nvPr>
        </p:nvSpPr>
        <p:spPr/>
        <p:txBody>
          <a:bodyPr/>
          <a:lstStyle/>
          <a:p>
            <a:r>
              <a:rPr lang="en-US" sz="2000" dirty="0">
                <a:ea typeface="+mn-lt"/>
                <a:cs typeface="+mn-lt"/>
              </a:rPr>
              <a:t>Art. 1 (1) (a):</a:t>
            </a:r>
          </a:p>
          <a:p>
            <a:r>
              <a:rPr lang="en-US" sz="2000" i="1" dirty="0">
                <a:ea typeface="+mn-lt"/>
                <a:cs typeface="+mn-lt"/>
              </a:rPr>
              <a:t>where the defendant has his habitual residence or domicile, or principal place of business;</a:t>
            </a:r>
          </a:p>
        </p:txBody>
      </p:sp>
      <p:sp>
        <p:nvSpPr>
          <p:cNvPr id="3" name="Datumsplatzhalter 2">
            <a:extLst>
              <a:ext uri="{FF2B5EF4-FFF2-40B4-BE49-F238E27FC236}">
                <a16:creationId xmlns:a16="http://schemas.microsoft.com/office/drawing/2014/main" id="{40DC777E-C143-15E2-B86A-BC4AB50F1461}"/>
              </a:ext>
            </a:extLst>
          </p:cNvPr>
          <p:cNvSpPr>
            <a:spLocks noGrp="1"/>
          </p:cNvSpPr>
          <p:nvPr>
            <p:ph type="dt" sz="half" idx="14"/>
          </p:nvPr>
        </p:nvSpPr>
        <p:spPr/>
        <p:txBody>
          <a:bodyPr/>
          <a:lstStyle/>
          <a:p>
            <a:r>
              <a:rPr lang="de-DE" dirty="0"/>
              <a:t>14.06.2026</a:t>
            </a:r>
          </a:p>
        </p:txBody>
      </p:sp>
      <p:sp>
        <p:nvSpPr>
          <p:cNvPr id="2" name="Fußzeilenplatzhalter 1">
            <a:extLst>
              <a:ext uri="{FF2B5EF4-FFF2-40B4-BE49-F238E27FC236}">
                <a16:creationId xmlns:a16="http://schemas.microsoft.com/office/drawing/2014/main" id="{50C2E4D7-C217-65C5-52CB-362BDA5097B1}"/>
              </a:ext>
            </a:extLst>
          </p:cNvPr>
          <p:cNvSpPr>
            <a:spLocks noGrp="1"/>
          </p:cNvSpPr>
          <p:nvPr>
            <p:ph type="ftr" sz="quarter" idx="15"/>
          </p:nvPr>
        </p:nvSpPr>
        <p:spPr/>
        <p:txBody>
          <a:bodyPr/>
          <a:lstStyle/>
          <a:p>
            <a:r>
              <a:rPr lang="de-DE" dirty="0">
                <a:cs typeface="Arial"/>
              </a:rPr>
              <a:t>CMI Colloquium Rio de Janeiro 2026 – Dieter Schwampe </a:t>
            </a:r>
          </a:p>
        </p:txBody>
      </p:sp>
      <p:sp>
        <p:nvSpPr>
          <p:cNvPr id="4" name="Foliennummernplatzhalter 3">
            <a:extLst>
              <a:ext uri="{FF2B5EF4-FFF2-40B4-BE49-F238E27FC236}">
                <a16:creationId xmlns:a16="http://schemas.microsoft.com/office/drawing/2014/main" id="{C77D2B58-5F68-0B32-7569-CCC3FF561CE3}"/>
              </a:ext>
            </a:extLst>
          </p:cNvPr>
          <p:cNvSpPr>
            <a:spLocks noGrp="1"/>
          </p:cNvSpPr>
          <p:nvPr>
            <p:ph type="sldNum" sz="quarter" idx="16"/>
          </p:nvPr>
        </p:nvSpPr>
        <p:spPr/>
        <p:txBody>
          <a:bodyPr/>
          <a:lstStyle/>
          <a:p>
            <a:fld id="{EFDB17C1-FF3A-45DC-94C1-44444C959F3B}" type="slidenum">
              <a:rPr lang="de-DE" smtClean="0"/>
              <a:pPr/>
              <a:t>9</a:t>
            </a:fld>
            <a:endParaRPr lang="de-DE"/>
          </a:p>
        </p:txBody>
      </p:sp>
      <p:sp>
        <p:nvSpPr>
          <p:cNvPr id="9" name="Title 8">
            <a:extLst>
              <a:ext uri="{FF2B5EF4-FFF2-40B4-BE49-F238E27FC236}">
                <a16:creationId xmlns:a16="http://schemas.microsoft.com/office/drawing/2014/main" id="{159D2166-E928-6747-22EA-353BA69BB4BB}"/>
              </a:ext>
            </a:extLst>
          </p:cNvPr>
          <p:cNvSpPr>
            <a:spLocks noGrp="1"/>
          </p:cNvSpPr>
          <p:nvPr>
            <p:ph type="title"/>
          </p:nvPr>
        </p:nvSpPr>
        <p:spPr/>
        <p:txBody>
          <a:bodyPr/>
          <a:lstStyle/>
          <a:p>
            <a:r>
              <a:rPr lang="de-DE" b="1" dirty="0"/>
              <a:t>Art. 9.3 </a:t>
            </a:r>
            <a:r>
              <a:rPr lang="de-DE" b="1" dirty="0" err="1"/>
              <a:t>Draft</a:t>
            </a:r>
            <a:r>
              <a:rPr lang="de-DE" b="1" dirty="0"/>
              <a:t> Protocol and </a:t>
            </a:r>
            <a:r>
              <a:rPr lang="de-DE" b="1" dirty="0" err="1"/>
              <a:t>the</a:t>
            </a:r>
            <a:r>
              <a:rPr lang="de-DE" b="1" dirty="0"/>
              <a:t> 1952 </a:t>
            </a:r>
            <a:r>
              <a:rPr lang="de-DE" b="1" dirty="0" err="1"/>
              <a:t>Jurisidction</a:t>
            </a:r>
            <a:r>
              <a:rPr lang="de-DE" b="1" dirty="0"/>
              <a:t> </a:t>
            </a:r>
            <a:r>
              <a:rPr lang="de-DE" b="1" dirty="0" err="1"/>
              <a:t>convention</a:t>
            </a:r>
            <a:endParaRPr lang="en-US" b="1" dirty="0">
              <a:cs typeface="Arial"/>
            </a:endParaRPr>
          </a:p>
        </p:txBody>
      </p:sp>
      <p:sp>
        <p:nvSpPr>
          <p:cNvPr id="6" name="Title 8">
            <a:extLst>
              <a:ext uri="{FF2B5EF4-FFF2-40B4-BE49-F238E27FC236}">
                <a16:creationId xmlns:a16="http://schemas.microsoft.com/office/drawing/2014/main" id="{D18AA4D2-9F6E-BF6D-4A21-F41720AB287A}"/>
              </a:ext>
            </a:extLst>
          </p:cNvPr>
          <p:cNvSpPr txBox="1">
            <a:spLocks/>
          </p:cNvSpPr>
          <p:nvPr/>
        </p:nvSpPr>
        <p:spPr>
          <a:xfrm>
            <a:off x="410151" y="1176611"/>
            <a:ext cx="9018000" cy="265460"/>
          </a:xfrm>
          <a:prstGeom prst="rect">
            <a:avLst/>
          </a:prstGeom>
        </p:spPr>
        <p:txBody>
          <a:bodyPr vert="horz" lIns="0" tIns="0" rIns="0" bIns="0" rtlCol="0" anchor="b" anchorCtr="0">
            <a:noAutofit/>
          </a:bodyPr>
          <a:lstStyle>
            <a:lvl1pPr algn="l" defTabSz="903006" rtl="0" eaLnBrk="1" latinLnBrk="0" hangingPunct="1">
              <a:lnSpc>
                <a:spcPct val="100000"/>
              </a:lnSpc>
              <a:spcBef>
                <a:spcPct val="0"/>
              </a:spcBef>
              <a:buNone/>
              <a:defRPr sz="2200" b="0" kern="1200" cap="all" baseline="0">
                <a:solidFill>
                  <a:schemeClr val="tx1"/>
                </a:solidFill>
                <a:latin typeface="+mj-lt"/>
                <a:ea typeface="+mj-ea"/>
                <a:cs typeface="+mj-cs"/>
              </a:defRPr>
            </a:lvl1pPr>
          </a:lstStyle>
          <a:p>
            <a:r>
              <a:rPr lang="de-DE" sz="1400" b="1" dirty="0"/>
              <a:t>               Protocol 				              Rio draft 1977</a:t>
            </a:r>
            <a:endParaRPr lang="en-US" sz="1400" b="1" dirty="0">
              <a:cs typeface="Arial"/>
            </a:endParaRPr>
          </a:p>
        </p:txBody>
      </p:sp>
    </p:spTree>
    <p:custDataLst>
      <p:tags r:id="rId1"/>
    </p:custDataLst>
    <p:extLst>
      <p:ext uri="{BB962C8B-B14F-4D97-AF65-F5344CB8AC3E}">
        <p14:creationId xmlns:p14="http://schemas.microsoft.com/office/powerpoint/2010/main" val="7617867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ENTATION_LANGUAGE" val="1031"/>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QAPwwAAAAAAAAAAAAAIAD///////////////8AAAD///////////////8DAAAAAgD///////8DAAAAAwD///////////////////////////////////////////////////////////////////////////////////////////////////////////////////////////////////////////////////////////////////////////////////////////////////////////////////////////////////////////////////////////////////////////////////////////////////////////////////////////////////////////////////////////////////////////////////////////////////////////////////////////////////////////////////////////////////////////////////////////////8BACAA////////////////AAAO////////AwAAAAMA////////////////////////////////////////////////////////////////////////////////////////////////////////////////////////////////////////////////////////////////////////////////////////////////////////////////////////////////////////////////////////////////////////////////////////////////////////////////////////////////////////////////////////////////////////////////////////////////////////////////////////////////////////////////////////////////////////////////////////////////////////////////////////AgABAP///////wUAAAACABAACz80XgnwfpJDqxabUNihNFEEAAAAAAADAAAAAAADAAAAAwADAAIA////////BQAAAAMAEAALpHt0suKtWkqNCtAPYsJM4gQAAAABAAMAAAACAAMAAAABAA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CAI4OAAAAAAAAAAAAAP////+DAIMAAAAFX2lkABAAAAAEPzReCfB+kkOrFptQ2KE0UQNEYXRhABsAAAAETGlua2VkU2hhcGVEYXRhAAUAAAAAAAJOYW1lABkAAABMaW5rZWRTaGFwZXNEYXRhUHJvcGVydHkAEFZlcnNpb24AAQAAAAlMYXN0V3JpdGUAfmIBTJwBAAAAAQD/////xgDGAAAABV9pZAAQAAAABKR7dLLirVpKjQrQD2LCTOIDRGF0YQBTAAAACFByZXNlbnRhdGlvblNjYW5uZWRGb3JMaW5rZWRTaGFwZXMAAQJOdW1iZXJGb3JtYXRTZXBhcmF0b3JNb2RlAAoAAABBdXRvbWF0aWMAAAJOYW1lACQAAABMaW5rZWRTaGFwZVByZXNlbnRhdGlvblNldHRpbmdzRGF0YQAQVmVyc2lvbgAAAAAACUxhc3RXcml0ZQDeUPpNf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ADwCwAAAAAAAAAAAAAgAf///////////////wAAAP///////////////wUAAAADAP///////wUAAAADAP///////wUAAAADAP///////wUAAAADAP///////////////////////////////////////////////////////////////////////////////////////////////////////////////////////////////////////////////////////////////////////////////////////////////////////////////////////////////////////////////////////////////////////////////////////////////////////////////////////////////////////////////////////////////////////////////////////////////////////////////////////////////////////////////////////////////wEAIAH///////////////8AAA7///////8FAAAAAgD///////////////////////////////////////////////////////////////////////////////////////////////////////////////////////////////////////////////////////////////////////////////////////////////////////////////////////////////////////////////////////////////////////////////////////////////////////////////////////////////////////////////////////////////////////////////////////////////////////////////////////////////////////////////////////////////////////////////////////////////////////////////////////8CAAMBAwAAAAIA////////GgAGTGlua2VkU2hhcGVzRGF0YVByb3BlcnR5XzEEAAAAAAAFAAAAAwAFAAAAAQAFAAAAAwD///////8FAAAAAwD///////8DAAQBAwAAAAMA////////JQAGTGlua2VkU2hhcGVQcmVzZW50YXRpb25TZXR0aW5nc0RhdGFfMAQAAAABAAUAAAAAAAUAAAACAAUAAAAAAAUAAAACAAUAAAAAAAUAAAACAAU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9063984854293219"/>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55010b4a-e5d4-46e2-8b18-5754c12e5262"/>
  <p:tag name="MIO_GUID" val="0e337869-f6bb-4a58-9845-3be70a3d1467"/>
  <p:tag name="MIO_LASTDOWNLOADED" val="10.03.2023 07:36:28.787"/>
  <p:tag name="MIO_LASTEDITORNAME" val="Joachim Löw"/>
  <p:tag name="MIO_OBJECTNAME" val="Multimodalverkehr LKW Brücke Schiff Cargo Container"/>
  <p:tag name="MIO_UPDATE" val="True"/>
  <p:tag name="MIO_VERSION" val="05.09.2022 15:24:59"/>
</p:tagLst>
</file>

<file path=ppt/tags/tag12.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fe12e48b-8a45-4102-8b80-fac652aa7511"/>
  <p:tag name="MIO_GUID" val="5471eb5b-43c4-4eba-9741-9f8bb52656b0"/>
  <p:tag name="MIO_LASTDOWNLOADED" val="06.04.2022 12:46:19"/>
  <p:tag name="MIO_LASTEDITORNAME" val="veronika Chabert"/>
  <p:tag name="MIO_OBJECTNAME" val="06.04.2022 (2)"/>
  <p:tag name="MIO_UPDATE" val="True"/>
  <p:tag name="MIO_VERSION" val="06.04.2022 09:44:17"/>
</p:tagLst>
</file>

<file path=ppt/tags/tag13.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fe12e48b-8a45-4102-8b80-fac652aa7511"/>
  <p:tag name="MIO_GUID" val="5471eb5b-43c4-4eba-9741-9f8bb52656b0"/>
  <p:tag name="MIO_LASTDOWNLOADED" val="06.04.2022 12:46:19"/>
  <p:tag name="MIO_LASTEDITORNAME" val="veronika Chabert"/>
  <p:tag name="MIO_OBJECTNAME" val="06.04.2022 (2)"/>
  <p:tag name="MIO_UPDATE" val="True"/>
  <p:tag name="MIO_VERSION" val="06.04.2022 09:44:17"/>
</p:tagLst>
</file>

<file path=ppt/tags/tag14.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fe12e48b-8a45-4102-8b80-fac652aa7511"/>
  <p:tag name="MIO_GUID" val="5471eb5b-43c4-4eba-9741-9f8bb52656b0"/>
  <p:tag name="MIO_LASTDOWNLOADED" val="06.04.2022 12:46:19"/>
  <p:tag name="MIO_LASTEDITORNAME" val="veronika Chabert"/>
  <p:tag name="MIO_OBJECTNAME" val="06.04.2022 (2)"/>
  <p:tag name="MIO_UPDATE" val="True"/>
  <p:tag name="MIO_VERSION" val="06.04.2022 09:44:17"/>
</p:tagLst>
</file>

<file path=ppt/tags/tag15.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36c88d28-a9a4-4180-af6b-4927303ecae4"/>
  <p:tag name="MIO_GUID" val="6d1eff6b-cf01-4eff-83a5-19d98207fc1c"/>
  <p:tag name="MIO_LASTDOWNLOADED" val="10.03.2023 07:36:57.082"/>
  <p:tag name="MIO_LASTEDITORNAME" val="veronika Chabert"/>
  <p:tag name="MIO_OBJECTNAME" val="Container"/>
  <p:tag name="MIO_UPDATE" val="True"/>
  <p:tag name="MIO_VERSION" val="18.01.2022 09:56:24"/>
</p:tagLst>
</file>

<file path=ppt/tags/tag16.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fe12e48b-8a45-4102-8b80-fac652aa7511"/>
  <p:tag name="MIO_GUID" val="5471eb5b-43c4-4eba-9741-9f8bb52656b0"/>
  <p:tag name="MIO_LASTDOWNLOADED" val="06.04.2022 12:46:19"/>
  <p:tag name="MIO_LASTEDITORNAME" val="veronika Chabert"/>
  <p:tag name="MIO_OBJECTNAME" val="06.04.2022 (2)"/>
  <p:tag name="MIO_UPDATE" val="True"/>
  <p:tag name="MIO_VERSION" val="06.04.2022 09:44:17"/>
</p:tagLst>
</file>

<file path=ppt/tags/tag17.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fe12e48b-8a45-4102-8b80-fac652aa7511"/>
  <p:tag name="MIO_GUID" val="5471eb5b-43c4-4eba-9741-9f8bb52656b0"/>
  <p:tag name="MIO_LASTDOWNLOADED" val="06.04.2022 12:46:19"/>
  <p:tag name="MIO_LASTEDITORNAME" val="veronika Chabert"/>
  <p:tag name="MIO_OBJECTNAME" val="06.04.2022 (2)"/>
  <p:tag name="MIO_UPDATE" val="True"/>
  <p:tag name="MIO_VERSION" val="06.04.2022 09:44:17"/>
</p:tagLst>
</file>

<file path=ppt/tags/tag18.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fe12e48b-8a45-4102-8b80-fac652aa7511"/>
  <p:tag name="MIO_GUID" val="5471eb5b-43c4-4eba-9741-9f8bb52656b0"/>
  <p:tag name="MIO_LASTDOWNLOADED" val="06.04.2022 12:46:19"/>
  <p:tag name="MIO_LASTEDITORNAME" val="veronika Chabert"/>
  <p:tag name="MIO_OBJECTNAME" val="06.04.2022 (2)"/>
  <p:tag name="MIO_UPDATE" val="True"/>
  <p:tag name="MIO_VERSION" val="06.04.2022 09:44:17"/>
</p:tagLst>
</file>

<file path=ppt/tags/tag19.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fe12e48b-8a45-4102-8b80-fac652aa7511"/>
  <p:tag name="MIO_GUID" val="5471eb5b-43c4-4eba-9741-9f8bb52656b0"/>
  <p:tag name="MIO_LASTDOWNLOADED" val="06.04.2022 12:46:19"/>
  <p:tag name="MIO_LASTEDITORNAME" val="veronika Chabert"/>
  <p:tag name="MIO_OBJECTNAME" val="06.04.2022 (2)"/>
  <p:tag name="MIO_UPDATE" val="True"/>
  <p:tag name="MIO_VERSION" val="06.04.2022 09:44:17"/>
</p:tagLst>
</file>

<file path=ppt/tags/tag2.xml><?xml version="1.0" encoding="utf-8"?>
<p:tagLst xmlns:a="http://schemas.openxmlformats.org/drawingml/2006/main" xmlns:r="http://schemas.openxmlformats.org/officeDocument/2006/relationships" xmlns:p="http://schemas.openxmlformats.org/presentationml/2006/main">
  <p:tag name="MIO_AVOID_BLANK_LAYOUT" val="False"/>
  <p:tag name="MIO_CD_LAYOUT_VALID_AREA" val="False"/>
  <p:tag name="MIO_CDID" val="2d169c3d-1a06-43d3-8882-a0d4e0e3bc6e"/>
  <p:tag name="MIO_DBID" val="B8FCB12D-AF03-49EB-9F79-BB019BE99E1E"/>
  <p:tag name="MIO_EKGUID" val="49549485-83e1-4d62-9bca-63273ac20c66"/>
  <p:tag name="MIO_EMBED_FONT" val="False"/>
  <p:tag name="MIO_FALLBACK_LAYOUT" val="5"/>
  <p:tag name="MIO_HDS" val="True"/>
  <p:tag name="MIO_LASTDOWNLOADED" val="10.03.2023 07:35:47.077"/>
  <p:tag name="MIO_MATCH_COLOR_SCHEME" val="False"/>
  <p:tag name="MIO_NUMBER_OF_VALID_LAYOUTS" val="14"/>
  <p:tag name="MIO_OBJECTNAME" val="ASD Transportation Aviation Logistics Light"/>
  <p:tag name="MIO_SHOW_DATE" val="True"/>
  <p:tag name="MIO_SHOW_FOOTER" val="True"/>
  <p:tag name="MIO_SHOW_PAGENUMBER" val="True"/>
  <p:tag name="MIO_SKIPVERSION" val="01.01.0001 00:00:00"/>
  <p:tag name="MIO_UPDATE" val="True"/>
  <p:tag name="MIO_VERSION" val="31.03.2022 19:47:47"/>
</p:tagLst>
</file>

<file path=ppt/tags/tag20.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fe12e48b-8a45-4102-8b80-fac652aa7511"/>
  <p:tag name="MIO_GUID" val="5471eb5b-43c4-4eba-9741-9f8bb52656b0"/>
  <p:tag name="MIO_LASTDOWNLOADED" val="06.04.2022 12:46:19"/>
  <p:tag name="MIO_LASTEDITORNAME" val="veronika Chabert"/>
  <p:tag name="MIO_OBJECTNAME" val="06.04.2022 (2)"/>
  <p:tag name="MIO_UPDATE" val="True"/>
  <p:tag name="MIO_VERSION" val="06.04.2022 09:44:17"/>
</p:tagLst>
</file>

<file path=ppt/tags/tag21.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fe12e48b-8a45-4102-8b80-fac652aa7511"/>
  <p:tag name="MIO_GUID" val="5471eb5b-43c4-4eba-9741-9f8bb52656b0"/>
  <p:tag name="MIO_LASTDOWNLOADED" val="06.04.2022 12:46:19"/>
  <p:tag name="MIO_LASTEDITORNAME" val="veronika Chabert"/>
  <p:tag name="MIO_OBJECTNAME" val="06.04.2022 (2)"/>
  <p:tag name="MIO_UPDATE" val="True"/>
  <p:tag name="MIO_VERSION" val="06.04.2022 09:44:17"/>
</p:tagLst>
</file>

<file path=ppt/tags/tag22.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fe12e48b-8a45-4102-8b80-fac652aa7511"/>
  <p:tag name="MIO_GUID" val="5471eb5b-43c4-4eba-9741-9f8bb52656b0"/>
  <p:tag name="MIO_LASTDOWNLOADED" val="06.04.2022 12:46:19"/>
  <p:tag name="MIO_LASTEDITORNAME" val="veronika Chabert"/>
  <p:tag name="MIO_OBJECTNAME" val="06.04.2022 (2)"/>
  <p:tag name="MIO_UPDATE" val="True"/>
  <p:tag name="MIO_VERSION" val="06.04.2022 09:44:17"/>
</p:tagLst>
</file>

<file path=ppt/tags/tag23.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fe12e48b-8a45-4102-8b80-fac652aa7511"/>
  <p:tag name="MIO_GUID" val="5471eb5b-43c4-4eba-9741-9f8bb52656b0"/>
  <p:tag name="MIO_LASTDOWNLOADED" val="06.04.2022 12:46:19"/>
  <p:tag name="MIO_LASTEDITORNAME" val="veronika Chabert"/>
  <p:tag name="MIO_OBJECTNAME" val="06.04.2022 (2)"/>
  <p:tag name="MIO_UPDATE" val="True"/>
  <p:tag name="MIO_VERSION" val="06.04.2022 09:44:17"/>
</p:tagLst>
</file>

<file path=ppt/tags/tag24.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fe12e48b-8a45-4102-8b80-fac652aa7511"/>
  <p:tag name="MIO_GUID" val="5471eb5b-43c4-4eba-9741-9f8bb52656b0"/>
  <p:tag name="MIO_LASTDOWNLOADED" val="06.04.2022 12:46:19"/>
  <p:tag name="MIO_LASTEDITORNAME" val="veronika Chabert"/>
  <p:tag name="MIO_OBJECTNAME" val="06.04.2022 (2)"/>
  <p:tag name="MIO_UPDATE" val="True"/>
  <p:tag name="MIO_VERSION" val="06.04.2022 09:44:17"/>
</p:tagLst>
</file>

<file path=ppt/tags/tag25.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fe12e48b-8a45-4102-8b80-fac652aa7511"/>
  <p:tag name="MIO_GUID" val="5471eb5b-43c4-4eba-9741-9f8bb52656b0"/>
  <p:tag name="MIO_LASTDOWNLOADED" val="06.04.2022 12:46:19"/>
  <p:tag name="MIO_LASTEDITORNAME" val="veronika Chabert"/>
  <p:tag name="MIO_OBJECTNAME" val="06.04.2022 (2)"/>
  <p:tag name="MIO_UPDATE" val="True"/>
  <p:tag name="MIO_VERSION" val="06.04.2022 09:44:17"/>
</p:tagLst>
</file>

<file path=ppt/tags/tag26.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fe12e48b-8a45-4102-8b80-fac652aa7511"/>
  <p:tag name="MIO_GUID" val="5471eb5b-43c4-4eba-9741-9f8bb52656b0"/>
  <p:tag name="MIO_LASTDOWNLOADED" val="06.04.2022 12:46:19"/>
  <p:tag name="MIO_LASTEDITORNAME" val="veronika Chabert"/>
  <p:tag name="MIO_OBJECTNAME" val="06.04.2022 (2)"/>
  <p:tag name="MIO_UPDATE" val="True"/>
  <p:tag name="MIO_VERSION" val="06.04.2022 09:44:17"/>
</p:tagLst>
</file>

<file path=ppt/tags/tag27.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fe12e48b-8a45-4102-8b80-fac652aa7511"/>
  <p:tag name="MIO_GUID" val="5471eb5b-43c4-4eba-9741-9f8bb52656b0"/>
  <p:tag name="MIO_LASTDOWNLOADED" val="06.04.2022 12:46:19"/>
  <p:tag name="MIO_LASTEDITORNAME" val="veronika Chabert"/>
  <p:tag name="MIO_OBJECTNAME" val="06.04.2022 (2)"/>
  <p:tag name="MIO_UPDATE" val="True"/>
  <p:tag name="MIO_VERSION" val="06.04.2022 09:44:17"/>
</p:tagLst>
</file>

<file path=ppt/tags/tag28.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fe12e48b-8a45-4102-8b80-fac652aa7511"/>
  <p:tag name="MIO_GUID" val="5471eb5b-43c4-4eba-9741-9f8bb52656b0"/>
  <p:tag name="MIO_LASTDOWNLOADED" val="06.04.2022 12:46:19"/>
  <p:tag name="MIO_LASTEDITORNAME" val="veronika Chabert"/>
  <p:tag name="MIO_OBJECTNAME" val="06.04.2022 (2)"/>
  <p:tag name="MIO_UPDATE" val="True"/>
  <p:tag name="MIO_VERSION" val="06.04.2022 09:44:17"/>
</p:tagLst>
</file>

<file path=ppt/tags/tag29.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fe12e48b-8a45-4102-8b80-fac652aa7511"/>
  <p:tag name="MIO_GUID" val="5471eb5b-43c4-4eba-9741-9f8bb52656b0"/>
  <p:tag name="MIO_LASTDOWNLOADED" val="06.04.2022 12:46:19"/>
  <p:tag name="MIO_LASTEDITORNAME" val="veronika Chabert"/>
  <p:tag name="MIO_OBJECTNAME" val="06.04.2022 (2)"/>
  <p:tag name="MIO_UPDATE" val="True"/>
  <p:tag name="MIO_VERSION" val="06.04.2022 09:44:17"/>
</p:tagLst>
</file>

<file path=ppt/tags/tag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0.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fe12e48b-8a45-4102-8b80-fac652aa7511"/>
  <p:tag name="MIO_GUID" val="5471eb5b-43c4-4eba-9741-9f8bb52656b0"/>
  <p:tag name="MIO_LASTDOWNLOADED" val="06.04.2022 12:46:19"/>
  <p:tag name="MIO_LASTEDITORNAME" val="veronika Chabert"/>
  <p:tag name="MIO_OBJECTNAME" val="06.04.2022 (2)"/>
  <p:tag name="MIO_UPDATE" val="True"/>
  <p:tag name="MIO_VERSION" val="06.04.2022 09:44:17"/>
</p:tagLst>
</file>

<file path=ppt/tags/tag31.xml><?xml version="1.0" encoding="utf-8"?>
<p:tagLst xmlns:a="http://schemas.openxmlformats.org/drawingml/2006/main" xmlns:r="http://schemas.openxmlformats.org/officeDocument/2006/relationships" xmlns:p="http://schemas.openxmlformats.org/presentationml/2006/main">
  <p:tag name="MIO_DBID" val="b8fcb12d-af03-49eb-9f79-bb019be99e1e"/>
  <p:tag name="MIO_EKGUID" val="028b285e-d093-4cd9-8646-d0215d5a454d"/>
  <p:tag name="MIO_GUID" val="75d3b87d-8901-4930-bfd6-6ba2a034ac19"/>
  <p:tag name="MIO_LASTDOWNLOADED" val="06.04.2022 12:46:20"/>
  <p:tag name="MIO_LASTEDITORNAME" val="veronika Chabert"/>
  <p:tag name="MIO_OBJECTNAME" val="Slide 10"/>
  <p:tag name="MIO_UPDATE" val="True"/>
  <p:tag name="MIO_VERSION" val="06.04.2022 09:44:18"/>
</p:tagLst>
</file>

<file path=ppt/tags/tag32.xml><?xml version="1.0" encoding="utf-8"?>
<p:tagLst xmlns:a="http://schemas.openxmlformats.org/drawingml/2006/main" xmlns:r="http://schemas.openxmlformats.org/officeDocument/2006/relationships" xmlns:p="http://schemas.openxmlformats.org/presentationml/2006/main">
  <p:tag name="MIO_CONTENTTAG" val="Nw5kPjRlCUWd6nSjan+Gqw=="/>
  <p:tag name="MIO_DBID" val="B8FCB12D-AF03-49EB-9F79-BB019BE99E1E"/>
  <p:tag name="MIO_EKGUID" val="dd9865d5-2d97-483d-9dd0-71854abef487"/>
  <p:tag name="MIO_GUID" val="19c6c063-6637-4195-a90b-4e9f13de1ac9"/>
  <p:tag name="MIO_LASTDOWNLOADED" val="11.02.2026 13:47:46.869"/>
  <p:tag name="MIO_LASTEDITORNAME" val="Teresa Patzer"/>
  <p:tag name="MIO_OBJECTNAME" val="Abschlussfolie vorübergehend ohne Nummern"/>
  <p:tag name="MIO_UPDATE" val="True"/>
  <p:tag name="MIO_VERSION" val="16.01.2026 09:51:32"/>
</p:tagLst>
</file>

<file path=ppt/tags/tag3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5OiVumnVRImuqJ4DfsoEw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5OiVumnVRImuqJ4DfsoEwDRGF0YQAWAAAAAlBlcnNvbmFsSWQAAQAAAAAAAk5hbWUACwAAAFBlcnNvbmFsSWQAEFZlcnNpb24AAAAAAAlMYXN0V3JpdGUAZOjIDI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09133098147311"/>
  <p:tag name="EMPOWERCHARTSPROPERTIES_A_LENGTH" val="24576"/>
  <p:tag name="RUNTIME_ID" val="8e952433-57d8-44be-a92b-fe2504490ac2"/>
</p:tagLst>
</file>

<file path=ppt/tags/tag34.xml><?xml version="1.0" encoding="utf-8"?>
<p:tagLst xmlns:a="http://schemas.openxmlformats.org/drawingml/2006/main" xmlns:r="http://schemas.openxmlformats.org/officeDocument/2006/relationships" xmlns:p="http://schemas.openxmlformats.org/presentationml/2006/main">
  <p:tag name="RUNTIME_ID" val="f8e1bce0-b33f-426f-9d17-39a0b9514845"/>
</p:tagLst>
</file>

<file path=ppt/tags/tag3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wMAUAwAAAAAAAAAAAAAIAD///////////////8AAAD///////////////8DAAAAAgD///////8DAAAAAgD///////8DAAAAAgD///////8DAAAAAgD///////8DAAAAAgD///////////////////////////////////////////////////////////////////////////////////////////////////////////////////////////////////////////////////////////////////////////////////////////////////////////////////////////////////////////////////////////////////////////////////////////////////////////////////////////////////////////////////////////////////////////////////////////////////////////////////////////////////////////////8BACAA////////////////AAAO////////AwAAAAIA////////////////////////////////////////////////////////////////////////////////////////////////////////////////////////////////////////////////////////////////////////////////////////////////////////////////////////////////////////////////////////////////////////////////////////////////////////////////////////////////////////////////////////////////////////////////////////////////////////////////////////////////////////////////////////////////////////////////////////////////////////////////////////AgAFAP///////wQAAAACABAAC41muwGua1FLjM/IO6Q3hdAFAAAAAAADAAAAAAADAAAAAQA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1muwGua1FLjM/IO6Q3hdADRGF0YQAWAAAAAlBlcnNvbmFsSWQAAQAAAAAAAk5hbWUACwAAAFBlcnNvbmFsSWQAEFZlcnNpb24AAAAAAAlMYXN0V3JpdGUAXuvIDI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09133105777179"/>
  <p:tag name="EMPOWERCHARTSPROPERTIES_A_LENGTH" val="24576"/>
  <p:tag name="RUNTIME_ID" val="33f9edd6-19cd-482f-b883-063cfce4633d"/>
</p:tagLst>
</file>

<file path=ppt/tags/tag3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wMAUAwAAAAAAAAAAAAAIAD///////////////8AAAD///////////////8DAAAAAgD///////8DAAAAAgD///////8DAAAAAgD///////8DAAAAAgD///////8DAAAAAgD///////////////////////////////////////////////////////////////////////////////////////////////////////////////////////////////////////////////////////////////////////////////////////////////////////////////////////////////////////////////////////////////////////////////////////////////////////////////////////////////////////////////////////////////////////////////////////////////////////////////////////////////////////////////8BACAA////////////////AAAO////////AwAAAAIA////////////////////////////////////////////////////////////////////////////////////////////////////////////////////////////////////////////////////////////////////////////////////////////////////////////////////////////////////////////////////////////////////////////////////////////////////////////////////////////////////////////////////////////////////////////////////////////////////////////////////////////////////////////////////////////////////////////////////////////////////////////////////////AgAFAP///////wQAAAACABAACyLBx1GTTmJAkGV+vfn57NoFAAAAAAADAAAAAAADAAAAAQA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LBx1GTTmJAkGV+vfn57NoDRGF0YQAWAAAAAlBlcnNvbmFsSWQAAQAAAAAAAk5hbWUACwAAAFBlcnNvbmFsSWQAEFZlcnNpb24AAAAAAAlMYXN0V3JpdGUAroXJDI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09133500845132"/>
  <p:tag name="EMPOWERCHARTSPROPERTIES_A_LENGTH" val="24576"/>
  <p:tag name="RUNTIME_ID" val="ab0e3121-7849-4149-83dc-3447b81d7b27"/>
</p:tagLst>
</file>

<file path=ppt/tags/tag3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2KFSyMVAN5Limo08ZX7zM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GKFSyMVAN5Limo08ZX7zMUDRGF0YQAWAAAAAlBlcnNvbmFsSWQAAQAAAAAAAk5hbWUACwAAAFBlcnNvbmFsSWQAEFZlcnNpb24AAAAAAAlMYXN0V3JpdGUAkXbJDI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09133462135079"/>
  <p:tag name="EMPOWERCHARTSPROPERTIES_A_LENGTH" val="24576"/>
  <p:tag name="RUNTIME_ID" val="931578f0-0d3a-4364-8791-5827cc167a3c"/>
</p:tagLst>
</file>

<file path=ppt/tags/tag3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4G3EbaZSRVHttu3sNMuBRg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G3EbaZSRVHttu3sNMuBRgDRGF0YQAWAAAAAlBlcnNvbmFsSWQAAQAAAAAAAk5hbWUACwAAAFBlcnNvbmFsSWQAEFZlcnNpb24AAAAAAAlMYXN0V3JpdGUAJdLJDI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09133696625786"/>
  <p:tag name="EMPOWERCHARTSPROPERTIES_A_LENGTH" val="24576"/>
  <p:tag name="RUNTIME_ID" val="260e3e02-f721-4fe7-961d-4a882453709b"/>
</p:tagLst>
</file>

<file path=ppt/tags/tag3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4G3EbaZSRVHttu3sNMuBRg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G3EbaZSRVHttu3sNMuBRgDRGF0YQAWAAAAAlBlcnNvbmFsSWQAAQAAAAAAAk5hbWUACwAAAFBlcnNvbmFsSWQAEFZlcnNpb24AAAAAAAlMYXN0V3JpdGUAJdLJDI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09133696625786"/>
  <p:tag name="EMPOWERCHARTSPROPERTIES_A_LENGTH" val="24576"/>
  <p:tag name="RUNTIME_ID" val="a29b09c7-d927-4fa9-a9f9-b40d4290387c"/>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ASD Transportation Aviation Logistics Light">
  <a:themeElements>
    <a:clrScheme name="Custom 72">
      <a:dk1>
        <a:srgbClr val="FFFFFF"/>
      </a:dk1>
      <a:lt1>
        <a:srgbClr val="434242"/>
      </a:lt1>
      <a:dk2>
        <a:srgbClr val="BF602B"/>
      </a:dk2>
      <a:lt2>
        <a:srgbClr val="D5D5D5"/>
      </a:lt2>
      <a:accent1>
        <a:srgbClr val="264D6A"/>
      </a:accent1>
      <a:accent2>
        <a:srgbClr val="5D99C5"/>
      </a:accent2>
      <a:accent3>
        <a:srgbClr val="A7C2C9"/>
      </a:accent3>
      <a:accent4>
        <a:srgbClr val="3C3C3B"/>
      </a:accent4>
      <a:accent5>
        <a:srgbClr val="767575"/>
      </a:accent5>
      <a:accent6>
        <a:srgbClr val="9E9E9E"/>
      </a:accent6>
      <a:hlink>
        <a:srgbClr val="264D6A"/>
      </a:hlink>
      <a:folHlink>
        <a:srgbClr val="5D99C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flat" cmpd="sng" algn="ctr">
          <a:solidFill>
            <a:schemeClr val="dk2"/>
          </a:solidFill>
          <a:prstDash val="solid"/>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chor="ctr" anchorCtr="0">
        <a:spAutoFit/>
      </a:bodyPr>
      <a:lstStyle>
        <a:defPPr algn="l">
          <a:defRPr sz="1200" dirty="0"/>
        </a:defPPr>
      </a:lstStyle>
    </a:txDef>
  </a:objectDefaults>
  <a:extraClrSchemeLst/>
  <a:extLst>
    <a:ext uri="{05A4C25C-085E-4340-85A3-A5531E510DB2}">
      <thm15:themeFamily xmlns:thm15="http://schemas.microsoft.com/office/thememl/2012/main" name="ASD_Corporate Finance_light" id="{72C3130B-B110-454E-AA75-659CC8F58005}" vid="{46D5FE0E-3EF7-4792-813D-21AA432729D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FF9B7A738928449ADDD596720060256" ma:contentTypeVersion="11" ma:contentTypeDescription="Create a new document." ma:contentTypeScope="" ma:versionID="d56da9ed4d24ce294d29dbbaaf0a1d3d">
  <xsd:schema xmlns:xsd="http://www.w3.org/2001/XMLSchema" xmlns:xs="http://www.w3.org/2001/XMLSchema" xmlns:p="http://schemas.microsoft.com/office/2006/metadata/properties" xmlns:ns2="6f016a47-d9d6-430c-863f-c309e8140729" targetNamespace="http://schemas.microsoft.com/office/2006/metadata/properties" ma:root="true" ma:fieldsID="27f7e92e771dc01bee42f7f39ed5885f" ns2:_="">
    <xsd:import namespace="6f016a47-d9d6-430c-863f-c309e814072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016a47-d9d6-430c-863f-c309e814072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E98011A-8725-445F-A015-24C0E8DCB824}">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887945BD-4CCE-4F36-B0F7-9BA38E2CAB12}">
  <ds:schemaRefs>
    <ds:schemaRef ds:uri="6f016a47-d9d6-430c-863f-c309e814072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5A2D085-7C8E-4049-B8BB-A331683B55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SD_Corporate Finance_light</Template>
  <TotalTime>0</TotalTime>
  <Words>1789</Words>
  <Application>Microsoft Office PowerPoint</Application>
  <PresentationFormat>Breitbild</PresentationFormat>
  <Paragraphs>258</Paragraphs>
  <Slides>23</Slides>
  <Notes>19</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23</vt:i4>
      </vt:variant>
    </vt:vector>
  </HeadingPairs>
  <TitlesOfParts>
    <vt:vector size="28" baseType="lpstr">
      <vt:lpstr>Arial</vt:lpstr>
      <vt:lpstr>Calibri</vt:lpstr>
      <vt:lpstr>Symbol</vt:lpstr>
      <vt:lpstr>Wingdings</vt:lpstr>
      <vt:lpstr>ASD Transportation Aviation Logistics Light</vt:lpstr>
      <vt:lpstr> Overcoming the dichotomy of substantive and procedural aspects: The jurisdiction rules under a new collision convention</vt:lpstr>
      <vt:lpstr>The 1910 Collision Convention and its rules on Jurisdiction</vt:lpstr>
      <vt:lpstr>The 1910 Collision Convention, the 1952 Jurisdiction Convention and the rio draft 1977</vt:lpstr>
      <vt:lpstr>The Draft Protocol</vt:lpstr>
      <vt:lpstr>Available jurisdictions  Art. 9.3 as against the 1952 Convention and the Rio Draft</vt:lpstr>
      <vt:lpstr>Art. 9.3 Draft Protocol and the 1952 Jurisdction convention</vt:lpstr>
      <vt:lpstr>Art. 9.3 Draft Protocol and the 1952 Jurisdction convention</vt:lpstr>
      <vt:lpstr>Art. 9.3 Draft Protocol and the 1952 Jurisidction convention</vt:lpstr>
      <vt:lpstr>Art. 9.3 Draft Protocol and the 1952 Jurisidction convention</vt:lpstr>
      <vt:lpstr>Art. 9.3 Draft Protocol and the 1952 Jurisidction convention</vt:lpstr>
      <vt:lpstr>Art. 9.3 Draft Protocol and the 1952 Jurisidction convention</vt:lpstr>
      <vt:lpstr>Art. 9.3 Draft Protocol and the 1952 Jurisidction convention</vt:lpstr>
      <vt:lpstr>Art. 9.3 Draft Protocol and the 1952 Jurisidction convention</vt:lpstr>
      <vt:lpstr>Art. 9.3 Draft Protocol and the 1952 Jurisidction convention</vt:lpstr>
      <vt:lpstr>Art. 9.3 Draft Protocol and the 1952 Jurisidction convention</vt:lpstr>
      <vt:lpstr>Conflicting proceedings</vt:lpstr>
      <vt:lpstr>Art. 9.3 Draft Protocol and the 1952 Jurisidction convention</vt:lpstr>
      <vt:lpstr>Art. 9.3 Draft Protocol and the 1952 Jurisidction convention</vt:lpstr>
      <vt:lpstr>Art. 9.3 Draft Protocol and the 1952 Jurisidction convention</vt:lpstr>
      <vt:lpstr>Art. 9.3 Draft Protocol and the 1952 Jurisidction convention</vt:lpstr>
      <vt:lpstr>Art. 9.3 Draft Protocol and the 1952 Jurisidction conven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Uwe</dc:creator>
  <cp:lastModifiedBy>ARNECKE SIBETH DABELSTEIN</cp:lastModifiedBy>
  <cp:revision>64</cp:revision>
  <dcterms:created xsi:type="dcterms:W3CDTF">2021-02-02T19:44:22Z</dcterms:created>
  <dcterms:modified xsi:type="dcterms:W3CDTF">2026-05-04T14:2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F9B7A738928449ADDD596720060256</vt:lpwstr>
  </property>
</Properties>
</file>